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722" r:id="rId3"/>
    <p:sldMasterId id="2147483727" r:id="rId4"/>
  </p:sldMasterIdLst>
  <p:notesMasterIdLst>
    <p:notesMasterId r:id="rId19"/>
  </p:notesMasterIdLst>
  <p:sldIdLst>
    <p:sldId id="261" r:id="rId5"/>
    <p:sldId id="2147482734" r:id="rId6"/>
    <p:sldId id="2147482723" r:id="rId7"/>
    <p:sldId id="2147482713" r:id="rId8"/>
    <p:sldId id="2147482716" r:id="rId9"/>
    <p:sldId id="2147482714" r:id="rId10"/>
    <p:sldId id="262" r:id="rId11"/>
    <p:sldId id="2147482701" r:id="rId12"/>
    <p:sldId id="286" r:id="rId13"/>
    <p:sldId id="2147482711" r:id="rId14"/>
    <p:sldId id="2147482712" r:id="rId15"/>
    <p:sldId id="284" r:id="rId16"/>
    <p:sldId id="298" r:id="rId17"/>
    <p:sldId id="214748364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52" y="14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136AE8-1030-4A9F-B599-3EFD984F2685}" type="datetimeFigureOut">
              <a:rPr lang="en-GB" smtClean="0"/>
              <a:t>15/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D43303-7B18-4EB5-9C6E-2944F0C8950C}" type="slidenum">
              <a:rPr lang="en-GB" smtClean="0"/>
              <a:t>‹#›</a:t>
            </a:fld>
            <a:endParaRPr lang="en-GB"/>
          </a:p>
        </p:txBody>
      </p:sp>
    </p:spTree>
    <p:extLst>
      <p:ext uri="{BB962C8B-B14F-4D97-AF65-F5344CB8AC3E}">
        <p14:creationId xmlns:p14="http://schemas.microsoft.com/office/powerpoint/2010/main" val="15476649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735E7C-2FBF-A14F-B527-8737C820B17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2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a:ea typeface="Calibri"/>
                <a:cs typeface="Calibri"/>
              </a:rPr>
              <a:t>As we at Microsoft looked to improve our data governance, we tried multiple operating models. We have lived through three models in the last 5 to 8 years. </a:t>
            </a:r>
          </a:p>
          <a:p>
            <a:endParaRPr lang="en-GB" dirty="0">
              <a:solidFill>
                <a:srgbClr val="000000"/>
              </a:solidFill>
              <a:latin typeface="Calibri"/>
              <a:ea typeface="Calibri"/>
              <a:cs typeface="Calibri"/>
            </a:endParaRPr>
          </a:p>
          <a:p>
            <a:pPr marL="171450" indent="-171450">
              <a:buFont typeface="Arial" panose="020B0604020202020204" pitchFamily="34" charset="0"/>
              <a:buChar char="•"/>
            </a:pPr>
            <a:r>
              <a:rPr lang="en-GB" dirty="0">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dirty="0">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dirty="0">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a:buFont typeface="Arial" panose="020B0604020202020204" pitchFamily="34" charset="0"/>
            </a:pPr>
            <a:endParaRPr lang="en-GB" dirty="0">
              <a:latin typeface="Calibri"/>
              <a:cs typeface="Calibri"/>
            </a:endParaRPr>
          </a:p>
          <a:p>
            <a:r>
              <a:rPr lang="en-GB" dirty="0">
                <a:solidFill>
                  <a:srgbClr val="000000"/>
                </a:solidFill>
                <a:latin typeface="Calibri"/>
                <a:ea typeface="Calibri"/>
                <a:cs typeface="Calibri"/>
              </a:rPr>
              <a:t>As we look to scale data governance, there are three broad operating models to consider. At Microsoft, we have lived through all three models in the last 5-8 years. </a:t>
            </a:r>
          </a:p>
          <a:p>
            <a:endParaRPr lang="en-GB" dirty="0">
              <a:solidFill>
                <a:srgbClr val="000000"/>
              </a:solidFill>
              <a:latin typeface="Calibri"/>
              <a:ea typeface="Calibri"/>
              <a:cs typeface="Calibri"/>
            </a:endParaRPr>
          </a:p>
          <a:p>
            <a:pPr marL="171450" indent="-171450">
              <a:buFont typeface="Arial" panose="020B0604020202020204" pitchFamily="34" charset="0"/>
              <a:buChar char="•"/>
            </a:pPr>
            <a:r>
              <a:rPr lang="en-GB" dirty="0">
                <a:solidFill>
                  <a:srgbClr val="000000"/>
                </a:solidFill>
                <a:latin typeface="Calibri"/>
                <a:ea typeface="Calibri"/>
                <a:cs typeface="Calibri"/>
              </a:rPr>
              <a:t>We began with a centralized model. This model is where you have a single team, typical a data office in an IT organization, which is accountable for managing the entire enterprise data estate. This can help you harden your controls and keep your data estate secure and compliant. The challenge with this model is when everything is gated through one team it will impact agility of the business to innovate and apply data in free and unique ways. </a:t>
            </a:r>
          </a:p>
          <a:p>
            <a:pPr marL="171450" indent="-171450">
              <a:buFont typeface="Arial" panose="020B0604020202020204" pitchFamily="34" charset="0"/>
              <a:buChar char="•"/>
            </a:pPr>
            <a:r>
              <a:rPr lang="en-GB" dirty="0">
                <a:solidFill>
                  <a:srgbClr val="000000"/>
                </a:solidFill>
                <a:latin typeface="Calibri"/>
                <a:ea typeface="Calibri"/>
                <a:cs typeface="Calibri"/>
              </a:rPr>
              <a:t>The next model we navigated was the decentralized model. This brings significant agility at the edge and enables business teams to innovate faster but comes with the cost of not being able to realize the efficiencies that can be gained by standardized and making more common the security compliance and privacy aspects of your data estate. </a:t>
            </a:r>
          </a:p>
          <a:p>
            <a:pPr marL="171450" indent="-171450">
              <a:buFont typeface="Arial" panose="020B0604020202020204" pitchFamily="34" charset="0"/>
              <a:buChar char="•"/>
            </a:pPr>
            <a:r>
              <a:rPr lang="en-GB" dirty="0">
                <a:solidFill>
                  <a:srgbClr val="000000"/>
                </a:solidFill>
                <a:latin typeface="Calibri"/>
                <a:ea typeface="Calibri"/>
                <a:cs typeface="Calibri"/>
              </a:rPr>
              <a:t>The industry is now converging towards a federated data governance model. This gives you the best of both. It enables you to maintain commonalities and consistent operations while enabling those capabilities to responsible democratize data to broader organization-wide functions and users who can self-serve in managing their data estate in discovering, understanding, accessing and applying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marL="0" indent="0">
              <a:buFont typeface="Arial" panose="020B0604020202020204" pitchFamily="34" charset="0"/>
              <a:buNone/>
            </a:pPr>
            <a:r>
              <a:rPr lang="en-GB" dirty="0">
                <a:solidFill>
                  <a:srgbClr val="000000"/>
                </a:solidFill>
                <a:latin typeface="Calibri"/>
                <a:ea typeface="Calibri"/>
                <a:cs typeface="Calibri"/>
              </a:rPr>
              <a:t>We at Microsoft firmly believe in the federated data governance model and in enabling these business users to rapidly accelerate business innovation with data. </a:t>
            </a:r>
          </a:p>
          <a:p>
            <a:pPr marL="171450" indent="-171450">
              <a:buFont typeface="Arial" panose="020B0604020202020204" pitchFamily="34" charset="0"/>
              <a:buChar char="•"/>
            </a:pPr>
            <a:endParaRPr lang="en-GB" dirty="0">
              <a:solidFill>
                <a:srgbClr val="000000"/>
              </a:solidFill>
              <a:latin typeface="Calibri"/>
              <a:ea typeface="Calibri"/>
              <a:cs typeface="Calibri"/>
            </a:endParaRPr>
          </a:p>
          <a:p>
            <a:pPr>
              <a:buFont typeface="+mj-lt"/>
              <a:buAutoNum type="arabicPeriod"/>
            </a:pPr>
            <a:endParaRPr lang="en-US" b="1" dirty="0"/>
          </a:p>
          <a:p>
            <a:pPr>
              <a:buFont typeface="+mj-lt"/>
              <a:buNone/>
            </a:pPr>
            <a:r>
              <a:rPr lang="en-US" b="1" dirty="0"/>
              <a:t>Additional notes for speaker if needed:  </a:t>
            </a:r>
          </a:p>
          <a:p>
            <a:pPr>
              <a:buFont typeface="+mj-lt"/>
              <a:buAutoNum type="arabicPeriod"/>
            </a:pPr>
            <a:r>
              <a:rPr lang="en-US" b="0" dirty="0"/>
              <a:t>Key Benefits:</a:t>
            </a:r>
          </a:p>
          <a:p>
            <a:pPr marL="742950" lvl="1" indent="-285750">
              <a:buFont typeface="+mj-lt"/>
              <a:buAutoNum type="arabicPeriod"/>
            </a:pPr>
            <a:r>
              <a:rPr lang="en-US" b="0" dirty="0"/>
              <a:t>Autonomy and Control: Local customization under a unified strategy.</a:t>
            </a:r>
          </a:p>
          <a:p>
            <a:pPr marL="742950" lvl="1" indent="-285750">
              <a:buFont typeface="+mj-lt"/>
              <a:buAutoNum type="arabicPeriod"/>
            </a:pPr>
            <a:r>
              <a:rPr lang="en-US" b="0" dirty="0"/>
              <a:t>Responsiveness and Agility: Quick adaptation to department-specific needs.</a:t>
            </a:r>
          </a:p>
          <a:p>
            <a:pPr marL="742950" lvl="1" indent="-285750">
              <a:buFont typeface="+mj-lt"/>
              <a:buAutoNum type="arabicPeriod"/>
            </a:pPr>
            <a:r>
              <a:rPr lang="en-US" b="0" dirty="0"/>
              <a:t>Scalability: Adapts to growth and changes in organizational structure.</a:t>
            </a:r>
          </a:p>
          <a:p>
            <a:pPr marL="742950" lvl="1" indent="-285750">
              <a:buFont typeface="+mj-lt"/>
              <a:buAutoNum type="arabicPeriod"/>
            </a:pPr>
            <a:r>
              <a:rPr lang="en-US" b="0" dirty="0"/>
              <a:t>Compliance Assurance: Maintains overarching compliance while allowing local variations.</a:t>
            </a:r>
          </a:p>
          <a:p>
            <a:pPr marL="742950" lvl="1" indent="-285750">
              <a:buFont typeface="+mj-lt"/>
              <a:buAutoNum type="arabicPeriod"/>
            </a:pPr>
            <a:r>
              <a:rPr lang="en-US" b="0" dirty="0"/>
              <a:t>Collaboration: Promotes knowledge sharing and best practice dissemination across units.</a:t>
            </a:r>
          </a:p>
          <a:p>
            <a:pPr>
              <a:buFont typeface="+mj-lt"/>
              <a:buAutoNum type="arabicPeriod"/>
            </a:pPr>
            <a:r>
              <a:rPr lang="en-US" b="0" dirty="0"/>
              <a:t>Why the Shift is Important:</a:t>
            </a:r>
          </a:p>
          <a:p>
            <a:pPr marL="742950" lvl="1" indent="-285750">
              <a:buFont typeface="+mj-lt"/>
              <a:buAutoNum type="arabicPeriod"/>
            </a:pPr>
            <a:r>
              <a:rPr lang="en-US" b="0" dirty="0"/>
              <a:t>Complex Data Landscapes: Manages increasing data intricacy efficiently.</a:t>
            </a:r>
          </a:p>
          <a:p>
            <a:pPr marL="742950" lvl="1" indent="-285750">
              <a:buFont typeface="+mj-lt"/>
              <a:buAutoNum type="arabicPeriod"/>
            </a:pPr>
            <a:r>
              <a:rPr lang="en-US" b="0" dirty="0"/>
              <a:t>Regulatory Compliance: Meets stringent global data protection laws.</a:t>
            </a:r>
          </a:p>
          <a:p>
            <a:pPr marL="742950" lvl="1" indent="-285750">
              <a:buFont typeface="+mj-lt"/>
              <a:buAutoNum type="arabicPeriod"/>
            </a:pPr>
            <a:r>
              <a:rPr lang="en-US" b="0" dirty="0"/>
              <a:t>Business Agility: Supports rapid response to market changes.</a:t>
            </a:r>
          </a:p>
          <a:p>
            <a:pPr marL="742950" lvl="1" indent="-285750">
              <a:buFont typeface="+mj-lt"/>
              <a:buAutoNum type="arabicPeriod"/>
            </a:pPr>
            <a:r>
              <a:rPr lang="en-US" b="0" dirty="0"/>
              <a:t>Organizational Decentralization: Suits geographically and operationally diverse entities.</a:t>
            </a:r>
          </a:p>
          <a:p>
            <a:pPr>
              <a:buFont typeface="Arial" panose="020B0604020202020204" pitchFamily="34" charset="0"/>
            </a:pPr>
            <a:endParaRPr lang="en-GB" dirty="0">
              <a:latin typeface="Calibri"/>
              <a:cs typeface="Calibri"/>
            </a:endParaRPr>
          </a:p>
          <a:p>
            <a:pPr>
              <a:buFont typeface="Arial" panose="020B0604020202020204" pitchFamily="34" charset="0"/>
            </a:pPr>
            <a:endParaRPr lang="en-GB" dirty="0">
              <a:latin typeface="Calibri"/>
              <a:cs typeface="Calibri"/>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80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B361A-FF47-62B5-049C-C3D4304CE2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2C6867-BB5D-C1F2-D98C-9769F823B7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B326F9-FA2C-8F7D-ACBB-D735DF17EA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at’s exactly why we launched the new Microsoft Purview Governance Experience — a unified solution purpose-built to bring that federated model to life.</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i="0">
                <a:solidFill>
                  <a:srgbClr val="D1D5DB"/>
                </a:solidFill>
                <a:effectLst/>
                <a:highlight>
                  <a:srgbClr val="081923"/>
                </a:highlight>
                <a:latin typeface="Inter"/>
              </a:rPr>
            </a:br>
            <a:r>
              <a:rPr lang="en-US" b="0" i="0">
                <a:solidFill>
                  <a:srgbClr val="D1D5DB"/>
                </a:solidFill>
                <a:effectLst/>
                <a:highlight>
                  <a:srgbClr val="081923"/>
                </a:highlight>
                <a:latin typeface="Inter"/>
              </a:rPr>
              <a:t>It provides </a:t>
            </a:r>
            <a:r>
              <a:rPr lang="en-US" b="0" i="0">
                <a:solidFill>
                  <a:srgbClr val="242429"/>
                </a:solidFill>
                <a:effectLst/>
                <a:highlight>
                  <a:srgbClr val="FFFFFF"/>
                </a:highlight>
                <a:latin typeface="Segoe UI Web (West European)" panose="020B0604020202020204" charset="0"/>
              </a:rPr>
              <a:t>sophisticated yet simple business-friendly interaction, integration across data sources, AI-enabled business efficiency, and actions and insights to help you put the ‘practice’ into your data governance practice.   </a:t>
            </a:r>
          </a:p>
          <a:p>
            <a:pPr marL="0" indent="0" algn="l">
              <a:buFont typeface="Arial" panose="020B0604020202020204" pitchFamily="34" charset="0"/>
              <a:buNone/>
            </a:pPr>
            <a:br>
              <a:rPr lang="en-US" b="0" i="0">
                <a:solidFill>
                  <a:srgbClr val="D1D5DB"/>
                </a:solidFill>
                <a:effectLst/>
                <a:highlight>
                  <a:srgbClr val="081923"/>
                </a:highlight>
                <a:latin typeface="Inter"/>
              </a:rPr>
            </a:br>
            <a:r>
              <a:rPr lang="en-US" b="0" i="0">
                <a:solidFill>
                  <a:srgbClr val="D1D5DB"/>
                </a:solidFill>
                <a:effectLst/>
                <a:highlight>
                  <a:srgbClr val="081923"/>
                </a:highlight>
                <a:latin typeface="Inter"/>
              </a:rPr>
              <a:t>With this new solution you can: </a:t>
            </a:r>
          </a:p>
          <a:p>
            <a:pPr marL="171450" indent="-171450" algn="l">
              <a:buFont typeface="Arial" panose="020B0604020202020204" pitchFamily="34" charset="0"/>
              <a:buChar char="•"/>
            </a:pPr>
            <a:r>
              <a:rPr lang="en-US" b="0" i="0">
                <a:solidFill>
                  <a:srgbClr val="D1D5DB"/>
                </a:solidFill>
                <a:effectLst/>
                <a:highlight>
                  <a:srgbClr val="081923"/>
                </a:highlight>
                <a:latin typeface="Inter"/>
              </a:rPr>
              <a:t>Simplify and drive efficiency in data governance with AI built-in throughout the experience</a:t>
            </a:r>
          </a:p>
          <a:p>
            <a:pPr marL="171450" indent="-171450" algn="l">
              <a:buFont typeface="Arial" panose="020B0604020202020204" pitchFamily="34" charset="0"/>
              <a:buChar char="•"/>
            </a:pPr>
            <a:r>
              <a:rPr lang="en-US" b="0" i="0">
                <a:solidFill>
                  <a:srgbClr val="D1D5DB"/>
                </a:solidFill>
                <a:effectLst/>
                <a:highlight>
                  <a:srgbClr val="081923"/>
                </a:highlight>
                <a:latin typeface="Inter"/>
              </a:rPr>
              <a:t>Demonstrate data value with business-friendly terms and ensures that everything is anchored to your critical business outco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D1D5DB"/>
                </a:solidFill>
                <a:effectLst/>
                <a:highlight>
                  <a:srgbClr val="081923"/>
                </a:highlight>
                <a:latin typeface="Inter"/>
              </a:rPr>
              <a:t>Empower every business user by providing responsible access to high-quality data through customized experiences designed for their specific ro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D1D5DB"/>
                </a:solidFill>
                <a:effectLst/>
                <a:highlight>
                  <a:srgbClr val="081923"/>
                </a:highlight>
                <a:latin typeface="Inter"/>
              </a:rPr>
              <a:t>Easily govern your entire data estate—whether it resides on-premises, in the Microsoft Cloud, across multiple clouds, or within SaaS applications. Manage everything from a single pane of glass.</a:t>
            </a:r>
          </a:p>
          <a:p>
            <a:pPr marL="171450" indent="-171450" algn="l">
              <a:buFont typeface="Arial" panose="020B0604020202020204" pitchFamily="34" charset="0"/>
              <a:buChar char="•"/>
            </a:pPr>
            <a:r>
              <a:rPr lang="en-US" b="0" i="0">
                <a:solidFill>
                  <a:srgbClr val="D1D5DB"/>
                </a:solidFill>
                <a:effectLst/>
                <a:highlight>
                  <a:srgbClr val="081923"/>
                </a:highlight>
                <a:latin typeface="Inter"/>
              </a:rPr>
              <a:t>Enhance your data health and safety with comprehensive data estate-wide controls, intuitive dashboards, federated accountability, and recommended actions to keep your data in top shape.</a:t>
            </a:r>
          </a:p>
          <a:p>
            <a:pPr marL="0" indent="0" algn="l">
              <a:buFont typeface="Arial" panose="020B0604020202020204" pitchFamily="34" charset="0"/>
              <a:buNone/>
            </a:pPr>
            <a:endParaRPr lang="en-US" b="0" i="0">
              <a:solidFill>
                <a:srgbClr val="D1D5DB"/>
              </a:solidFill>
              <a:effectLst/>
              <a:highlight>
                <a:srgbClr val="081923"/>
              </a:highlight>
              <a:latin typeface="Inter"/>
            </a:endParaRPr>
          </a:p>
          <a:p>
            <a:pPr algn="l"/>
            <a:r>
              <a:rPr lang="en-US" b="0" i="0">
                <a:solidFill>
                  <a:srgbClr val="D1D5DB"/>
                </a:solidFill>
                <a:effectLst/>
                <a:highlight>
                  <a:srgbClr val="081923"/>
                </a:highlight>
                <a:latin typeface="Inter"/>
              </a:rPr>
              <a:t>With the Microsoft Purview Governance Experience, your governance practice can scale as your data and organization scale and ensure you are ready for the era of AI. </a:t>
            </a:r>
          </a:p>
          <a:p>
            <a:endParaRPr lang="en-US"/>
          </a:p>
          <a:p>
            <a:endParaRPr lang="en-GB"/>
          </a:p>
        </p:txBody>
      </p:sp>
      <p:sp>
        <p:nvSpPr>
          <p:cNvPr id="4" name="Slide Number Placeholder 3">
            <a:extLst>
              <a:ext uri="{FF2B5EF4-FFF2-40B4-BE49-F238E27FC236}">
                <a16:creationId xmlns:a16="http://schemas.microsoft.com/office/drawing/2014/main" id="{4F2732BE-D1C3-1D11-1655-11A45F85AA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238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GB"/>
              <a:t>Okay – let’s just zoom out for a second. How does this all actually work end-to-end? This diagram gives us the full picture of what Microsoft Purview is doing behind the scenes. It starts by connecting to your various data sources – whether that's Azure SQL, Data Lake, Cosmos DB, Snowflake, or even third-party sources like Google Cloud or Amazon S3. Purview scans those sources and automatically classifies what it finds – so it knows what’s sensitive, what’s structured, what formats are being used, and more. </a:t>
            </a:r>
          </a:p>
          <a:p>
            <a:pPr algn="l" rtl="0" fontAlgn="base">
              <a:buNone/>
            </a:pPr>
            <a:endParaRPr lang="en-GB"/>
          </a:p>
          <a:p>
            <a:pPr algn="l" rtl="0" fontAlgn="base">
              <a:buNone/>
            </a:pPr>
            <a:r>
              <a:rPr lang="en-GB"/>
              <a:t>All of that gets pulled into what's called the ‘Data Map’. You can think of the Data Map as a kind of raw index – it’s the central inventory of everything that's been discovered. It’s organised into collections and domains so you can start to manage and govern things at scale. </a:t>
            </a:r>
          </a:p>
          <a:p>
            <a:pPr algn="l" rtl="0" fontAlgn="base">
              <a:buNone/>
            </a:pPr>
            <a:endParaRPr lang="en-GB"/>
          </a:p>
          <a:p>
            <a:pPr algn="l" rtl="0" fontAlgn="base">
              <a:buNone/>
            </a:pPr>
            <a:r>
              <a:rPr lang="en-GB"/>
              <a:t>From there, the metadata flows into what we call the Unified </a:t>
            </a:r>
            <a:r>
              <a:rPr lang="en-GB" err="1"/>
              <a:t>Catalog</a:t>
            </a:r>
            <a:r>
              <a:rPr lang="en-GB"/>
              <a:t>. This is where the governance side really comes to life. You can start defining business terms in the glossary, organising assets into governance domains, and grouping related data into data products. </a:t>
            </a:r>
          </a:p>
          <a:p>
            <a:pPr algn="l" rtl="0" fontAlgn="base">
              <a:buNone/>
            </a:pPr>
            <a:endParaRPr lang="en-GB"/>
          </a:p>
          <a:p>
            <a:pPr algn="l" rtl="0" fontAlgn="base">
              <a:buNone/>
            </a:pPr>
            <a:r>
              <a:rPr lang="en-GB"/>
              <a:t>Now, there's a subtle but really important link here between the Data Map and the </a:t>
            </a:r>
            <a:r>
              <a:rPr lang="en-GB" err="1"/>
              <a:t>Catalog</a:t>
            </a:r>
            <a:r>
              <a:rPr lang="en-GB"/>
              <a:t> – and that’s where the technical metadata, like table names and data lineage, gets tied to business-friendly context, like ownership, definitions, and intended use. That’s what helps your users not just find data, but actually understand it and use it confidently. </a:t>
            </a:r>
          </a:p>
          <a:p>
            <a:pPr algn="l" rtl="0" fontAlgn="base">
              <a:buNone/>
            </a:pPr>
            <a:endParaRPr lang="en-GB"/>
          </a:p>
          <a:p>
            <a:pPr algn="l" rtl="0" fontAlgn="base">
              <a:buNone/>
            </a:pPr>
            <a:r>
              <a:rPr lang="en-GB"/>
              <a:t>We also have data health and quality processes built in. And this goes beyond just cleanliness. It helps you check things like completeness, accuracy, consistency, and freshness – essentially answering the question: is this data fit for purpose? It means you can proactively spot issues and improve trust before the data ever reaches a dashboard or a decision-maker. </a:t>
            </a:r>
          </a:p>
          <a:p>
            <a:pPr algn="l" rtl="0" fontAlgn="base">
              <a:buNone/>
            </a:pPr>
            <a:endParaRPr lang="en-GB"/>
          </a:p>
          <a:p>
            <a:pPr algn="l" rtl="0" fontAlgn="base">
              <a:buNone/>
            </a:pPr>
            <a:r>
              <a:rPr lang="en-GB"/>
              <a:t>And all of this – the scanning, the classification, the cataloguing, the quality checks – is accessible via APIs and integrates with other Microsoft tools. For example, you can bring in sensitivity labels from Microsoft Information Protection, or use Security Copilot to enrich your governance experience with automated glossary term creation and more. </a:t>
            </a:r>
          </a:p>
          <a:p>
            <a:pPr algn="l" rtl="0" fontAlgn="base">
              <a:buNone/>
            </a:pPr>
            <a:endParaRPr lang="en-GB"/>
          </a:p>
          <a:p>
            <a:pPr algn="l" rtl="0" fontAlgn="base">
              <a:buNone/>
            </a:pPr>
            <a:r>
              <a:rPr lang="en-GB"/>
              <a:t>So in short, Purview isn’t just a data </a:t>
            </a:r>
            <a:r>
              <a:rPr lang="en-GB" err="1"/>
              <a:t>catalog</a:t>
            </a:r>
            <a:r>
              <a:rPr lang="en-GB"/>
              <a:t>. It’s the governance engine that helps you discover, classify, manage, and protect your data across your entire organis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4325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FFB00-62CC-1835-F7AC-ED1D3DF223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EF7946-7C03-A053-B8E2-672B9CFF71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7408AF-C348-5048-1E29-02F90280E922}"/>
              </a:ext>
            </a:extLst>
          </p:cNvPr>
          <p:cNvSpPr>
            <a:spLocks noGrp="1"/>
          </p:cNvSpPr>
          <p:nvPr>
            <p:ph type="body" idx="1"/>
          </p:nvPr>
        </p:nvSpPr>
        <p:spPr/>
        <p:txBody>
          <a:bodyPr/>
          <a:lstStyle/>
          <a:p>
            <a:pPr algn="l"/>
            <a:r>
              <a:rPr lang="en-GB" b="0" i="0">
                <a:solidFill>
                  <a:srgbClr val="242424"/>
                </a:solidFill>
                <a:effectLst/>
                <a:latin typeface="Segoe UI" panose="020B0502040204020203" pitchFamily="34" charset="0"/>
              </a:rPr>
              <a:t>Slides need work</a:t>
            </a:r>
          </a:p>
          <a:p>
            <a:pPr algn="l"/>
            <a:endParaRPr lang="en-GB" b="0" i="0">
              <a:solidFill>
                <a:srgbClr val="242424"/>
              </a:solidFill>
              <a:effectLst/>
              <a:latin typeface="Segoe UI" panose="020B0502040204020203" pitchFamily="34" charset="0"/>
            </a:endParaRPr>
          </a:p>
          <a:p>
            <a:pPr>
              <a:buNone/>
            </a:pPr>
            <a:r>
              <a:rPr lang="en-GB" b="1"/>
              <a:t>Top-Level Overview</a:t>
            </a:r>
          </a:p>
          <a:p>
            <a:pPr>
              <a:buNone/>
            </a:pPr>
            <a:r>
              <a:rPr lang="en-GB"/>
              <a:t>"This entire diagram represents a </a:t>
            </a:r>
            <a:r>
              <a:rPr lang="en-GB" b="1"/>
              <a:t>single Microsoft Purview Tenant</a:t>
            </a:r>
            <a:r>
              <a:rPr lang="en-GB"/>
              <a:t>—essentially, your centralized hub for governance. Everything inside it—governance domains, data products, even the technical integrations in the Data Map —works together to offer a </a:t>
            </a:r>
            <a:r>
              <a:rPr lang="en-GB" b="1"/>
              <a:t>unified view of your data estate</a:t>
            </a:r>
            <a:r>
              <a:rPr lang="en-GB"/>
              <a:t>.“</a:t>
            </a:r>
          </a:p>
          <a:p>
            <a:pPr>
              <a:buNone/>
            </a:pPr>
            <a:endParaRPr lang="en-GB"/>
          </a:p>
          <a:p>
            <a:pPr>
              <a:buNone/>
            </a:pPr>
            <a:r>
              <a:rPr lang="en-GB"/>
              <a:t>I’m going to call out a few concepts, all of which we will be going into more detail later. And these concepts we may keep repeating, to help us all become more familiar.</a:t>
            </a:r>
          </a:p>
          <a:p>
            <a:pPr>
              <a:buNone/>
            </a:pPr>
            <a:endParaRPr lang="en-GB"/>
          </a:p>
          <a:p>
            <a:pPr>
              <a:buNone/>
            </a:pPr>
            <a:r>
              <a:rPr lang="en-GB"/>
              <a:t>Governance Domains, Data products and Glossary Terms</a:t>
            </a:r>
          </a:p>
          <a:p>
            <a:pPr>
              <a:buNone/>
            </a:pPr>
            <a:endParaRPr lang="en-GB"/>
          </a:p>
          <a:p>
            <a:pPr marL="228600" indent="-228600">
              <a:buAutoNum type="arabicParenR"/>
            </a:pPr>
            <a:r>
              <a:rPr lang="en-GB"/>
              <a:t>Gov doma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Governance domain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re a new way of organizing your data estate. You want and need to access your entire data estate, but a single, uncategorized list is overwhelming. A business domain is a boundary that aligns your data estate to your organization; think of it as a mini catalog inside your data catalo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2) Data Produ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 </a:t>
            </a: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data product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is a group of data assets (tables, files, PBI reports, etc.), a packaged offering to an enterprise that provides assets with a use case to be shared to data consumers. A business domain can house many data products, but a data product is managed by a single business domain and can be discovered across many doma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3) Glossary Te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Glossary term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provide a vocabulary for business users. It consists of business terms that can be related to each other and allows them to be categorized so that they can be understood in different contexts. This helps in abstracting the technical jargon associated with the data repositories and allows the business user to discover and work with data in the vocabulary that is more familiar to th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4) Data Ma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t the foundation of this structure is the </a:t>
            </a:r>
            <a:r>
              <a:rPr lang="en-GB" b="1"/>
              <a:t>Data Map</a:t>
            </a:r>
            <a:r>
              <a:rPr lang="en-GB"/>
              <a:t>, where the technical implementation resides. This is where you integrate with actual data sources</a:t>
            </a:r>
            <a:endPar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EXTRA: CDE - </a:t>
            </a: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Critical data element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re a logical grouping of important pieces of information across your data estate. For example: A "Customer ID" critical data element can map "</a:t>
            </a:r>
            <a:r>
              <a:rPr kumimoji="0" lang="en-US" sz="1200" b="0" i="0" u="none" strike="noStrike" kern="1200" cap="none" spc="0" normalizeH="0" baseline="0" noProof="0" err="1">
                <a:ln>
                  <a:noFill/>
                </a:ln>
                <a:solidFill>
                  <a:srgbClr val="1C1C1C"/>
                </a:solidFill>
                <a:effectLst/>
                <a:uLnTx/>
                <a:uFillTx/>
                <a:latin typeface="Segoe Sans Text" panose="020F0502020204030204"/>
                <a:ea typeface="+mn-ea"/>
                <a:cs typeface="+mn-cs"/>
              </a:rPr>
              <a:t>CustID</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 from one table and "CID" from another table into the same logical container. These groupings can make data easier to understand as well as promoting standardization. Data quality rules and access policies can be attached to these elements to further secure sensitive information across your data est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endParaRPr>
          </a:p>
          <a:p>
            <a:pPr marL="228600" indent="-228600">
              <a:buAutoNum type="arabicParenR"/>
            </a:pPr>
            <a:endParaRPr lang="en-GB"/>
          </a:p>
          <a:p>
            <a:pPr>
              <a:buNone/>
            </a:pPr>
            <a:endParaRPr lang="en-GB"/>
          </a:p>
          <a:p>
            <a:pPr>
              <a:buNone/>
            </a:pPr>
            <a:endParaRPr lang="en-GB"/>
          </a:p>
          <a:p>
            <a:pPr>
              <a:buNone/>
            </a:pPr>
            <a:endParaRPr lang="en-GB"/>
          </a:p>
          <a:p>
            <a:pPr>
              <a:buNone/>
            </a:pPr>
            <a:endParaRPr lang="en-GB"/>
          </a:p>
          <a:p>
            <a:pPr>
              <a:buNone/>
            </a:pPr>
            <a:r>
              <a:rPr lang="en-GB" b="1" err="1"/>
              <a:t>Catalog</a:t>
            </a:r>
            <a:r>
              <a:rPr lang="en-GB" b="1"/>
              <a:t> and Data Estate Health</a:t>
            </a:r>
          </a:p>
          <a:p>
            <a:pPr>
              <a:buNone/>
            </a:pPr>
            <a:r>
              <a:rPr lang="en-GB"/>
              <a:t>"At the top level, we have the </a:t>
            </a:r>
            <a:r>
              <a:rPr lang="en-GB" b="1" err="1"/>
              <a:t>Catalog</a:t>
            </a:r>
            <a:r>
              <a:rPr lang="en-GB" b="1"/>
              <a:t> and Data Estate Health</a:t>
            </a:r>
            <a:r>
              <a:rPr lang="en-GB"/>
              <a:t> view. This is where Purview provides high-level insights across your data estate, enabling better decision-making.“</a:t>
            </a:r>
          </a:p>
          <a:p>
            <a:pPr>
              <a:buNone/>
            </a:pPr>
            <a:endParaRPr lang="en-GB"/>
          </a:p>
          <a:p>
            <a:pPr>
              <a:buNone/>
            </a:pPr>
            <a:r>
              <a:rPr lang="en-GB" b="1"/>
              <a:t>Governance Domains</a:t>
            </a:r>
          </a:p>
          <a:p>
            <a:pPr>
              <a:buNone/>
            </a:pPr>
            <a:r>
              <a:rPr lang="en-GB"/>
              <a:t>"Within the tenant, we define </a:t>
            </a:r>
            <a:r>
              <a:rPr lang="en-GB" b="1"/>
              <a:t>Governance Domains</a:t>
            </a:r>
            <a:r>
              <a:rPr lang="en-GB"/>
              <a:t>. These can be our business-aligned areas of responsibility, such as HR, Finance, or Marketing. Each domain contains its own:</a:t>
            </a:r>
          </a:p>
          <a:p>
            <a:pPr>
              <a:buFont typeface="Arial" panose="020B0604020202020204" pitchFamily="34" charset="0"/>
              <a:buChar char="•"/>
            </a:pPr>
            <a:r>
              <a:rPr lang="en-GB" b="1"/>
              <a:t>Critical Data Elements</a:t>
            </a:r>
            <a:r>
              <a:rPr lang="en-GB"/>
              <a:t>, which are the key data items necessary for business operations.</a:t>
            </a:r>
          </a:p>
          <a:p>
            <a:pPr>
              <a:buFont typeface="Arial" panose="020B0604020202020204" pitchFamily="34" charset="0"/>
              <a:buChar char="•"/>
            </a:pPr>
            <a:r>
              <a:rPr lang="en-GB" b="1"/>
              <a:t>Glossary Terms</a:t>
            </a:r>
            <a:r>
              <a:rPr lang="en-GB"/>
              <a:t>, which define shared vocabulary used across the organisation.</a:t>
            </a:r>
          </a:p>
          <a:p>
            <a:pPr>
              <a:buFont typeface="Arial" panose="020B0604020202020204" pitchFamily="34" charset="0"/>
              <a:buChar char="•"/>
            </a:pPr>
            <a:r>
              <a:rPr lang="en-GB"/>
              <a:t>And they're managed by </a:t>
            </a:r>
            <a:r>
              <a:rPr lang="en-GB" b="1"/>
              <a:t>Glossary Teams</a:t>
            </a:r>
            <a:r>
              <a:rPr lang="en-GB"/>
              <a:t>, ensuring the right people are maintaining these definitions.“</a:t>
            </a:r>
          </a:p>
          <a:p>
            <a:pPr>
              <a:buFont typeface="Arial" panose="020B0604020202020204" pitchFamily="34" charset="0"/>
              <a:buChar char="•"/>
            </a:pPr>
            <a:endParaRPr lang="en-GB"/>
          </a:p>
          <a:p>
            <a:pPr>
              <a:buNone/>
            </a:pPr>
            <a:r>
              <a:rPr lang="en-GB" b="1"/>
              <a:t>Data Products</a:t>
            </a:r>
          </a:p>
          <a:p>
            <a:pPr>
              <a:buNone/>
            </a:pPr>
            <a:r>
              <a:rPr lang="en-GB"/>
              <a:t>"Inside each governance domain, we have </a:t>
            </a:r>
            <a:r>
              <a:rPr lang="en-GB" b="1"/>
              <a:t>Data Products</a:t>
            </a:r>
            <a:r>
              <a:rPr lang="en-GB"/>
              <a:t>. Think of these as curated, high-quality, reusable data assets. Each product includes:</a:t>
            </a:r>
          </a:p>
          <a:p>
            <a:pPr>
              <a:buFont typeface="Arial" panose="020B0604020202020204" pitchFamily="34" charset="0"/>
              <a:buChar char="•"/>
            </a:pPr>
            <a:r>
              <a:rPr lang="en-GB" b="1"/>
              <a:t>Datasets</a:t>
            </a:r>
            <a:r>
              <a:rPr lang="en-GB"/>
              <a:t>, like tables or files,</a:t>
            </a:r>
          </a:p>
          <a:p>
            <a:pPr>
              <a:buFont typeface="Arial" panose="020B0604020202020204" pitchFamily="34" charset="0"/>
              <a:buChar char="•"/>
            </a:pPr>
            <a:r>
              <a:rPr lang="en-GB" b="1"/>
              <a:t>Dashboards/Reports</a:t>
            </a:r>
            <a:r>
              <a:rPr lang="en-GB"/>
              <a:t>, which are our business insights,</a:t>
            </a:r>
          </a:p>
          <a:p>
            <a:pPr>
              <a:buFont typeface="Arial" panose="020B0604020202020204" pitchFamily="34" charset="0"/>
              <a:buChar char="•"/>
            </a:pPr>
            <a:r>
              <a:rPr lang="en-GB"/>
              <a:t>And </a:t>
            </a:r>
            <a:r>
              <a:rPr lang="en-GB" b="1"/>
              <a:t>Models</a:t>
            </a:r>
            <a:r>
              <a:rPr lang="en-GB"/>
              <a:t>, such as </a:t>
            </a:r>
            <a:r>
              <a:rPr lang="en-GB" err="1"/>
              <a:t>powerbi</a:t>
            </a:r>
            <a:r>
              <a:rPr lang="en-GB"/>
              <a:t> semantic models.“</a:t>
            </a:r>
          </a:p>
          <a:p>
            <a:pPr>
              <a:buFont typeface="Arial" panose="020B0604020202020204" pitchFamily="34" charset="0"/>
              <a:buChar char="•"/>
            </a:pPr>
            <a:endParaRPr lang="en-GB"/>
          </a:p>
          <a:p>
            <a:pPr>
              <a:buNone/>
            </a:pPr>
            <a:r>
              <a:rPr lang="en-GB" b="1"/>
              <a:t>Data Map (Bottom Section)</a:t>
            </a:r>
          </a:p>
          <a:p>
            <a:pPr>
              <a:buNone/>
            </a:pPr>
            <a:r>
              <a:rPr lang="en-GB"/>
              <a:t>"At the foundation of this structure is the </a:t>
            </a:r>
            <a:r>
              <a:rPr lang="en-GB" b="1"/>
              <a:t>Data Map</a:t>
            </a:r>
            <a:r>
              <a:rPr lang="en-GB"/>
              <a:t>, where the technical implementation resides. This is where you integrate with actual data sources."</a:t>
            </a:r>
          </a:p>
          <a:p>
            <a:pPr>
              <a:buNone/>
            </a:pPr>
            <a:r>
              <a:rPr lang="en-GB" b="1"/>
              <a:t>Technical Domains</a:t>
            </a:r>
          </a:p>
          <a:p>
            <a:pPr>
              <a:buNone/>
            </a:pPr>
            <a:r>
              <a:rPr lang="en-GB"/>
              <a:t>"Each tenant can have up to </a:t>
            </a:r>
            <a:r>
              <a:rPr lang="en-GB" b="1"/>
              <a:t>5 Technical Domains</a:t>
            </a:r>
            <a:r>
              <a:rPr lang="en-GB"/>
              <a:t>, which were previously known as 'Purview Accounts'. These are typically aligned to platform teams or IT units and consist of one or more </a:t>
            </a:r>
            <a:r>
              <a:rPr lang="en-GB" b="1"/>
              <a:t>Collections</a:t>
            </a:r>
            <a:r>
              <a:rPr lang="en-GB"/>
              <a:t>, which represent groups of scanned assets."</a:t>
            </a:r>
          </a:p>
          <a:p>
            <a:r>
              <a:rPr lang="en-GB"/>
              <a:t>"Technical domains power the governance domains by surfacing metadata from source systems. So, governance is layered </a:t>
            </a:r>
            <a:r>
              <a:rPr lang="en-GB" i="1"/>
              <a:t>on top</a:t>
            </a:r>
            <a:r>
              <a:rPr lang="en-GB"/>
              <a:t> of the technical structure."</a:t>
            </a:r>
          </a:p>
          <a:p>
            <a:pPr algn="l"/>
            <a:endParaRPr lang="en-GB" b="0" i="0">
              <a:solidFill>
                <a:srgbClr val="242424"/>
              </a:solidFill>
              <a:effectLst/>
              <a:latin typeface="Segoe UI" panose="020B0502040204020203" pitchFamily="34" charset="0"/>
            </a:endParaRPr>
          </a:p>
          <a:p>
            <a:pPr algn="l"/>
            <a:r>
              <a:rPr lang="en-GB" b="0" i="0">
                <a:solidFill>
                  <a:srgbClr val="242424"/>
                </a:solidFill>
                <a:effectLst/>
                <a:latin typeface="Segoe UI" panose="020B0502040204020203" pitchFamily="34" charset="0"/>
              </a:rPr>
              <a:t>Closing summary:</a:t>
            </a:r>
          </a:p>
          <a:p>
            <a:pPr algn="l"/>
            <a:endParaRPr lang="en-GB" b="0" i="0">
              <a:solidFill>
                <a:srgbClr val="242424"/>
              </a:solidFill>
              <a:effectLst/>
              <a:latin typeface="Segoe UI" panose="020B0502040204020203" pitchFamily="34" charset="0"/>
            </a:endParaRPr>
          </a:p>
          <a:p>
            <a:pPr>
              <a:buNone/>
            </a:pPr>
            <a:r>
              <a:rPr lang="en-GB"/>
              <a:t>In essence, this model shifts governance from a tech-only focus to a business-aligned structure that reflects how your organisation actually operates—while still retaining tight integration with the underlying technical estate.</a:t>
            </a:r>
          </a:p>
          <a:p>
            <a:r>
              <a:rPr lang="en-GB"/>
              <a:t>And with the addition of the </a:t>
            </a:r>
            <a:r>
              <a:rPr lang="en-GB" b="1"/>
              <a:t>Unified Data </a:t>
            </a:r>
            <a:r>
              <a:rPr lang="en-GB" b="1" err="1"/>
              <a:t>Catalog</a:t>
            </a:r>
            <a:r>
              <a:rPr lang="en-GB"/>
              <a:t>, we're now seeing a shift toward </a:t>
            </a:r>
            <a:r>
              <a:rPr lang="en-GB" b="1"/>
              <a:t>data mesh-like governance</a:t>
            </a:r>
            <a:r>
              <a:rPr lang="en-GB"/>
              <a:t>—where domains own and manage their own data products, and data is treated more like a product than just an asset.</a:t>
            </a:r>
          </a:p>
          <a:p>
            <a:pPr algn="l"/>
            <a:endParaRPr lang="en-GB" b="0" i="0">
              <a:solidFill>
                <a:srgbClr val="242424"/>
              </a:solidFill>
              <a:effectLst/>
              <a:latin typeface="Segoe UI" panose="020B0502040204020203" pitchFamily="34" charset="0"/>
            </a:endParaRPr>
          </a:p>
          <a:p>
            <a:pPr algn="l"/>
            <a:endParaRPr lang="en-GB" b="0" i="0">
              <a:solidFill>
                <a:srgbClr val="242424"/>
              </a:solidFill>
              <a:effectLst/>
              <a:latin typeface="Segoe UI" panose="020B0502040204020203" pitchFamily="34" charset="0"/>
            </a:endParaRPr>
          </a:p>
          <a:p>
            <a:pPr algn="l"/>
            <a:r>
              <a:rPr lang="en-GB" b="0" i="0">
                <a:solidFill>
                  <a:srgbClr val="242424"/>
                </a:solidFill>
                <a:effectLst/>
                <a:latin typeface="Segoe UI" panose="020B0502040204020203" pitchFamily="34" charset="0"/>
              </a:rPr>
              <a:t>END</a:t>
            </a:r>
            <a:br>
              <a:rPr lang="en-GB" b="0" i="0">
                <a:solidFill>
                  <a:srgbClr val="242424"/>
                </a:solidFill>
                <a:effectLst/>
                <a:latin typeface="Segoe UI" panose="020B0502040204020203" pitchFamily="34" charset="0"/>
              </a:rPr>
            </a:br>
            <a:endParaRPr lang="en-GB" b="0" i="0">
              <a:solidFill>
                <a:srgbClr val="242424"/>
              </a:solidFill>
              <a:effectLst/>
              <a:latin typeface="Segoe UI" panose="020B0502040204020203" pitchFamily="34" charset="0"/>
            </a:endParaRPr>
          </a:p>
          <a:p>
            <a:pPr algn="l"/>
            <a:r>
              <a:rPr lang="en-GB" b="0" i="0">
                <a:solidFill>
                  <a:srgbClr val="242424"/>
                </a:solidFill>
                <a:effectLst/>
                <a:latin typeface="Segoe UI" panose="020B0502040204020203" pitchFamily="34" charset="0"/>
              </a:rPr>
              <a:t>In Microsoft Purview, technical and business domains interact to create a comprehensive data governance framework that aligns both technical infrastructure and business processes.</a:t>
            </a:r>
          </a:p>
          <a:p>
            <a:pPr algn="l"/>
            <a:r>
              <a:rPr lang="en-GB" b="1" i="0">
                <a:solidFill>
                  <a:srgbClr val="242424"/>
                </a:solidFill>
                <a:effectLst/>
                <a:latin typeface="Segoe UI" panose="020B0502040204020203" pitchFamily="34" charset="0"/>
              </a:rPr>
              <a:t>Technical domains</a:t>
            </a:r>
            <a:r>
              <a:rPr lang="en-GB" b="0" i="0">
                <a:solidFill>
                  <a:srgbClr val="242424"/>
                </a:solidFill>
                <a:effectLst/>
                <a:latin typeface="Segoe UI" panose="020B0502040204020203" pitchFamily="34" charset="0"/>
              </a:rPr>
              <a:t> focus on the infrastructure and systems used to manage data. They include databases, data warehouses, data lakes, and ETL tools. These domains are managed by IT professionals and data engineers to ensure the technical infrastructure is robust and secure.</a:t>
            </a:r>
          </a:p>
          <a:p>
            <a:pPr algn="l"/>
            <a:r>
              <a:rPr lang="en-GB" b="1" i="0">
                <a:solidFill>
                  <a:srgbClr val="242424"/>
                </a:solidFill>
                <a:effectLst/>
                <a:latin typeface="Segoe UI" panose="020B0502040204020203" pitchFamily="34" charset="0"/>
              </a:rPr>
              <a:t>Governance domains</a:t>
            </a:r>
            <a:r>
              <a:rPr lang="en-GB" b="0" i="0">
                <a:solidFill>
                  <a:srgbClr val="242424"/>
                </a:solidFill>
                <a:effectLst/>
                <a:latin typeface="Segoe UI" panose="020B0502040204020203" pitchFamily="34" charset="0"/>
              </a:rPr>
              <a:t>, on the other hand, align with the organisational structure and business processes. They focus on the context and usage of data within specific business areas or functions, such as finance, human resources, sales and marketing, and operations. Business domains are managed by business analysts and domain experts to ensure data is organised in a way that is meaningful to business users</a:t>
            </a:r>
          </a:p>
          <a:p>
            <a:endParaRPr lang="en-GB" b="0" i="0" u="none" strike="noStrike">
              <a:solidFill>
                <a:srgbClr val="242424"/>
              </a:solidFill>
              <a:effectLst/>
              <a:latin typeface="var(--fontFamilyBase)"/>
            </a:endParaRPr>
          </a:p>
          <a:p>
            <a:r>
              <a:rPr lang="en-GB" b="0" i="0">
                <a:solidFill>
                  <a:srgbClr val="242424"/>
                </a:solidFill>
                <a:effectLst/>
                <a:latin typeface="Segoe UI" panose="020B0502040204020203" pitchFamily="34" charset="0"/>
              </a:rPr>
              <a:t>The interaction between these domains is crucial for effective data governance. Here are some ways they interact:</a:t>
            </a:r>
          </a:p>
          <a:p>
            <a:pPr algn="l">
              <a:buFont typeface="+mj-lt"/>
              <a:buAutoNum type="arabicPeriod"/>
            </a:pPr>
            <a:r>
              <a:rPr lang="en-GB" b="1" i="0">
                <a:solidFill>
                  <a:srgbClr val="242424"/>
                </a:solidFill>
                <a:effectLst/>
                <a:latin typeface="Segoe UI" panose="020B0502040204020203" pitchFamily="34" charset="0"/>
              </a:rPr>
              <a:t>Data Integration</a:t>
            </a:r>
            <a:r>
              <a:rPr lang="en-GB" b="0" i="0">
                <a:solidFill>
                  <a:srgbClr val="242424"/>
                </a:solidFill>
                <a:effectLst/>
                <a:latin typeface="Segoe UI" panose="020B0502040204020203" pitchFamily="34" charset="0"/>
              </a:rPr>
              <a:t>: Technical domains provide the infrastructure for data storage and processing, while business domains define the context and usage of this data. This ensures that data is not only stored securely but also used effectively to meet business needs.</a:t>
            </a:r>
          </a:p>
          <a:p>
            <a:pPr algn="l">
              <a:buFont typeface="+mj-lt"/>
              <a:buAutoNum type="arabicPeriod"/>
            </a:pPr>
            <a:r>
              <a:rPr lang="en-GB" b="1" i="0">
                <a:solidFill>
                  <a:srgbClr val="242424"/>
                </a:solidFill>
                <a:effectLst/>
                <a:latin typeface="Segoe UI" panose="020B0502040204020203" pitchFamily="34" charset="0"/>
              </a:rPr>
              <a:t>Data Quality and Compliance</a:t>
            </a:r>
            <a:r>
              <a:rPr lang="en-GB" b="0" i="0">
                <a:solidFill>
                  <a:srgbClr val="242424"/>
                </a:solidFill>
                <a:effectLst/>
                <a:latin typeface="Segoe UI" panose="020B0502040204020203" pitchFamily="34" charset="0"/>
              </a:rPr>
              <a:t>: Technical domains handle the technical aspects of data quality and compliance, such as implementing data quality rules and ensuring data security. Business domains ensure that these technical measures align with business requirements and regulatory standards</a:t>
            </a:r>
          </a:p>
          <a:p>
            <a:pPr algn="l">
              <a:buFont typeface="+mj-lt"/>
              <a:buAutoNum type="arabicPeriod"/>
            </a:pPr>
            <a:r>
              <a:rPr lang="en-GB" b="1" i="0">
                <a:solidFill>
                  <a:srgbClr val="242424"/>
                </a:solidFill>
                <a:effectLst/>
                <a:latin typeface="Segoe UI" panose="020B0502040204020203" pitchFamily="34" charset="0"/>
              </a:rPr>
              <a:t>Data Lineage and Metadata Management</a:t>
            </a:r>
            <a:r>
              <a:rPr lang="en-GB" b="0" i="0">
                <a:solidFill>
                  <a:srgbClr val="242424"/>
                </a:solidFill>
                <a:effectLst/>
                <a:latin typeface="Segoe UI" panose="020B0502040204020203" pitchFamily="34" charset="0"/>
              </a:rPr>
              <a:t>: Technical domains manage the technical metadata, such as data schemas and transformations. Business domains manage business metadata, such as data definitions and business rules. Together, they provide a complete view of data lineage and metadata, ensuring data is understood and trusted across the organisation</a:t>
            </a:r>
          </a:p>
          <a:p>
            <a:pPr algn="l">
              <a:buFont typeface="+mj-lt"/>
              <a:buAutoNum type="arabicPeriod"/>
            </a:pPr>
            <a:r>
              <a:rPr lang="en-GB" b="1" i="0">
                <a:solidFill>
                  <a:srgbClr val="242424"/>
                </a:solidFill>
                <a:effectLst/>
                <a:latin typeface="Segoe UI" panose="020B0502040204020203" pitchFamily="34" charset="0"/>
              </a:rPr>
              <a:t>Collaboration and Communication</a:t>
            </a:r>
            <a:r>
              <a:rPr lang="en-GB" b="0" i="0">
                <a:solidFill>
                  <a:srgbClr val="242424"/>
                </a:solidFill>
                <a:effectLst/>
                <a:latin typeface="Segoe UI" panose="020B0502040204020203" pitchFamily="34" charset="0"/>
              </a:rPr>
              <a:t>: Effective communication between technical and business domains is essential for successful data governance. Regular meetings and workshops, like the ones you have been organising, help ensure that both technical and business perspectives are considered in data governance decisions</a:t>
            </a:r>
          </a:p>
          <a:p>
            <a:pPr algn="l">
              <a:buFont typeface="+mj-lt"/>
              <a:buAutoNum type="arabicPeriod"/>
            </a:pPr>
            <a:endParaRPr lang="en-GB" b="0" i="0">
              <a:solidFill>
                <a:srgbClr val="242424"/>
              </a:solidFill>
              <a:effectLst/>
              <a:latin typeface="Segoe UI" panose="020B0502040204020203" pitchFamily="34" charset="0"/>
            </a:endParaRPr>
          </a:p>
          <a:p>
            <a:pPr algn="l"/>
            <a:r>
              <a:rPr lang="en-GB" b="0" i="0">
                <a:solidFill>
                  <a:srgbClr val="242424"/>
                </a:solidFill>
                <a:effectLst/>
                <a:latin typeface="Segoe UI" panose="020B0502040204020203" pitchFamily="34" charset="0"/>
              </a:rPr>
              <a:t>By integrating technical and business domains, Microsoft Purview helps organisations manage their data more effectively, ensuring both technical and business needs are met.</a:t>
            </a:r>
          </a:p>
          <a:p>
            <a:endParaRPr lang="en-US"/>
          </a:p>
        </p:txBody>
      </p:sp>
      <p:sp>
        <p:nvSpPr>
          <p:cNvPr id="4" name="Slide Number Placeholder 3">
            <a:extLst>
              <a:ext uri="{FF2B5EF4-FFF2-40B4-BE49-F238E27FC236}">
                <a16:creationId xmlns:a16="http://schemas.microsoft.com/office/drawing/2014/main" id="{871773D5-755B-02FA-0263-1B23C2E5D4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94117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7822A6-437E-4942-AF3B-D4B70F41924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89019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Introduction and Overview</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Designing the Data Map</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Managing Data Source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Curating Data Asset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Governance Domains and Term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endParaRPr kumimoji="0" lang="en-US" altLang="en-US" sz="1200" b="0" i="0" u="none" strike="noStrike" kern="1200" cap="none" spc="0" normalizeH="0" baseline="0" noProof="0">
              <a:ln>
                <a:noFill/>
              </a:ln>
              <a:solidFill>
                <a:srgbClr val="000000"/>
              </a:solidFill>
              <a:effectLst/>
              <a:uLnTx/>
              <a:uFillTx/>
              <a:latin typeface="Segoe UI Semibold"/>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Data Products and Acces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Objectives and Key Result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Health Management Control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Data Quality Management</a:t>
            </a:r>
            <a:endParaRPr kumimoji="0" lang="en-US" altLang="en-US" sz="1200" b="0" i="1" u="none" strike="noStrike" kern="1200" cap="none" spc="0" normalizeH="0" baseline="0" noProof="0">
              <a:ln>
                <a:noFill/>
              </a:ln>
              <a:solidFill>
                <a:srgbClr val="000000"/>
              </a:solidFill>
              <a:effectLst/>
              <a:uLnTx/>
              <a:uFillTx/>
              <a:latin typeface="Segoe UI Semibold"/>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Health Management Actions</a:t>
            </a: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altLang="en-US" sz="1200" b="0" i="0" u="none" strike="noStrike" kern="1200" cap="none" spc="0" normalizeH="0" baseline="0" noProof="0">
                <a:ln>
                  <a:noFill/>
                </a:ln>
                <a:solidFill>
                  <a:srgbClr val="000000"/>
                </a:solidFill>
                <a:effectLst/>
                <a:uLnTx/>
                <a:uFillTx/>
                <a:latin typeface="Segoe UI Semibold"/>
                <a:ea typeface="+mn-ea"/>
                <a:cs typeface="+mn-cs"/>
              </a:rPr>
              <a:t>Health Management Report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0800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46904-F8C1-EA35-A4E3-16C808E7D9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C5215-0613-7E72-1DA7-8240A5E8F5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F40A03-5F2A-031E-1B22-E1AED2FAD26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D934940-2B69-7796-57ED-9AE88CC02406}"/>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DB9F39E6-4BC9-4AAF-3B61-7ACE74567738}"/>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Aptos" panose="02110004020202020204"/>
                <a:ea typeface="Segoe UI" pitchFamily="34" charset="0"/>
                <a:cs typeface="+mn-cs"/>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DAF81832-1B19-E7F3-DF5F-0661380C32E4}"/>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2025 9:12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000700FA-1577-07E3-C6A8-F1CB1963386B}"/>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68469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E31D8-6DE7-21B7-F2D9-18A0CD7B16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CD6D76-17DF-8113-2B12-51621313C5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F0F4BD-9DFB-B94D-374B-2E6F5F80C156}"/>
              </a:ext>
            </a:extLst>
          </p:cNvPr>
          <p:cNvSpPr>
            <a:spLocks noGrp="1"/>
          </p:cNvSpPr>
          <p:nvPr>
            <p:ph type="body" idx="1"/>
          </p:nvPr>
        </p:nvSpPr>
        <p:spPr/>
        <p:txBody>
          <a:bodyPr/>
          <a:lstStyle/>
          <a:p>
            <a:r>
              <a:rPr lang="en-US" sz="1200"/>
              <a:t>Despite understanding the key role governance plays, many organizations still struggle to implement effective data democratization.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Customers often struggle with securing the data, activating the data, and adhering to regulatory risks. </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74% of companies in a study had some data exposed in the past year</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68% of companies report not being able to activate the data to apply the right insights.. Leads to poor data quality</a:t>
            </a:r>
          </a:p>
          <a:p>
            <a:pPr marL="171450" marR="0" lvl="0" indent="-171450" algn="l" defTabSz="914400" rtl="0" eaLnBrk="1" fontAlgn="auto" latinLnBrk="0" hangingPunct="1">
              <a:lnSpc>
                <a:spcPct val="115000"/>
              </a:lnSpc>
              <a:spcBef>
                <a:spcPts val="0"/>
              </a:spcBef>
              <a:spcAft>
                <a:spcPts val="300"/>
              </a:spcAft>
              <a:buClrTx/>
              <a:buSzTx/>
              <a:buFont typeface="Arial" panose="020B0604020202020204" pitchFamily="34" charset="0"/>
              <a:buChar char="•"/>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47% of leaders are confident their organization is able to confidently meet AI regulations</a:t>
            </a:r>
          </a:p>
          <a:p>
            <a:pPr marL="342900" marR="0" lvl="0" indent="-342900" algn="l" defTabSz="914400" rtl="0" eaLnBrk="1" fontAlgn="auto" latinLnBrk="0" hangingPunct="1">
              <a:lnSpc>
                <a:spcPct val="115000"/>
              </a:lnSpc>
              <a:spcBef>
                <a:spcPts val="0"/>
              </a:spcBef>
              <a:spcAft>
                <a:spcPts val="300"/>
              </a:spcAft>
              <a:buClrTx/>
              <a:buSzTx/>
              <a:buFont typeface="+mj-lt"/>
              <a:buAutoNum type="arabicPeriod"/>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Each of these are approached as a siloes today, which leads to these pain points. </a:t>
            </a: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300"/>
              </a:spcAft>
              <a:buClrTx/>
              <a:buSzTx/>
              <a:buFont typeface="+mj-lt"/>
              <a:buNone/>
              <a:tabLst>
                <a:tab pos="457200" algn="l"/>
              </a:tabLst>
              <a:defRPr/>
            </a:pPr>
            <a:r>
              <a:rPr lang="en-US" sz="1200">
                <a:effectLst/>
                <a:latin typeface="Segoe UI" panose="020B0502040204020203" pitchFamily="34" charset="0"/>
                <a:ea typeface="Segoe UI" panose="020B0502040204020203" pitchFamily="34" charset="0"/>
                <a:cs typeface="Times New Roman" panose="02020603050405020304" pitchFamily="18" charset="0"/>
              </a:rPr>
              <a:t>Activation means making your data ready for use, analysis, or integration into applications</a:t>
            </a:r>
          </a:p>
          <a:p>
            <a:pPr marL="0" marR="0" lvl="0" indent="0" algn="l" defTabSz="914400" rtl="0" eaLnBrk="1" fontAlgn="auto" latinLnBrk="0" hangingPunct="1">
              <a:lnSpc>
                <a:spcPct val="115000"/>
              </a:lnSpc>
              <a:spcBef>
                <a:spcPts val="0"/>
              </a:spcBef>
              <a:spcAft>
                <a:spcPts val="300"/>
              </a:spcAft>
              <a:buClrTx/>
              <a:buSzTx/>
              <a:buFontTx/>
              <a:buNone/>
              <a:tabLst>
                <a:tab pos="457200" algn="l"/>
              </a:tabLst>
              <a:defRPr/>
            </a:pPr>
            <a:endParaRPr lang="en-US" sz="1200">
              <a:effectLst/>
              <a:latin typeface="Segoe UI" panose="020B0502040204020203" pitchFamily="34" charset="0"/>
              <a:ea typeface="Segoe UI" panose="020B0502040204020203"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852E53B9-E9F6-593B-0B7E-428441E5FA4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60179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49A5B-FBE7-EE79-EAB4-0A3AB91822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B15768-3454-A07F-FBA9-40E78CF973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8508A-6E01-121B-B57C-64F69ED5AF13}"/>
              </a:ext>
            </a:extLst>
          </p:cNvPr>
          <p:cNvSpPr>
            <a:spLocks noGrp="1"/>
          </p:cNvSpPr>
          <p:nvPr>
            <p:ph type="body" idx="1"/>
          </p:nvPr>
        </p:nvSpPr>
        <p:spPr/>
        <p:txBody>
          <a:bodyPr/>
          <a:lstStyle/>
          <a:p>
            <a:r>
              <a:rPr lang="en-GB"/>
              <a:t>Okay so, why are we interested in governance? </a:t>
            </a:r>
          </a:p>
          <a:p>
            <a:endParaRPr lang="en-GB"/>
          </a:p>
          <a:p>
            <a:r>
              <a:rPr lang="en-GB"/>
              <a:t>Well, this quote really sums up why data governance isn't just a checkbox — it's foundational. Without strong governance and security, all our data &amp; analytics efforts are essentially built on shaky ground. We risk basing decisions on </a:t>
            </a:r>
            <a:r>
              <a:rPr lang="en-GB" b="1"/>
              <a:t>incomplete, inaccurate, or even compromised data</a:t>
            </a:r>
          </a:p>
          <a:p>
            <a:endParaRPr lang="en-GB" b="1"/>
          </a:p>
          <a:p>
            <a:r>
              <a:rPr lang="en-GB" b="1"/>
              <a:t>Emphasize the Financial Impact:</a:t>
            </a:r>
            <a:r>
              <a:rPr lang="en-GB"/>
              <a:t> Highlight that poor data quality can cost organizations significantly, with Gartner research from 2020 indicating average annual losses of $12.9 million due to issues like inefficiencies and flawed analytics</a:t>
            </a:r>
          </a:p>
          <a:p>
            <a:endParaRPr lang="en-GB"/>
          </a:p>
          <a:p>
            <a:r>
              <a:rPr lang="en-GB" b="1"/>
              <a:t>Connect to Microsoft Purview:</a:t>
            </a:r>
            <a:r>
              <a:rPr lang="en-GB"/>
              <a:t> Illustrate how Microsoft Purview can assist in establishing robust data governance frameworks, thereby enhancing data quality and security to support trustworthy analytics initiatives</a:t>
            </a:r>
            <a:endParaRPr lang="en-US"/>
          </a:p>
        </p:txBody>
      </p:sp>
      <p:sp>
        <p:nvSpPr>
          <p:cNvPr id="4" name="Slide Number Placeholder 3">
            <a:extLst>
              <a:ext uri="{FF2B5EF4-FFF2-40B4-BE49-F238E27FC236}">
                <a16:creationId xmlns:a16="http://schemas.microsoft.com/office/drawing/2014/main" id="{CCA763FC-D8DC-6C55-ECD6-7AC7887ED6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8954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B3344-8CD7-E619-D6AC-4454AF6258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73336-B729-39B1-FEA0-25814CC2A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9F1929-C20B-0D55-5268-954B082A3009}"/>
              </a:ext>
            </a:extLst>
          </p:cNvPr>
          <p:cNvSpPr>
            <a:spLocks noGrp="1"/>
          </p:cNvSpPr>
          <p:nvPr>
            <p:ph type="body" idx="1"/>
          </p:nvPr>
        </p:nvSpPr>
        <p:spPr/>
        <p:txBody>
          <a:bodyPr/>
          <a:lstStyle/>
          <a:p>
            <a:r>
              <a:rPr lang="en-GB"/>
              <a:t>We define Data Governance as the discipline that ensures data is easy to find, accurate, and reliable. And all the processes that support this are part of our governance approach.</a:t>
            </a:r>
          </a:p>
          <a:p>
            <a:endParaRPr lang="en-GB"/>
          </a:p>
          <a:p>
            <a:r>
              <a:rPr lang="en-GB"/>
              <a:t>Data governance is crucial for organizations aiming to leverage data effectively, especially in an AI-driven world. It ensures that data is accessible, reliable, and protected, which directly influences decision-making. In sectors like healthcare, finance, the consequences of poor data quality can be severe, ranging from misdiagnoses to financial losses. By prioritizing data governance, organizations can mitigate risks and enhance their operational performance.</a:t>
            </a:r>
          </a:p>
          <a:p>
            <a:endParaRPr lang="en-US"/>
          </a:p>
        </p:txBody>
      </p:sp>
      <p:sp>
        <p:nvSpPr>
          <p:cNvPr id="4" name="Slide Number Placeholder 3">
            <a:extLst>
              <a:ext uri="{FF2B5EF4-FFF2-40B4-BE49-F238E27FC236}">
                <a16:creationId xmlns:a16="http://schemas.microsoft.com/office/drawing/2014/main" id="{BB41C958-73AB-B1CD-461B-A5D90629CC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7732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000000"/>
                </a:solidFill>
                <a:effectLst/>
                <a:highlight>
                  <a:srgbClr val="F5F5F5"/>
                </a:highlight>
                <a:latin typeface="Segoe UI" panose="020B0502040204020203" pitchFamily="34" charset="0"/>
              </a:rPr>
              <a:t>Last year, we announced the new </a:t>
            </a:r>
            <a:r>
              <a:rPr lang="en-US" b="1" i="0" u="none" strike="noStrike">
                <a:solidFill>
                  <a:srgbClr val="000000"/>
                </a:solidFill>
                <a:effectLst/>
                <a:highlight>
                  <a:srgbClr val="F5F5F5"/>
                </a:highlight>
                <a:latin typeface="Segoe UI" panose="020B0502040204020203" pitchFamily="34" charset="0"/>
              </a:rPr>
              <a:t>Microsoft Purview</a:t>
            </a:r>
            <a:r>
              <a:rPr lang="en-US" b="0" i="0" u="none" strike="noStrike">
                <a:solidFill>
                  <a:srgbClr val="000000"/>
                </a:solidFill>
                <a:effectLst/>
                <a:highlight>
                  <a:srgbClr val="F5F5F5"/>
                </a:highlight>
                <a:latin typeface="Segoe UI" panose="020B0502040204020203" pitchFamily="34" charset="0"/>
              </a:rPr>
              <a:t> – your solution for comprehensive data governance, security, and compliance on ALL your data wherever it lives. The new Microsoft Purview combines our solutions for Data Security (for security leaders), Data Governance (for data officers and consumers) and Data Compliance (for risk leaders) into one unified experience and a unified underlying platform. These connected solutions are all anchored on a trusted common foundation to security navigate and innovate the digital transformation investments. The open platform gives you tremendous choice in terms of solutions you can choose and apply for your needs. </a:t>
            </a:r>
            <a:r>
              <a:rPr lang="en-US" b="0" i="0" u="none" strike="noStrike">
                <a:solidFill>
                  <a:srgbClr val="444444"/>
                </a:solidFill>
                <a:effectLst/>
                <a:highlight>
                  <a:srgbClr val="F5F5F5"/>
                </a:highlight>
                <a:latin typeface="Segoe UI" panose="020B0502040204020203" pitchFamily="34" charset="0"/>
              </a:rPr>
              <a:t>​ </a:t>
            </a:r>
            <a:r>
              <a:rPr lang="en-US" b="0" i="0" u="none" strike="noStrike">
                <a:solidFill>
                  <a:srgbClr val="000000"/>
                </a:solidFill>
                <a:effectLst/>
                <a:highlight>
                  <a:srgbClr val="F5F5F5"/>
                </a:highlight>
                <a:latin typeface="Segoe UI" panose="020B0502040204020203" pitchFamily="34" charset="0"/>
              </a:rPr>
              <a:t>This is a huge step in our promise to help you protect your entire data estate.  Let explore the new Data Governance experience further.</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F558561-BE36-42AC-B7DC-7B2DD2B932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25 9:1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376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2C18A-E176-9867-FB66-6BF2A6730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54BC4-7092-B3E9-06C5-2C07CE7E2B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0930BF-0FD2-C165-D997-E88807A1CA02}"/>
              </a:ext>
            </a:extLst>
          </p:cNvPr>
          <p:cNvSpPr>
            <a:spLocks noGrp="1"/>
          </p:cNvSpPr>
          <p:nvPr>
            <p:ph type="body" idx="1"/>
          </p:nvPr>
        </p:nvSpPr>
        <p:spPr/>
        <p:txBody>
          <a:bodyPr/>
          <a:lstStyle/>
          <a:p>
            <a:r>
              <a:rPr lang="en-US"/>
              <a:t>But why has it been so hard for organizations? </a:t>
            </a:r>
          </a:p>
          <a:p>
            <a:endParaRPr lang="en-US"/>
          </a:p>
          <a:p>
            <a:r>
              <a:rPr lang="en-US"/>
              <a:t>One of the most common pain points in data governance technology implementation is </a:t>
            </a:r>
            <a:r>
              <a:rPr lang="en-US" b="1"/>
              <a:t>fragmentation</a:t>
            </a:r>
            <a:r>
              <a:rPr lang="en-US"/>
              <a:t>. Many organizations find themselves </a:t>
            </a:r>
            <a:r>
              <a:rPr lang="en-US" b="1"/>
              <a:t>inundated with tools aimed at governing and managing data. </a:t>
            </a:r>
            <a:r>
              <a:rPr lang="en-US"/>
              <a:t>This fragmentation leads to complexity, making it challenging to maintain a unified view of data across the organization. Additionally, these tools have historically been tailored to IT, making this a tedious and centralized process that wasn’t intended to address the core issues of governance. As a result, organizations struggle to ensure data quality, security, and compliance.</a:t>
            </a:r>
          </a:p>
          <a:p>
            <a:r>
              <a:rPr lang="en-US"/>
              <a:t>Unified Catalog – Atlas</a:t>
            </a:r>
          </a:p>
          <a:p>
            <a:r>
              <a:rPr lang="en-US"/>
              <a:t>Data Lineage – Collibra, Atlan</a:t>
            </a:r>
          </a:p>
          <a:p>
            <a:r>
              <a:rPr lang="en-US"/>
              <a:t>Data Quality – Internal custom implemented </a:t>
            </a:r>
          </a:p>
          <a:p>
            <a:endParaRPr lang="en-US"/>
          </a:p>
          <a:p>
            <a:r>
              <a:rPr lang="en-US"/>
              <a:t>The second common pain point is the </a:t>
            </a:r>
            <a:r>
              <a:rPr lang="en-US" b="1"/>
              <a:t>drudgery of labor intensive tasks associated with data governance</a:t>
            </a:r>
            <a:r>
              <a:rPr lang="en-US"/>
              <a:t>. Many organizations find themselves </a:t>
            </a:r>
            <a:r>
              <a:rPr lang="en-US" b="1"/>
              <a:t>constantly playing catch up,</a:t>
            </a:r>
            <a:r>
              <a:rPr lang="en-US"/>
              <a:t> struggling to keep pace with the ever-evolving data landscape. Manual processes, such as data classification, metadata management, and compliance reporting can be time-consuming and prone to error. This can result in the organization on a treadmill of prep and set up-- never really able to put the practice into data governance. </a:t>
            </a:r>
          </a:p>
          <a:p>
            <a:endParaRPr lang="en-US"/>
          </a:p>
          <a:p>
            <a:r>
              <a:rPr lang="en-US"/>
              <a:t>The third challenge in data governance implementation is the </a:t>
            </a:r>
            <a:r>
              <a:rPr lang="en-US" b="1"/>
              <a:t>tension between centrally managed governance and the demand for agility by the business units. </a:t>
            </a:r>
            <a:r>
              <a:rPr lang="en-US"/>
              <a:t>Centralized governance models can sometimes stifle innovation and </a:t>
            </a:r>
            <a:r>
              <a:rPr lang="en-US" b="1"/>
              <a:t>lead to the emergence of shadow business intelligence (BI) initiatives.</a:t>
            </a:r>
            <a:r>
              <a:rPr lang="en-US"/>
              <a:t> Business units may get frustrated and resort to using unauthorized tools and processes to meet their specific needs, bypassing centralized governance protocols, and prone to making mistakes. </a:t>
            </a:r>
          </a:p>
          <a:p>
            <a:endParaRPr lang="en-US"/>
          </a:p>
          <a:p>
            <a:r>
              <a:rPr lang="en-US"/>
              <a:t>Finally, a key pain point in data governance technology implementation is </a:t>
            </a:r>
            <a:r>
              <a:rPr lang="en-US" b="1"/>
              <a:t>lack of tools well tailored for the roles in the enterprise who need to perform different tasks.</a:t>
            </a:r>
            <a:r>
              <a:rPr lang="en-US"/>
              <a:t>  Traditional governance tools often catered primarily to IT. But with the datasphere growing at an unprecedented pace, having a business-friendly experiences that cater to self-service by data stewards and data consumers is critical. </a:t>
            </a:r>
          </a:p>
          <a:p>
            <a:endParaRPr lang="en-US"/>
          </a:p>
          <a:p>
            <a:endParaRPr lang="en-US"/>
          </a:p>
        </p:txBody>
      </p:sp>
      <p:sp>
        <p:nvSpPr>
          <p:cNvPr id="4" name="Header Placeholder 3">
            <a:extLst>
              <a:ext uri="{FF2B5EF4-FFF2-40B4-BE49-F238E27FC236}">
                <a16:creationId xmlns:a16="http://schemas.microsoft.com/office/drawing/2014/main" id="{1D9F3B2C-A08D-7F0D-B3CD-A86991488FDB}"/>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E118DD1-63D9-AFAB-DF9C-43711202601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6F3B987-246F-7651-17C6-96A1B06D976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25 9:1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19A5CDB1-B9A0-7E9D-1975-3107A62CC04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8785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99A8D-05FB-4B9D-931E-284505863320}"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32956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emf"/><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13" Type="http://schemas.microsoft.com/office/2007/relationships/hdphoto" Target="../media/hdphoto4.wdp"/><Relationship Id="rId3" Type="http://schemas.openxmlformats.org/officeDocument/2006/relationships/image" Target="../media/image17.png"/><Relationship Id="rId7" Type="http://schemas.microsoft.com/office/2007/relationships/hdphoto" Target="../media/hdphoto3.wdp"/><Relationship Id="rId12"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1.sv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1.emf"/><Relationship Id="rId4" Type="http://schemas.openxmlformats.org/officeDocument/2006/relationships/image" Target="../media/image14.sv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1.emf"/><Relationship Id="rId5" Type="http://schemas.openxmlformats.org/officeDocument/2006/relationships/image" Target="../media/image14.svg"/><Relationship Id="rId4" Type="http://schemas.openxmlformats.org/officeDocument/2006/relationships/image" Target="../media/image13.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9F7C2-D021-C033-3555-08F3B157B9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18B680A-BC03-37FE-11BA-BF0E3B7649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15C50AC-085A-3328-2C44-90A390A4176D}"/>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D5E379D6-435D-C3ED-B584-8DB47436EE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5AD9B7D-4DF4-2448-C351-B4845B84D521}"/>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19028645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F656E-EC19-194E-F22D-F16B5A2C38E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189EFDB-0941-0739-0584-0F43D4B2312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29E32C6-E58E-BF50-4BB9-FEBC25D07B70}"/>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00F636CC-1214-8FB1-99F2-C2977D47E9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A8AC20-D05E-760C-0867-F0B76492D473}"/>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4287157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01">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AB1C1911-831B-92CD-CD8B-2019CFEDCB2E}"/>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grpSp>
        <p:nvGrpSpPr>
          <p:cNvPr id="2" name="Group 1">
            <a:extLst>
              <a:ext uri="{FF2B5EF4-FFF2-40B4-BE49-F238E27FC236}">
                <a16:creationId xmlns:a16="http://schemas.microsoft.com/office/drawing/2014/main" id="{73610CC4-C0D7-C111-325F-D157CFD7FD17}"/>
              </a:ext>
            </a:extLst>
          </p:cNvPr>
          <p:cNvGrpSpPr/>
          <p:nvPr userDrawn="1"/>
        </p:nvGrpSpPr>
        <p:grpSpPr>
          <a:xfrm>
            <a:off x="5086605" y="0"/>
            <a:ext cx="7625350" cy="7625350"/>
            <a:chOff x="-1211501" y="901636"/>
            <a:chExt cx="7899172" cy="7899172"/>
          </a:xfrm>
        </p:grpSpPr>
        <p:pic>
          <p:nvPicPr>
            <p:cNvPr id="4" name="Picture 3">
              <a:extLst>
                <a:ext uri="{FF2B5EF4-FFF2-40B4-BE49-F238E27FC236}">
                  <a16:creationId xmlns:a16="http://schemas.microsoft.com/office/drawing/2014/main" id="{178AFE40-9146-796D-24AA-AE84FB5A36AC}"/>
                </a:ext>
                <a:ext uri="{C183D7F6-B498-43B3-948B-1728B52AA6E4}">
                  <adec:decorative xmlns:adec="http://schemas.microsoft.com/office/drawing/2017/decorative" val="1"/>
                </a:ext>
              </a:extLst>
            </p:cNvPr>
            <p:cNvPicPr>
              <a:picLocks noChangeAspect="1"/>
            </p:cNvPicPr>
            <p:nvPr userDrawn="1"/>
          </p:nvPicPr>
          <p:blipFill>
            <a:blip r:embed="rId3">
              <a:alphaModFix amt="10000"/>
            </a:blip>
            <a:stretch>
              <a:fillRect/>
            </a:stretch>
          </p:blipFill>
          <p:spPr>
            <a:xfrm rot="2700000">
              <a:off x="143783" y="2256920"/>
              <a:ext cx="6543888" cy="6543888"/>
            </a:xfrm>
            <a:prstGeom prst="rect">
              <a:avLst/>
            </a:prstGeom>
          </p:spPr>
        </p:pic>
        <p:pic>
          <p:nvPicPr>
            <p:cNvPr id="7" name="Picture 6">
              <a:extLst>
                <a:ext uri="{FF2B5EF4-FFF2-40B4-BE49-F238E27FC236}">
                  <a16:creationId xmlns:a16="http://schemas.microsoft.com/office/drawing/2014/main" id="{F8E8192A-F500-72A2-2CB3-A2AB93691A59}"/>
                </a:ext>
                <a:ext uri="{C183D7F6-B498-43B3-948B-1728B52AA6E4}">
                  <adec:decorative xmlns:adec="http://schemas.microsoft.com/office/drawing/2017/decorative" val="1"/>
                </a:ext>
              </a:extLst>
            </p:cNvPr>
            <p:cNvPicPr>
              <a:picLocks noChangeAspect="1"/>
            </p:cNvPicPr>
            <p:nvPr userDrawn="1"/>
          </p:nvPicPr>
          <p:blipFill>
            <a:blip r:embed="rId3">
              <a:alphaModFix amt="25000"/>
            </a:blip>
            <a:stretch>
              <a:fillRect/>
            </a:stretch>
          </p:blipFill>
          <p:spPr>
            <a:xfrm rot="1800000">
              <a:off x="-13886" y="2099251"/>
              <a:ext cx="6543888" cy="6543888"/>
            </a:xfrm>
            <a:prstGeom prst="rect">
              <a:avLst/>
            </a:prstGeom>
          </p:spPr>
        </p:pic>
        <p:pic>
          <p:nvPicPr>
            <p:cNvPr id="8" name="Picture 7">
              <a:extLst>
                <a:ext uri="{FF2B5EF4-FFF2-40B4-BE49-F238E27FC236}">
                  <a16:creationId xmlns:a16="http://schemas.microsoft.com/office/drawing/2014/main" id="{E15E2BF6-0895-2652-D6AB-4BF5C578397E}"/>
                </a:ext>
                <a:ext uri="{C183D7F6-B498-43B3-948B-1728B52AA6E4}">
                  <adec:decorative xmlns:adec="http://schemas.microsoft.com/office/drawing/2017/decorative" val="1"/>
                </a:ext>
              </a:extLst>
            </p:cNvPr>
            <p:cNvPicPr>
              <a:picLocks noChangeAspect="1"/>
            </p:cNvPicPr>
            <p:nvPr userDrawn="1"/>
          </p:nvPicPr>
          <p:blipFill>
            <a:blip r:embed="rId3">
              <a:alphaModFix amt="50000"/>
            </a:blip>
            <a:stretch>
              <a:fillRect/>
            </a:stretch>
          </p:blipFill>
          <p:spPr>
            <a:xfrm rot="900000">
              <a:off x="-476148" y="1636989"/>
              <a:ext cx="6543888" cy="6543888"/>
            </a:xfrm>
            <a:prstGeom prst="rect">
              <a:avLst/>
            </a:prstGeom>
          </p:spPr>
        </p:pic>
        <p:pic>
          <p:nvPicPr>
            <p:cNvPr id="9" name="Picture 8">
              <a:extLst>
                <a:ext uri="{FF2B5EF4-FFF2-40B4-BE49-F238E27FC236}">
                  <a16:creationId xmlns:a16="http://schemas.microsoft.com/office/drawing/2014/main" id="{6061BDDC-06AD-7DC2-266C-56BA8184623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211501" y="901636"/>
              <a:ext cx="6543888" cy="6543888"/>
            </a:xfrm>
            <a:prstGeom prst="rect">
              <a:avLst/>
            </a:prstGeom>
          </p:spPr>
        </p:pic>
      </p:grpSp>
      <p:sp>
        <p:nvSpPr>
          <p:cNvPr id="20" name="Text Placeholder 7">
            <a:extLst>
              <a:ext uri="{FF2B5EF4-FFF2-40B4-BE49-F238E27FC236}">
                <a16:creationId xmlns:a16="http://schemas.microsoft.com/office/drawing/2014/main" id="{E48EEB92-49E1-61D8-25A5-8715A55C6F96}"/>
              </a:ext>
            </a:extLst>
          </p:cNvPr>
          <p:cNvSpPr>
            <a:spLocks noGrp="1"/>
          </p:cNvSpPr>
          <p:nvPr>
            <p:ph type="body" sz="quarter" idx="10" hasCustomPrompt="1"/>
          </p:nvPr>
        </p:nvSpPr>
        <p:spPr>
          <a:xfrm>
            <a:off x="607810" y="3020429"/>
            <a:ext cx="3252990" cy="672094"/>
          </a:xfrm>
        </p:spPr>
        <p:txBody>
          <a:bodyPr anchor="ctr" anchorCtr="0">
            <a:noAutofit/>
          </a:bodyPr>
          <a:lstStyle>
            <a:lvl1pPr marL="0" indent="0" algn="l">
              <a:buNone/>
              <a:defRPr sz="3600">
                <a:solidFill>
                  <a:schemeClr val="accent1"/>
                </a:solidFill>
              </a:defRPr>
            </a:lvl1pPr>
          </a:lstStyle>
          <a:p>
            <a:pPr lvl="0"/>
            <a:r>
              <a:rPr lang="en-US"/>
              <a:t>Thank you</a:t>
            </a:r>
          </a:p>
        </p:txBody>
      </p:sp>
      <p:cxnSp>
        <p:nvCxnSpPr>
          <p:cNvPr id="21" name="Straight Connector 20">
            <a:extLst>
              <a:ext uri="{FF2B5EF4-FFF2-40B4-BE49-F238E27FC236}">
                <a16:creationId xmlns:a16="http://schemas.microsoft.com/office/drawing/2014/main" id="{28C21B6C-36A6-14E9-38B8-E904D81E7DFD}"/>
              </a:ext>
            </a:extLst>
          </p:cNvPr>
          <p:cNvCxnSpPr>
            <a:cxnSpLocks/>
          </p:cNvCxnSpPr>
          <p:nvPr userDrawn="1"/>
        </p:nvCxnSpPr>
        <p:spPr>
          <a:xfrm>
            <a:off x="735135" y="3845886"/>
            <a:ext cx="3125665"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4194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2D7D0-7928-FF8E-CEAC-6985BD456E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A974AEA-60DE-49A2-6042-0733BB51653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0E77B4E-131C-F378-FBF1-AF9ADBB58D7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076E803-6D5A-912D-3B7D-0E3F49067973}"/>
              </a:ext>
            </a:extLst>
          </p:cNvPr>
          <p:cNvSpPr>
            <a:spLocks noGrp="1"/>
          </p:cNvSpPr>
          <p:nvPr>
            <p:ph type="dt" sz="half" idx="10"/>
          </p:nvPr>
        </p:nvSpPr>
        <p:spPr/>
        <p:txBody>
          <a:bodyPr/>
          <a:lstStyle/>
          <a:p>
            <a:fld id="{41794D39-6B5D-4040-B02C-C59C47A898DC}" type="datetimeFigureOut">
              <a:rPr lang="en-GB" smtClean="0"/>
              <a:t>15/05/2025</a:t>
            </a:fld>
            <a:endParaRPr lang="en-GB"/>
          </a:p>
        </p:txBody>
      </p:sp>
      <p:sp>
        <p:nvSpPr>
          <p:cNvPr id="6" name="Footer Placeholder 5">
            <a:extLst>
              <a:ext uri="{FF2B5EF4-FFF2-40B4-BE49-F238E27FC236}">
                <a16:creationId xmlns:a16="http://schemas.microsoft.com/office/drawing/2014/main" id="{3330D713-4F91-A78F-E017-78F4EAFAB65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60CBF4-8DB3-06AE-F35B-9C05A28CD741}"/>
              </a:ext>
            </a:extLst>
          </p:cNvPr>
          <p:cNvSpPr>
            <a:spLocks noGrp="1"/>
          </p:cNvSpPr>
          <p:nvPr>
            <p:ph type="sldNum" sz="quarter" idx="12"/>
          </p:nvPr>
        </p:nvSpPr>
        <p:spPr/>
        <p:txBody>
          <a:bodyPr/>
          <a:lstStyle/>
          <a:p>
            <a:fld id="{46FD77A0-44EC-41FB-8A05-EEDFEC982F04}" type="slidenum">
              <a:rPr lang="en-GB" smtClean="0"/>
              <a:t>‹#›</a:t>
            </a:fld>
            <a:endParaRPr lang="en-GB"/>
          </a:p>
        </p:txBody>
      </p:sp>
    </p:spTree>
    <p:extLst>
      <p:ext uri="{BB962C8B-B14F-4D97-AF65-F5344CB8AC3E}">
        <p14:creationId xmlns:p14="http://schemas.microsoft.com/office/powerpoint/2010/main" val="23286795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14372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Section Title 01">
    <p:bg>
      <p:bgPr>
        <a:gradFill>
          <a:gsLst>
            <a:gs pos="99000">
              <a:schemeClr val="accent1">
                <a:lumMod val="20000"/>
                <a:lumOff val="80000"/>
              </a:schemeClr>
            </a:gs>
            <a:gs pos="0">
              <a:schemeClr val="bg1"/>
            </a:gs>
          </a:gsLst>
          <a:lin ang="1800000" scaled="0"/>
        </a:gra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5B056EE6-8FF4-ED3B-72AE-29D8484DD8DD}"/>
              </a:ext>
            </a:extLst>
          </p:cNvPr>
          <p:cNvSpPr>
            <a:spLocks noGrp="1"/>
          </p:cNvSpPr>
          <p:nvPr>
            <p:ph type="title" hasCustomPrompt="1"/>
          </p:nvPr>
        </p:nvSpPr>
        <p:spPr>
          <a:xfrm>
            <a:off x="5636121" y="4870058"/>
            <a:ext cx="5591321" cy="1276108"/>
          </a:xfrm>
        </p:spPr>
        <p:txBody>
          <a:bodyPr anchor="t">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7" name="Text Placeholder 7">
            <a:extLst>
              <a:ext uri="{FF2B5EF4-FFF2-40B4-BE49-F238E27FC236}">
                <a16:creationId xmlns:a16="http://schemas.microsoft.com/office/drawing/2014/main" id="{E3733436-4383-9F44-FE9E-7AB0F97BE752}"/>
              </a:ext>
            </a:extLst>
          </p:cNvPr>
          <p:cNvSpPr>
            <a:spLocks noGrp="1"/>
          </p:cNvSpPr>
          <p:nvPr>
            <p:ph type="body" sz="quarter" idx="10" hasCustomPrompt="1"/>
          </p:nvPr>
        </p:nvSpPr>
        <p:spPr>
          <a:xfrm>
            <a:off x="964557" y="1456893"/>
            <a:ext cx="4213935" cy="7017306"/>
          </a:xfrm>
        </p:spPr>
        <p:txBody>
          <a:bodyPr wrap="square" anchor="ctr" anchorCtr="0">
            <a:spAutoFit/>
          </a:bodyPr>
          <a:lstStyle>
            <a:lvl1pPr marL="0" indent="0" algn="r">
              <a:buNone/>
              <a:defRPr sz="50000" b="1">
                <a:solidFill>
                  <a:schemeClr val="tx2"/>
                </a:solidFill>
                <a:latin typeface="+mj-lt"/>
              </a:defRPr>
            </a:lvl1pPr>
          </a:lstStyle>
          <a:p>
            <a:pPr lvl="0"/>
            <a:r>
              <a:rPr lang="en-US"/>
              <a:t>0</a:t>
            </a:r>
          </a:p>
        </p:txBody>
      </p:sp>
    </p:spTree>
    <p:extLst>
      <p:ext uri="{BB962C8B-B14F-4D97-AF65-F5344CB8AC3E}">
        <p14:creationId xmlns:p14="http://schemas.microsoft.com/office/powerpoint/2010/main" val="26932448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744184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540A5A-3A0E-A01A-4343-9AB09012155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E76357F-314C-4EED-C692-480EF17C56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257D5DD-4862-B0BB-216D-5B91CEA99369}"/>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21A788A3-CC32-4A7D-BDD6-7FAFB3CA20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D7E09EA-6754-EE4F-ED6A-5FDF915365D8}"/>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76567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01">
    <p:spTree>
      <p:nvGrpSpPr>
        <p:cNvPr id="1" name=""/>
        <p:cNvGrpSpPr/>
        <p:nvPr/>
      </p:nvGrpSpPr>
      <p:grpSpPr>
        <a:xfrm>
          <a:off x="0" y="0"/>
          <a:ext cx="0" cy="0"/>
          <a:chOff x="0" y="0"/>
          <a:chExt cx="0" cy="0"/>
        </a:xfrm>
      </p:grpSpPr>
      <p:pic>
        <p:nvPicPr>
          <p:cNvPr id="2" name="MS logo gray - EMF" descr="Microsoft logo, gray text version">
            <a:extLst>
              <a:ext uri="{FF2B5EF4-FFF2-40B4-BE49-F238E27FC236}">
                <a16:creationId xmlns:a16="http://schemas.microsoft.com/office/drawing/2014/main" id="{06C58DD8-E3B4-AB41-0F5B-4E6A327DC0DD}"/>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sp>
        <p:nvSpPr>
          <p:cNvPr id="13" name="Title 1">
            <a:extLst>
              <a:ext uri="{FF2B5EF4-FFF2-40B4-BE49-F238E27FC236}">
                <a16:creationId xmlns:a16="http://schemas.microsoft.com/office/drawing/2014/main" id="{52720A47-D84A-2526-0AE8-1959EB528E58}"/>
              </a:ext>
            </a:extLst>
          </p:cNvPr>
          <p:cNvSpPr>
            <a:spLocks noGrp="1"/>
          </p:cNvSpPr>
          <p:nvPr>
            <p:ph type="title" hasCustomPrompt="1"/>
          </p:nvPr>
        </p:nvSpPr>
        <p:spPr>
          <a:xfrm>
            <a:off x="5094514" y="2589149"/>
            <a:ext cx="6525986" cy="1446550"/>
          </a:xfrm>
          <a:prstGeom prst="rect">
            <a:avLst/>
          </a:prstGeo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1"/>
                </a:solidFill>
                <a:effectLst/>
                <a:latin typeface="Segoe Sans Display" pitchFamily="2" charset="0"/>
                <a:ea typeface="+mn-ea"/>
                <a:cs typeface="Segoe Sans Display" pitchFamily="2" charset="0"/>
              </a:defRPr>
            </a:lvl1pPr>
          </a:lstStyle>
          <a:p>
            <a:r>
              <a:rPr lang="en-US"/>
              <a:t>Event name or presentation title </a:t>
            </a:r>
          </a:p>
        </p:txBody>
      </p:sp>
      <p:sp>
        <p:nvSpPr>
          <p:cNvPr id="14" name="Subtitle 2">
            <a:extLst>
              <a:ext uri="{FF2B5EF4-FFF2-40B4-BE49-F238E27FC236}">
                <a16:creationId xmlns:a16="http://schemas.microsoft.com/office/drawing/2014/main" id="{F05DE4C8-8E68-D573-218A-E5B85D7FD016}"/>
              </a:ext>
            </a:extLst>
          </p:cNvPr>
          <p:cNvSpPr>
            <a:spLocks noGrp="1"/>
          </p:cNvSpPr>
          <p:nvPr>
            <p:ph type="subTitle" idx="1" hasCustomPrompt="1"/>
          </p:nvPr>
        </p:nvSpPr>
        <p:spPr>
          <a:xfrm>
            <a:off x="5094513" y="4220271"/>
            <a:ext cx="6525985" cy="817719"/>
          </a:xfrm>
          <a:prstGeom prst="rect">
            <a:avLst/>
          </a:prstGeom>
        </p:spPr>
        <p:txBody>
          <a:bodyPr>
            <a:noAutofit/>
          </a:bodyPr>
          <a:lstStyle>
            <a:lvl1pPr marL="0" indent="0" algn="l">
              <a:buNone/>
              <a:defRPr sz="2000" b="0" i="0">
                <a:solidFill>
                  <a:schemeClr val="accent5"/>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E77D85F9-50EE-E4F6-10A2-90A73D1D23C9}"/>
              </a:ext>
            </a:extLst>
          </p:cNvPr>
          <p:cNvPicPr>
            <a:picLocks noChangeAspect="1"/>
          </p:cNvPicPr>
          <p:nvPr userDrawn="1"/>
        </p:nvPicPr>
        <p:blipFill rotWithShape="1">
          <a:blip r:embed="rId3"/>
          <a:srcRect l="27070" t="-133" r="20426" b="36090"/>
          <a:stretch/>
        </p:blipFill>
        <p:spPr>
          <a:xfrm>
            <a:off x="1" y="756661"/>
            <a:ext cx="4994910" cy="6101339"/>
          </a:xfrm>
          <a:prstGeom prst="rect">
            <a:avLst/>
          </a:prstGeom>
        </p:spPr>
      </p:pic>
      <p:sp>
        <p:nvSpPr>
          <p:cNvPr id="17" name="Text Box 3" descr="This is a copyright notice that should be included on the final slide.">
            <a:extLst>
              <a:ext uri="{FF2B5EF4-FFF2-40B4-BE49-F238E27FC236}">
                <a16:creationId xmlns:a16="http://schemas.microsoft.com/office/drawing/2014/main" id="{FE5F0080-88AF-D36E-48F6-1BE256490DA3}"/>
              </a:ext>
            </a:extLst>
          </p:cNvPr>
          <p:cNvSpPr txBox="1">
            <a:spLocks noChangeArrowheads="1"/>
          </p:cNvSpPr>
          <p:nvPr userDrawn="1"/>
        </p:nvSpPr>
        <p:spPr bwMode="blackWhite">
          <a:xfrm>
            <a:off x="5094513" y="5222562"/>
            <a:ext cx="2286000"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Segoe Sans Text" panose="020F0502020204030204"/>
                <a:ea typeface="+mn-ea"/>
                <a:cs typeface="Segoe UI" pitchFamily="34" charset="0"/>
              </a:rPr>
              <a:t>© Copyright Microsoft Corporation. All rights reserved. </a:t>
            </a:r>
          </a:p>
        </p:txBody>
      </p:sp>
    </p:spTree>
    <p:extLst>
      <p:ext uri="{BB962C8B-B14F-4D97-AF65-F5344CB8AC3E}">
        <p14:creationId xmlns:p14="http://schemas.microsoft.com/office/powerpoint/2010/main" val="434559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A blue ball with a white circle&#10;&#10;Description automatically generated">
            <a:extLst>
              <a:ext uri="{FF2B5EF4-FFF2-40B4-BE49-F238E27FC236}">
                <a16:creationId xmlns:a16="http://schemas.microsoft.com/office/drawing/2014/main" id="{09E0E99A-B74E-93C1-1D91-D65994C94E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853505" y="500592"/>
            <a:ext cx="733128" cy="746323"/>
          </a:xfrm>
          <a:prstGeom prst="rect">
            <a:avLst/>
          </a:prstGeom>
          <a:effectLst>
            <a:outerShdw blurRad="152400" dist="152400" dir="2700000" algn="tl" rotWithShape="0">
              <a:prstClr val="black">
                <a:alpha val="9000"/>
              </a:prstClr>
            </a:outerShdw>
          </a:effectLst>
        </p:spPr>
      </p:pic>
      <p:pic>
        <p:nvPicPr>
          <p:cNvPr id="18" name="Picture 17" descr="A blue liquid with a black background&#10;&#10;Description automatically generated">
            <a:extLst>
              <a:ext uri="{FF2B5EF4-FFF2-40B4-BE49-F238E27FC236}">
                <a16:creationId xmlns:a16="http://schemas.microsoft.com/office/drawing/2014/main" id="{A9B5F8F6-9A35-6FB8-90EC-AF9ADB948E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0" y="-1"/>
            <a:ext cx="12192000" cy="6858001"/>
          </a:xfrm>
          <a:prstGeom prst="rect">
            <a:avLst/>
          </a:prstGeom>
          <a:effectLst>
            <a:outerShdw blurRad="749300" dist="342900" algn="l" rotWithShape="0">
              <a:srgbClr val="002060">
                <a:alpha val="40000"/>
              </a:srgbClr>
            </a:outerShdw>
          </a:effectLst>
        </p:spPr>
      </p:pic>
      <p:pic>
        <p:nvPicPr>
          <p:cNvPr id="21" name="Picture 20" descr="A blue circle with a black background&#10;&#10;Description automatically generated">
            <a:extLst>
              <a:ext uri="{FF2B5EF4-FFF2-40B4-BE49-F238E27FC236}">
                <a16:creationId xmlns:a16="http://schemas.microsoft.com/office/drawing/2014/main" id="{41A3D7CD-D007-989A-7FE5-9D5664C411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56078" y="3645040"/>
            <a:ext cx="1026937" cy="1059799"/>
          </a:xfrm>
          <a:prstGeom prst="rect">
            <a:avLst/>
          </a:prstGeom>
          <a:effectLst>
            <a:outerShdw blurRad="152400" dist="152400" dir="2700000" algn="tl" rotWithShape="0">
              <a:prstClr val="black">
                <a:alpha val="9000"/>
              </a:prstClr>
            </a:outerShdw>
          </a:effectLst>
        </p:spPr>
      </p:pic>
      <p:pic>
        <p:nvPicPr>
          <p:cNvPr id="22" name="Picture 21" descr="A blue ball with black background&#10;&#10;Description automatically generated">
            <a:extLst>
              <a:ext uri="{FF2B5EF4-FFF2-40B4-BE49-F238E27FC236}">
                <a16:creationId xmlns:a16="http://schemas.microsoft.com/office/drawing/2014/main" id="{1A97CED5-F208-BC57-3A68-B7CC50B84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91372" y="4178311"/>
            <a:ext cx="623654" cy="623654"/>
          </a:xfrm>
          <a:prstGeom prst="rect">
            <a:avLst/>
          </a:prstGeom>
          <a:effectLst>
            <a:outerShdw blurRad="152400" dist="152400" dir="2700000" algn="tl" rotWithShape="0">
              <a:prstClr val="black">
                <a:alpha val="9000"/>
              </a:prstClr>
            </a:outerShdw>
          </a:effectLst>
        </p:spPr>
      </p:pic>
      <p:pic>
        <p:nvPicPr>
          <p:cNvPr id="24" name="Picture 23" descr="A blue liquid with a black background&#10;&#10;Description automatically generated">
            <a:extLst>
              <a:ext uri="{FF2B5EF4-FFF2-40B4-BE49-F238E27FC236}">
                <a16:creationId xmlns:a16="http://schemas.microsoft.com/office/drawing/2014/main" id="{5890BF38-A603-15F1-3991-A72D27DC1F04}"/>
              </a:ext>
            </a:extLst>
          </p:cNvPr>
          <p:cNvPicPr>
            <a:picLocks noChangeAspect="1"/>
          </p:cNvPicPr>
          <p:nvPr userDrawn="1"/>
        </p:nvPicPr>
        <p:blipFill>
          <a:blip r:embed="rId4">
            <a:extLst>
              <a:ext uri="{28A0092B-C50C-407E-A947-70E740481C1C}">
                <a14:useLocalDpi xmlns:a14="http://schemas.microsoft.com/office/drawing/2010/main" val="0"/>
              </a:ext>
            </a:extLst>
          </a:blip>
          <a:srcRect l="66352" t="47496" r="14653" b="27129"/>
          <a:stretch>
            <a:fillRect/>
          </a:stretch>
        </p:blipFill>
        <p:spPr>
          <a:xfrm>
            <a:off x="8089679" y="3257246"/>
            <a:ext cx="2315843" cy="1740221"/>
          </a:xfrm>
          <a:custGeom>
            <a:avLst/>
            <a:gdLst>
              <a:gd name="connsiteX0" fmla="*/ 3017480 w 3473765"/>
              <a:gd name="connsiteY0" fmla="*/ 328 h 2610331"/>
              <a:gd name="connsiteX1" fmla="*/ 3457909 w 3473765"/>
              <a:gd name="connsiteY1" fmla="*/ 124282 h 2610331"/>
              <a:gd name="connsiteX2" fmla="*/ 2619709 w 3473765"/>
              <a:gd name="connsiteY2" fmla="*/ 1505407 h 2610331"/>
              <a:gd name="connsiteX3" fmla="*/ 1476709 w 3473765"/>
              <a:gd name="connsiteY3" fmla="*/ 2610307 h 2610331"/>
              <a:gd name="connsiteX4" fmla="*/ 9859 w 3473765"/>
              <a:gd name="connsiteY4" fmla="*/ 1533982 h 2610331"/>
              <a:gd name="connsiteX5" fmla="*/ 886159 w 3473765"/>
              <a:gd name="connsiteY5" fmla="*/ 324307 h 2610331"/>
              <a:gd name="connsiteX6" fmla="*/ 1876759 w 3473765"/>
              <a:gd name="connsiteY6" fmla="*/ 86182 h 2610331"/>
              <a:gd name="connsiteX7" fmla="*/ 3017480 w 3473765"/>
              <a:gd name="connsiteY7" fmla="*/ 328 h 261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3765" h="2610331">
                <a:moveTo>
                  <a:pt x="3017480" y="328"/>
                </a:moveTo>
                <a:cubicBezTo>
                  <a:pt x="3238462" y="3806"/>
                  <a:pt x="3411475" y="35581"/>
                  <a:pt x="3457909" y="124282"/>
                </a:cubicBezTo>
                <a:cubicBezTo>
                  <a:pt x="3581734" y="360819"/>
                  <a:pt x="2949909" y="1091070"/>
                  <a:pt x="2619709" y="1505407"/>
                </a:cubicBezTo>
                <a:cubicBezTo>
                  <a:pt x="2289509" y="1919744"/>
                  <a:pt x="1911684" y="2605545"/>
                  <a:pt x="1476709" y="2610307"/>
                </a:cubicBezTo>
                <a:cubicBezTo>
                  <a:pt x="1041734" y="2615070"/>
                  <a:pt x="108284" y="1914982"/>
                  <a:pt x="9859" y="1533982"/>
                </a:cubicBezTo>
                <a:cubicBezTo>
                  <a:pt x="-88566" y="1152982"/>
                  <a:pt x="575009" y="565607"/>
                  <a:pt x="886159" y="324307"/>
                </a:cubicBezTo>
                <a:cubicBezTo>
                  <a:pt x="1197309" y="83007"/>
                  <a:pt x="1443372" y="116344"/>
                  <a:pt x="1876759" y="86182"/>
                </a:cubicBezTo>
                <a:cubicBezTo>
                  <a:pt x="2147626" y="67331"/>
                  <a:pt x="2649177" y="-5470"/>
                  <a:pt x="3017480" y="328"/>
                </a:cubicBezTo>
                <a:close/>
              </a:path>
            </a:pathLst>
          </a:custGeom>
        </p:spPr>
      </p:pic>
    </p:spTree>
    <p:extLst>
      <p:ext uri="{BB962C8B-B14F-4D97-AF65-F5344CB8AC3E}">
        <p14:creationId xmlns:p14="http://schemas.microsoft.com/office/powerpoint/2010/main" val="335415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A blue liquid in a black background&#10;&#10;Description automatically generated">
            <a:extLst>
              <a:ext uri="{FF2B5EF4-FFF2-40B4-BE49-F238E27FC236}">
                <a16:creationId xmlns:a16="http://schemas.microsoft.com/office/drawing/2014/main" id="{B24AFF41-E7E2-7FEF-C074-2B1BFFB28B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14179" r="-87" b="9740"/>
          <a:stretch/>
        </p:blipFill>
        <p:spPr>
          <a:xfrm>
            <a:off x="0" y="1277935"/>
            <a:ext cx="12192000" cy="5580065"/>
          </a:xfrm>
          <a:prstGeom prst="rect">
            <a:avLst/>
          </a:prstGeom>
        </p:spPr>
      </p:pic>
      <p:grpSp>
        <p:nvGrpSpPr>
          <p:cNvPr id="4" name="Group 3">
            <a:extLst>
              <a:ext uri="{FF2B5EF4-FFF2-40B4-BE49-F238E27FC236}">
                <a16:creationId xmlns:a16="http://schemas.microsoft.com/office/drawing/2014/main" id="{D6E27DBF-4D66-0812-8656-8E11BC6517A5}"/>
              </a:ext>
            </a:extLst>
          </p:cNvPr>
          <p:cNvGrpSpPr/>
          <p:nvPr userDrawn="1"/>
        </p:nvGrpSpPr>
        <p:grpSpPr>
          <a:xfrm>
            <a:off x="1053663" y="2238071"/>
            <a:ext cx="5518070" cy="2735781"/>
            <a:chOff x="1274102" y="2093144"/>
            <a:chExt cx="14236072" cy="7315952"/>
          </a:xfrm>
        </p:grpSpPr>
        <p:sp useBgFill="1">
          <p:nvSpPr>
            <p:cNvPr id="5" name="Rectangle: Rounded Corners 4">
              <a:extLst>
                <a:ext uri="{FF2B5EF4-FFF2-40B4-BE49-F238E27FC236}">
                  <a16:creationId xmlns:a16="http://schemas.microsoft.com/office/drawing/2014/main" id="{7D2B8CBE-216C-095C-01C9-0F175705571B}"/>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07C29968-1C37-A016-4E5D-FD70563FBBB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oval object with a black background&#10;&#10;Description automatically generated">
            <a:extLst>
              <a:ext uri="{FF2B5EF4-FFF2-40B4-BE49-F238E27FC236}">
                <a16:creationId xmlns:a16="http://schemas.microsoft.com/office/drawing/2014/main" id="{90FE050B-1498-49DB-1328-822812D2AF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40554">
            <a:off x="1142502" y="1886624"/>
            <a:ext cx="863690" cy="690089"/>
          </a:xfrm>
          <a:prstGeom prst="rect">
            <a:avLst/>
          </a:prstGeom>
          <a:effectLst>
            <a:outerShdw blurRad="254000" dist="203200" dir="7200000" algn="tl" rotWithShape="0">
              <a:prstClr val="black">
                <a:alpha val="14000"/>
              </a:prstClr>
            </a:outerShdw>
          </a:effectLst>
        </p:spPr>
      </p:pic>
      <p:sp>
        <p:nvSpPr>
          <p:cNvPr id="8" name="Oval 7">
            <a:extLst>
              <a:ext uri="{FF2B5EF4-FFF2-40B4-BE49-F238E27FC236}">
                <a16:creationId xmlns:a16="http://schemas.microsoft.com/office/drawing/2014/main" id="{3CF55DF8-54BF-F059-D633-C74CB4550D39}"/>
              </a:ext>
            </a:extLst>
          </p:cNvPr>
          <p:cNvSpPr>
            <a:spLocks/>
          </p:cNvSpPr>
          <p:nvPr userDrawn="1"/>
        </p:nvSpPr>
        <p:spPr bwMode="auto">
          <a:xfrm>
            <a:off x="6956685" y="1631856"/>
            <a:ext cx="3947063" cy="3948209"/>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0537AEAF-49E8-EA56-1108-40FBE75D97B8}"/>
              </a:ext>
            </a:extLst>
          </p:cNvPr>
          <p:cNvSpPr/>
          <p:nvPr userDrawn="1"/>
        </p:nvSpPr>
        <p:spPr>
          <a:xfrm>
            <a:off x="7164941" y="1838816"/>
            <a:ext cx="3530552" cy="3534289"/>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pic>
        <p:nvPicPr>
          <p:cNvPr id="11" name="Picture 10" descr="A blue ball with a white circle&#10;&#10;Description automatically generated">
            <a:extLst>
              <a:ext uri="{FF2B5EF4-FFF2-40B4-BE49-F238E27FC236}">
                <a16:creationId xmlns:a16="http://schemas.microsoft.com/office/drawing/2014/main" id="{9C575A28-101F-3775-1083-C2A0FBDBAF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20656" y="4349895"/>
            <a:ext cx="684812" cy="697137"/>
          </a:xfrm>
          <a:prstGeom prst="rect">
            <a:avLst/>
          </a:prstGeom>
          <a:effectLst>
            <a:outerShdw blurRad="152400" dist="152400" dir="2700000" algn="tl" rotWithShape="0">
              <a:prstClr val="black">
                <a:alpha val="9000"/>
              </a:prstClr>
            </a:outerShdw>
          </a:effectLst>
        </p:spPr>
      </p:pic>
      <p:pic>
        <p:nvPicPr>
          <p:cNvPr id="12" name="Picture 11">
            <a:extLst>
              <a:ext uri="{FF2B5EF4-FFF2-40B4-BE49-F238E27FC236}">
                <a16:creationId xmlns:a16="http://schemas.microsoft.com/office/drawing/2014/main" id="{3D063F0D-7EEE-5ABD-2838-2D47B802E8C3}"/>
              </a:ext>
            </a:extLst>
          </p:cNvPr>
          <p:cNvPicPr>
            <a:picLocks noChangeAspect="1"/>
          </p:cNvPicPr>
          <p:nvPr userDrawn="1"/>
        </p:nvPicPr>
        <p:blipFill>
          <a:blip r:embed="rId5">
            <a:alphaModFix amt="24000"/>
            <a:extLst>
              <a:ext uri="{BEBA8EAE-BF5A-486C-A8C5-ECC9F3942E4B}">
                <a14:imgProps xmlns:a14="http://schemas.microsoft.com/office/drawing/2010/main">
                  <a14:imgLayer r:embed="rId6">
                    <a14:imgEffect>
                      <a14:artisticBlur radius="60"/>
                    </a14:imgEffect>
                  </a14:imgLayer>
                </a14:imgProps>
              </a:ext>
            </a:extLst>
          </a:blip>
          <a:stretch>
            <a:fillRect/>
          </a:stretch>
        </p:blipFill>
        <p:spPr>
          <a:xfrm>
            <a:off x="1053002" y="2238306"/>
            <a:ext cx="5519391" cy="2735309"/>
          </a:xfrm>
          <a:prstGeom prst="rect">
            <a:avLst/>
          </a:prstGeom>
        </p:spPr>
      </p:pic>
      <p:sp>
        <p:nvSpPr>
          <p:cNvPr id="20" name="Title 19">
            <a:extLst>
              <a:ext uri="{FF2B5EF4-FFF2-40B4-BE49-F238E27FC236}">
                <a16:creationId xmlns:a16="http://schemas.microsoft.com/office/drawing/2014/main" id="{B581CB8F-F857-D793-20E4-41E22D41DF4F}"/>
              </a:ext>
            </a:extLst>
          </p:cNvPr>
          <p:cNvSpPr>
            <a:spLocks noGrp="1"/>
          </p:cNvSpPr>
          <p:nvPr>
            <p:ph type="title" hasCustomPrompt="1"/>
          </p:nvPr>
        </p:nvSpPr>
        <p:spPr>
          <a:xfrm>
            <a:off x="1402051" y="2535953"/>
            <a:ext cx="4871027" cy="1177569"/>
          </a:xfrm>
        </p:spPr>
        <p:txBody>
          <a:bodyPr anchor="b">
            <a:normAutofit/>
          </a:bodyPr>
          <a:lstStyle>
            <a:lvl1pPr>
              <a:defRPr sz="4000"/>
            </a:lvl1pPr>
          </a:lstStyle>
          <a:p>
            <a:r>
              <a:rPr lang="en-US"/>
              <a:t>Insert speaker name</a:t>
            </a:r>
            <a:endParaRPr lang="en-GB"/>
          </a:p>
        </p:txBody>
      </p:sp>
      <p:grpSp>
        <p:nvGrpSpPr>
          <p:cNvPr id="15" name="Group 14">
            <a:extLst>
              <a:ext uri="{FF2B5EF4-FFF2-40B4-BE49-F238E27FC236}">
                <a16:creationId xmlns:a16="http://schemas.microsoft.com/office/drawing/2014/main" id="{2E11872F-7E65-89B0-3072-6736ABC002BC}"/>
              </a:ext>
            </a:extLst>
          </p:cNvPr>
          <p:cNvGrpSpPr/>
          <p:nvPr userDrawn="1"/>
        </p:nvGrpSpPr>
        <p:grpSpPr>
          <a:xfrm>
            <a:off x="407459" y="353686"/>
            <a:ext cx="1498506" cy="192755"/>
            <a:chOff x="611188" y="9429750"/>
            <a:chExt cx="3412172" cy="438912"/>
          </a:xfrm>
        </p:grpSpPr>
        <p:pic>
          <p:nvPicPr>
            <p:cNvPr id="16" name="Graphic 15">
              <a:extLst>
                <a:ext uri="{FF2B5EF4-FFF2-40B4-BE49-F238E27FC236}">
                  <a16:creationId xmlns:a16="http://schemas.microsoft.com/office/drawing/2014/main" id="{116AC854-5D4B-9B42-BD9A-D37AF6FD1A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94240" y="9463695"/>
              <a:ext cx="929120" cy="371022"/>
            </a:xfrm>
            <a:prstGeom prst="rect">
              <a:avLst/>
            </a:prstGeom>
          </p:spPr>
        </p:pic>
        <p:pic>
          <p:nvPicPr>
            <p:cNvPr id="17" name="MS logo gray - EMF" descr="Microsoft logo, gray text version">
              <a:extLst>
                <a:ext uri="{FF2B5EF4-FFF2-40B4-BE49-F238E27FC236}">
                  <a16:creationId xmlns:a16="http://schemas.microsoft.com/office/drawing/2014/main" id="{B97551DC-F750-DF81-38FC-7D83B174FF4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
        <p:nvSpPr>
          <p:cNvPr id="19" name="Picture Placeholder 18">
            <a:extLst>
              <a:ext uri="{FF2B5EF4-FFF2-40B4-BE49-F238E27FC236}">
                <a16:creationId xmlns:a16="http://schemas.microsoft.com/office/drawing/2014/main" id="{25A280F4-4B0D-801E-C177-641106F868DF}"/>
              </a:ext>
            </a:extLst>
          </p:cNvPr>
          <p:cNvSpPr>
            <a:spLocks noGrp="1"/>
          </p:cNvSpPr>
          <p:nvPr>
            <p:ph type="pic" sz="quarter" idx="10"/>
          </p:nvPr>
        </p:nvSpPr>
        <p:spPr>
          <a:xfrm>
            <a:off x="7294488" y="1968500"/>
            <a:ext cx="3271457" cy="3274920"/>
          </a:xfrm>
          <a:prstGeom prst="ellipse">
            <a:avLst/>
          </a:prstGeom>
        </p:spPr>
        <p:txBody>
          <a:bodyPr anchor="ctr"/>
          <a:lstStyle>
            <a:lvl1pPr marL="0" indent="0" algn="ctr">
              <a:buNone/>
              <a:defRPr/>
            </a:lvl1pPr>
          </a:lstStyle>
          <a:p>
            <a:r>
              <a:rPr lang="en-US"/>
              <a:t>Click icon to add picture</a:t>
            </a:r>
            <a:endParaRPr lang="en-GB"/>
          </a:p>
        </p:txBody>
      </p:sp>
      <p:sp>
        <p:nvSpPr>
          <p:cNvPr id="10" name="Text Placeholder 9">
            <a:extLst>
              <a:ext uri="{FF2B5EF4-FFF2-40B4-BE49-F238E27FC236}">
                <a16:creationId xmlns:a16="http://schemas.microsoft.com/office/drawing/2014/main" id="{D2904070-BDAC-03D5-B10D-4A8688FEA602}"/>
              </a:ext>
            </a:extLst>
          </p:cNvPr>
          <p:cNvSpPr>
            <a:spLocks noGrp="1"/>
          </p:cNvSpPr>
          <p:nvPr>
            <p:ph type="body" sz="quarter" idx="11" hasCustomPrompt="1"/>
          </p:nvPr>
        </p:nvSpPr>
        <p:spPr>
          <a:xfrm>
            <a:off x="1402051" y="3854450"/>
            <a:ext cx="4905616" cy="894292"/>
          </a:xfrm>
          <a:prstGeom prst="rect">
            <a:avLst/>
          </a:prstGeom>
        </p:spPr>
        <p:txBody>
          <a:bodyPr/>
          <a:lstStyle>
            <a:lvl1pPr marL="0" indent="0">
              <a:buNone/>
              <a:defRPr sz="2933">
                <a:latin typeface="+mj-lt"/>
              </a:defRPr>
            </a:lvl1pPr>
            <a:lvl2pPr>
              <a:defRPr sz="1333"/>
            </a:lvl2pPr>
            <a:lvl3pPr>
              <a:defRPr sz="800"/>
            </a:lvl3pPr>
            <a:lvl4pPr>
              <a:defRPr sz="733"/>
            </a:lvl4pPr>
            <a:lvl5pPr>
              <a:defRPr sz="733"/>
            </a:lvl5pPr>
          </a:lstStyle>
          <a:p>
            <a:pPr lvl="0"/>
            <a:r>
              <a:rPr lang="en-US"/>
              <a:t>Insert speaker title</a:t>
            </a:r>
          </a:p>
        </p:txBody>
      </p:sp>
    </p:spTree>
    <p:extLst>
      <p:ext uri="{BB962C8B-B14F-4D97-AF65-F5344CB8AC3E}">
        <p14:creationId xmlns:p14="http://schemas.microsoft.com/office/powerpoint/2010/main" val="362583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 Speaker Headshot">
    <p:spTree>
      <p:nvGrpSpPr>
        <p:cNvPr id="1" name=""/>
        <p:cNvGrpSpPr/>
        <p:nvPr/>
      </p:nvGrpSpPr>
      <p:grpSpPr>
        <a:xfrm>
          <a:off x="0" y="0"/>
          <a:ext cx="0" cy="0"/>
          <a:chOff x="0" y="0"/>
          <a:chExt cx="0" cy="0"/>
        </a:xfrm>
      </p:grpSpPr>
      <p:pic>
        <p:nvPicPr>
          <p:cNvPr id="2" name="Picture 1" descr="A blue liquid with a black background&#10;&#10;Description automatically generated">
            <a:extLst>
              <a:ext uri="{FF2B5EF4-FFF2-40B4-BE49-F238E27FC236}">
                <a16:creationId xmlns:a16="http://schemas.microsoft.com/office/drawing/2014/main" id="{C7A3C197-94B5-C6BA-49E4-7DDF88ECCF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382" r="-42135" b="30247"/>
          <a:stretch/>
        </p:blipFill>
        <p:spPr>
          <a:xfrm>
            <a:off x="0" y="0"/>
            <a:ext cx="12192000" cy="6858001"/>
          </a:xfrm>
          <a:prstGeom prst="rect">
            <a:avLst/>
          </a:prstGeom>
          <a:effectLst>
            <a:outerShdw blurRad="749300" dist="342900" algn="l" rotWithShape="0">
              <a:srgbClr val="002060">
                <a:alpha val="40000"/>
              </a:srgbClr>
            </a:outerShdw>
          </a:effectLst>
        </p:spPr>
      </p:pic>
      <p:sp>
        <p:nvSpPr>
          <p:cNvPr id="3" name="Text Placeholder 5">
            <a:extLst>
              <a:ext uri="{FF2B5EF4-FFF2-40B4-BE49-F238E27FC236}">
                <a16:creationId xmlns:a16="http://schemas.microsoft.com/office/drawing/2014/main" id="{CD4271FD-C0F3-CE00-BA34-874169364D59}"/>
              </a:ext>
            </a:extLst>
          </p:cNvPr>
          <p:cNvSpPr>
            <a:spLocks noGrp="1"/>
          </p:cNvSpPr>
          <p:nvPr>
            <p:ph type="body" sz="quarter" idx="10" hasCustomPrompt="1"/>
          </p:nvPr>
        </p:nvSpPr>
        <p:spPr>
          <a:xfrm>
            <a:off x="4221754" y="3224769"/>
            <a:ext cx="7587092" cy="738664"/>
          </a:xfrm>
          <a:prstGeom prst="rect">
            <a:avLst/>
          </a:prstGeom>
          <a:effectLst>
            <a:outerShdw blurRad="660400" sx="102000" sy="102000" algn="ctr" rotWithShape="0">
              <a:schemeClr val="bg1">
                <a:alpha val="18000"/>
              </a:schemeClr>
            </a:outerShdw>
          </a:effectLst>
        </p:spPr>
        <p:txBody>
          <a:bodyPr vert="horz" wrap="square" lIns="0" tIns="0" rIns="0" bIns="0" rtlCol="0" anchor="ctr">
            <a:spAutoFit/>
          </a:bodyPr>
          <a:lstStyle>
            <a:lvl1pPr algn="l">
              <a:defRPr lang="en-US" sz="48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add title</a:t>
            </a:r>
          </a:p>
        </p:txBody>
      </p:sp>
      <p:grpSp>
        <p:nvGrpSpPr>
          <p:cNvPr id="8" name="Group 7">
            <a:extLst>
              <a:ext uri="{FF2B5EF4-FFF2-40B4-BE49-F238E27FC236}">
                <a16:creationId xmlns:a16="http://schemas.microsoft.com/office/drawing/2014/main" id="{AD20D49A-F1DD-23B8-88A4-A1A67C959CFC}"/>
              </a:ext>
            </a:extLst>
          </p:cNvPr>
          <p:cNvGrpSpPr>
            <a:grpSpLocks/>
          </p:cNvGrpSpPr>
          <p:nvPr userDrawn="1"/>
        </p:nvGrpSpPr>
        <p:grpSpPr>
          <a:xfrm>
            <a:off x="1247704" y="2179316"/>
            <a:ext cx="2793200" cy="2829570"/>
            <a:chOff x="10435028" y="2447784"/>
            <a:chExt cx="5920594" cy="5922314"/>
          </a:xfrm>
        </p:grpSpPr>
        <p:sp>
          <p:nvSpPr>
            <p:cNvPr id="6" name="Oval 5">
              <a:extLst>
                <a:ext uri="{FF2B5EF4-FFF2-40B4-BE49-F238E27FC236}">
                  <a16:creationId xmlns:a16="http://schemas.microsoft.com/office/drawing/2014/main" id="{90BFB297-31F7-C783-4492-93FC84CF6ABC}"/>
                </a:ext>
              </a:extLst>
            </p:cNvPr>
            <p:cNvSpPr>
              <a:spLocks/>
            </p:cNvSpPr>
            <p:nvPr userDrawn="1"/>
          </p:nvSpPr>
          <p:spPr bwMode="auto">
            <a:xfrm>
              <a:off x="10435028" y="2447784"/>
              <a:ext cx="5920594" cy="5922314"/>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1A20F842-66BB-1634-7672-48337A137E6C}"/>
                </a:ext>
              </a:extLst>
            </p:cNvPr>
            <p:cNvSpPr/>
            <p:nvPr userDrawn="1"/>
          </p:nvSpPr>
          <p:spPr>
            <a:xfrm>
              <a:off x="10747411" y="2758223"/>
              <a:ext cx="5295828" cy="5301434"/>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47" name="Picture Placeholder 7">
            <a:extLst>
              <a:ext uri="{FF2B5EF4-FFF2-40B4-BE49-F238E27FC236}">
                <a16:creationId xmlns:a16="http://schemas.microsoft.com/office/drawing/2014/main" id="{C52F8963-6CF6-DF8A-A881-275CA63CD44B}"/>
              </a:ext>
            </a:extLst>
          </p:cNvPr>
          <p:cNvSpPr>
            <a:spLocks noGrp="1"/>
          </p:cNvSpPr>
          <p:nvPr>
            <p:ph type="pic" sz="quarter" idx="11"/>
          </p:nvPr>
        </p:nvSpPr>
        <p:spPr>
          <a:xfrm>
            <a:off x="1488768" y="2423839"/>
            <a:ext cx="2311072" cy="2340525"/>
          </a:xfrm>
          <a:prstGeom prst="ellipse">
            <a:avLst/>
          </a:prstGeom>
        </p:spPr>
        <p:txBody>
          <a:bodyPr anchor="ctr"/>
          <a:lstStyle>
            <a:lvl1pPr marL="0" indent="0" algn="ctr">
              <a:buNone/>
              <a:defRPr sz="1400">
                <a:solidFill>
                  <a:schemeClr val="tx1"/>
                </a:solidFill>
              </a:defRPr>
            </a:lvl1pPr>
          </a:lstStyle>
          <a:p>
            <a:r>
              <a:rPr lang="en-US"/>
              <a:t>Click icon to add picture</a:t>
            </a:r>
            <a:endParaRPr lang="en-GB"/>
          </a:p>
        </p:txBody>
      </p:sp>
      <p:grpSp>
        <p:nvGrpSpPr>
          <p:cNvPr id="14" name="Group 13">
            <a:extLst>
              <a:ext uri="{FF2B5EF4-FFF2-40B4-BE49-F238E27FC236}">
                <a16:creationId xmlns:a16="http://schemas.microsoft.com/office/drawing/2014/main" id="{A61CD32D-8D27-5FB2-43AC-3886D001F124}"/>
              </a:ext>
            </a:extLst>
          </p:cNvPr>
          <p:cNvGrpSpPr/>
          <p:nvPr userDrawn="1"/>
        </p:nvGrpSpPr>
        <p:grpSpPr>
          <a:xfrm>
            <a:off x="10310340" y="353686"/>
            <a:ext cx="1498506" cy="192755"/>
            <a:chOff x="611188" y="9429750"/>
            <a:chExt cx="3412172" cy="438912"/>
          </a:xfrm>
        </p:grpSpPr>
        <p:pic>
          <p:nvPicPr>
            <p:cNvPr id="15" name="Graphic 14">
              <a:extLst>
                <a:ext uri="{FF2B5EF4-FFF2-40B4-BE49-F238E27FC236}">
                  <a16:creationId xmlns:a16="http://schemas.microsoft.com/office/drawing/2014/main" id="{AF44DBC9-BA0D-CC11-7AAD-32F9B1E765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6" name="MS logo gray - EMF" descr="Microsoft logo, gray text version">
              <a:extLst>
                <a:ext uri="{FF2B5EF4-FFF2-40B4-BE49-F238E27FC236}">
                  <a16:creationId xmlns:a16="http://schemas.microsoft.com/office/drawing/2014/main" id="{23058694-9F11-BD5A-97D3-D5F60950E4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01936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26">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927142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4">
            <a:extLst>
              <a:ext uri="{FF2B5EF4-FFF2-40B4-BE49-F238E27FC236}">
                <a16:creationId xmlns:a16="http://schemas.microsoft.com/office/drawing/2014/main" id="{659D73DB-0987-776C-0E58-79C0612209F5}"/>
              </a:ext>
            </a:extLst>
          </p:cNvPr>
          <p:cNvSpPr>
            <a:spLocks noGrp="1"/>
          </p:cNvSpPr>
          <p:nvPr>
            <p:ph type="body" sz="quarter" idx="10" hasCustomPrompt="1"/>
          </p:nvPr>
        </p:nvSpPr>
        <p:spPr>
          <a:xfrm>
            <a:off x="387352" y="1233488"/>
            <a:ext cx="11420475" cy="4998720"/>
          </a:xfrm>
          <a:prstGeom prst="rect">
            <a:avLst/>
          </a:prstGeom>
        </p:spPr>
        <p:txBody>
          <a:bodyPr/>
          <a:lstStyle>
            <a:lvl1pPr marL="0" indent="0">
              <a:buNone/>
              <a:defRPr sz="2800">
                <a:solidFill>
                  <a:srgbClr val="2A446F"/>
                </a:solidFill>
                <a:latin typeface="+mj-lt"/>
              </a:defRPr>
            </a:lvl1pPr>
            <a:lvl2pPr marL="365778" indent="0">
              <a:buNone/>
              <a:defRPr sz="2000">
                <a:solidFill>
                  <a:srgbClr val="2A446F"/>
                </a:solidFill>
              </a:defRPr>
            </a:lvl2pPr>
            <a:lvl3pPr marL="731557" indent="0">
              <a:buNone/>
              <a:defRPr sz="1400">
                <a:solidFill>
                  <a:srgbClr val="2A446F"/>
                </a:solidFill>
              </a:defRPr>
            </a:lvl3pPr>
            <a:lvl4pPr marL="1059234" indent="0">
              <a:buNone/>
              <a:defRPr>
                <a:solidFill>
                  <a:schemeClr val="bg1"/>
                </a:solidFill>
              </a:defRPr>
            </a:lvl4pPr>
            <a:lvl5pPr>
              <a:defRPr>
                <a:solidFill>
                  <a:schemeClr val="bg1"/>
                </a:solidFill>
              </a:defRPr>
            </a:lvl5pPr>
          </a:lstStyle>
          <a:p>
            <a:pPr lvl="0"/>
            <a:r>
              <a:rPr lang="en-US"/>
              <a:t>Segoe UI </a:t>
            </a:r>
            <a:r>
              <a:rPr lang="en-US" err="1"/>
              <a:t>Semibold</a:t>
            </a:r>
            <a:r>
              <a:rPr lang="en-US"/>
              <a:t>, size 28pt for first level</a:t>
            </a:r>
          </a:p>
          <a:p>
            <a:pPr lvl="1"/>
            <a:r>
              <a:rPr lang="en-US"/>
              <a:t>Segoe UI, size 20pt for second level</a:t>
            </a:r>
          </a:p>
          <a:p>
            <a:pPr lvl="2"/>
            <a:r>
              <a:rPr lang="en-US"/>
              <a:t>Segoe UI, size 14pt for third level</a:t>
            </a:r>
          </a:p>
        </p:txBody>
      </p:sp>
      <p:grpSp>
        <p:nvGrpSpPr>
          <p:cNvPr id="4" name="Group 3">
            <a:extLst>
              <a:ext uri="{FF2B5EF4-FFF2-40B4-BE49-F238E27FC236}">
                <a16:creationId xmlns:a16="http://schemas.microsoft.com/office/drawing/2014/main" id="{B88F3A13-3AB4-BC42-C438-8838D29EC249}"/>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7384432A-17BA-753C-6E73-D7AAD8F16A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68034984-B051-4E25-1DA1-76839E14C7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18872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919191"/>
          </p15:clr>
        </p15:guide>
        <p15:guide id="15" pos="3081">
          <p15:clr>
            <a:srgbClr val="919191"/>
          </p15:clr>
        </p15:guide>
        <p15:guide id="16" pos="5717">
          <p15:clr>
            <a:srgbClr val="919191"/>
          </p15:clr>
        </p15:guide>
        <p15:guide id="17" pos="5802">
          <p15:clr>
            <a:srgbClr val="919191"/>
          </p15:clr>
        </p15:guide>
        <p15:guide id="18" pos="8438">
          <p15:clr>
            <a:srgbClr val="919191"/>
          </p15:clr>
        </p15:guide>
        <p15:guide id="19" pos="8522">
          <p15:clr>
            <a:srgbClr val="919191"/>
          </p15:clr>
        </p15:guide>
        <p15:guide id="20" orient="horz" pos="1166">
          <p15:clr>
            <a:srgbClr val="919191"/>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4"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4221757" y="2404160"/>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8059570" y="2404160"/>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4"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4221756"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8061140" y="3655378"/>
            <a:ext cx="3746925"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5" name="Title 4">
            <a:extLst>
              <a:ext uri="{FF2B5EF4-FFF2-40B4-BE49-F238E27FC236}">
                <a16:creationId xmlns:a16="http://schemas.microsoft.com/office/drawing/2014/main" id="{A5BFDDAA-6C39-6546-0458-729532BE63BC}"/>
              </a:ext>
            </a:extLst>
          </p:cNvPr>
          <p:cNvSpPr>
            <a:spLocks noGrp="1"/>
          </p:cNvSpPr>
          <p:nvPr>
            <p:ph type="title"/>
          </p:nvPr>
        </p:nvSpPr>
        <p:spPr/>
        <p:txBody>
          <a:bodyPr/>
          <a:lstStyle/>
          <a:p>
            <a:r>
              <a:rPr lang="en-US"/>
              <a:t>Click to edit Master title style</a:t>
            </a:r>
            <a:endParaRPr lang="en-GB"/>
          </a:p>
        </p:txBody>
      </p:sp>
      <p:grpSp>
        <p:nvGrpSpPr>
          <p:cNvPr id="2" name="Group 1">
            <a:extLst>
              <a:ext uri="{FF2B5EF4-FFF2-40B4-BE49-F238E27FC236}">
                <a16:creationId xmlns:a16="http://schemas.microsoft.com/office/drawing/2014/main" id="{71023F27-C632-2B35-90D7-D363958D34AE}"/>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FDB08B-79F4-F83F-A40E-A2E53D1F9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98627BD2-CC66-1AD5-86F0-71843EB880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29749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0" pos="2997">
          <p15:clr>
            <a:srgbClr val="FBAE40"/>
          </p15:clr>
        </p15:guide>
        <p15:guide id="11" pos="3081">
          <p15:clr>
            <a:srgbClr val="FBAE40"/>
          </p15:clr>
        </p15:guide>
        <p15:guide id="12" pos="5717">
          <p15:clr>
            <a:srgbClr val="FBAE40"/>
          </p15:clr>
        </p15:guide>
        <p15:guide id="13" pos="5802">
          <p15:clr>
            <a:srgbClr val="FBAE40"/>
          </p15:clr>
        </p15:guide>
        <p15:guide id="14" pos="8448">
          <p15:clr>
            <a:srgbClr val="FBAE40"/>
          </p15:clr>
        </p15:guide>
        <p15:guide id="15" pos="852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3" name="Text Placeholder 3">
            <a:extLst>
              <a:ext uri="{FF2B5EF4-FFF2-40B4-BE49-F238E27FC236}">
                <a16:creationId xmlns:a16="http://schemas.microsoft.com/office/drawing/2014/main" id="{2EF5B4F6-A512-8F2B-66B1-357BC6C9CBEF}"/>
              </a:ext>
            </a:extLst>
          </p:cNvPr>
          <p:cNvSpPr>
            <a:spLocks noGrp="1"/>
          </p:cNvSpPr>
          <p:nvPr>
            <p:ph type="body" sz="quarter" idx="10" hasCustomPrompt="1"/>
          </p:nvPr>
        </p:nvSpPr>
        <p:spPr>
          <a:xfrm>
            <a:off x="382372"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6" name="Text Placeholder 3">
            <a:extLst>
              <a:ext uri="{FF2B5EF4-FFF2-40B4-BE49-F238E27FC236}">
                <a16:creationId xmlns:a16="http://schemas.microsoft.com/office/drawing/2014/main" id="{DFDD0F4E-581A-9625-EAA5-09FD04AF09EE}"/>
              </a:ext>
            </a:extLst>
          </p:cNvPr>
          <p:cNvSpPr>
            <a:spLocks noGrp="1"/>
          </p:cNvSpPr>
          <p:nvPr>
            <p:ph type="body" sz="quarter" idx="11" hasCustomPrompt="1"/>
          </p:nvPr>
        </p:nvSpPr>
        <p:spPr>
          <a:xfrm>
            <a:off x="3266486" y="2404160"/>
            <a:ext cx="2770624"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7" name="Text Placeholder 3">
            <a:extLst>
              <a:ext uri="{FF2B5EF4-FFF2-40B4-BE49-F238E27FC236}">
                <a16:creationId xmlns:a16="http://schemas.microsoft.com/office/drawing/2014/main" id="{23982028-B5E4-863A-CC43-85F67A4FDC11}"/>
              </a:ext>
            </a:extLst>
          </p:cNvPr>
          <p:cNvSpPr>
            <a:spLocks noGrp="1"/>
          </p:cNvSpPr>
          <p:nvPr>
            <p:ph type="body" sz="quarter" idx="12" hasCustomPrompt="1"/>
          </p:nvPr>
        </p:nvSpPr>
        <p:spPr>
          <a:xfrm>
            <a:off x="6150600"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1" name="Text Placeholder 3">
            <a:extLst>
              <a:ext uri="{FF2B5EF4-FFF2-40B4-BE49-F238E27FC236}">
                <a16:creationId xmlns:a16="http://schemas.microsoft.com/office/drawing/2014/main" id="{6F97CEDB-8CD7-DDE2-0688-B82822F6ABBA}"/>
              </a:ext>
            </a:extLst>
          </p:cNvPr>
          <p:cNvSpPr>
            <a:spLocks noGrp="1"/>
          </p:cNvSpPr>
          <p:nvPr>
            <p:ph type="body" sz="quarter" idx="13"/>
          </p:nvPr>
        </p:nvSpPr>
        <p:spPr>
          <a:xfrm>
            <a:off x="382372"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219AA33A-18DD-273F-1565-8996E1C9E158}"/>
              </a:ext>
            </a:extLst>
          </p:cNvPr>
          <p:cNvSpPr>
            <a:spLocks noGrp="1"/>
          </p:cNvSpPr>
          <p:nvPr>
            <p:ph type="body" sz="quarter" idx="14"/>
          </p:nvPr>
        </p:nvSpPr>
        <p:spPr>
          <a:xfrm>
            <a:off x="3267394"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3" name="Text Placeholder 3">
            <a:extLst>
              <a:ext uri="{FF2B5EF4-FFF2-40B4-BE49-F238E27FC236}">
                <a16:creationId xmlns:a16="http://schemas.microsoft.com/office/drawing/2014/main" id="{5963EBF3-C7E4-95A7-47D0-1105F4CE3924}"/>
              </a:ext>
            </a:extLst>
          </p:cNvPr>
          <p:cNvSpPr>
            <a:spLocks noGrp="1"/>
          </p:cNvSpPr>
          <p:nvPr>
            <p:ph type="body" sz="quarter" idx="15"/>
          </p:nvPr>
        </p:nvSpPr>
        <p:spPr>
          <a:xfrm>
            <a:off x="6152416"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682AC67C-654F-E054-8EBC-95CA095A392E}"/>
              </a:ext>
            </a:extLst>
          </p:cNvPr>
          <p:cNvSpPr>
            <a:spLocks noGrp="1"/>
          </p:cNvSpPr>
          <p:nvPr>
            <p:ph type="body" sz="quarter" idx="16" hasCustomPrompt="1"/>
          </p:nvPr>
        </p:nvSpPr>
        <p:spPr>
          <a:xfrm>
            <a:off x="9035872" y="2404160"/>
            <a:ext cx="277178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15" name="Text Placeholder 3">
            <a:extLst>
              <a:ext uri="{FF2B5EF4-FFF2-40B4-BE49-F238E27FC236}">
                <a16:creationId xmlns:a16="http://schemas.microsoft.com/office/drawing/2014/main" id="{79429CAE-9B89-FCB1-039F-6A476B053760}"/>
              </a:ext>
            </a:extLst>
          </p:cNvPr>
          <p:cNvSpPr>
            <a:spLocks noGrp="1"/>
          </p:cNvSpPr>
          <p:nvPr>
            <p:ph type="body" sz="quarter" idx="17"/>
          </p:nvPr>
        </p:nvSpPr>
        <p:spPr>
          <a:xfrm>
            <a:off x="9037438" y="3655378"/>
            <a:ext cx="2770624" cy="2631125"/>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4" name="Group 3">
            <a:extLst>
              <a:ext uri="{FF2B5EF4-FFF2-40B4-BE49-F238E27FC236}">
                <a16:creationId xmlns:a16="http://schemas.microsoft.com/office/drawing/2014/main" id="{7AA3A740-F4AA-9062-263A-9BE07BFF5DB2}"/>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A032ACF3-6EAD-7D63-DEE7-B31D8915E2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8" name="MS logo gray - EMF" descr="Microsoft logo, gray text version">
              <a:extLst>
                <a:ext uri="{FF2B5EF4-FFF2-40B4-BE49-F238E27FC236}">
                  <a16:creationId xmlns:a16="http://schemas.microsoft.com/office/drawing/2014/main" id="{710607B2-6202-AD88-7A01-AA3B3DD4688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10036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6" name="Text Placeholder 3">
            <a:extLst>
              <a:ext uri="{FF2B5EF4-FFF2-40B4-BE49-F238E27FC236}">
                <a16:creationId xmlns:a16="http://schemas.microsoft.com/office/drawing/2014/main" id="{57E80F58-2D6E-6D45-8BD4-AC7883995C4C}"/>
              </a:ext>
            </a:extLst>
          </p:cNvPr>
          <p:cNvSpPr>
            <a:spLocks noGrp="1"/>
          </p:cNvSpPr>
          <p:nvPr>
            <p:ph type="body" sz="quarter" idx="10" hasCustomPrompt="1"/>
          </p:nvPr>
        </p:nvSpPr>
        <p:spPr>
          <a:xfrm>
            <a:off x="382374"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1</a:t>
            </a:r>
            <a:endParaRPr lang="en-GB"/>
          </a:p>
        </p:txBody>
      </p:sp>
      <p:sp>
        <p:nvSpPr>
          <p:cNvPr id="17" name="Text Placeholder 3">
            <a:extLst>
              <a:ext uri="{FF2B5EF4-FFF2-40B4-BE49-F238E27FC236}">
                <a16:creationId xmlns:a16="http://schemas.microsoft.com/office/drawing/2014/main" id="{D176BFA8-5FA2-1822-9D33-02AD7EA98F79}"/>
              </a:ext>
            </a:extLst>
          </p:cNvPr>
          <p:cNvSpPr>
            <a:spLocks noGrp="1"/>
          </p:cNvSpPr>
          <p:nvPr>
            <p:ph type="body" sz="quarter" idx="11" hasCustomPrompt="1"/>
          </p:nvPr>
        </p:nvSpPr>
        <p:spPr>
          <a:xfrm>
            <a:off x="4221757" y="1233488"/>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2</a:t>
            </a:r>
            <a:endParaRPr lang="en-GB"/>
          </a:p>
        </p:txBody>
      </p:sp>
      <p:sp>
        <p:nvSpPr>
          <p:cNvPr id="18" name="Text Placeholder 3">
            <a:extLst>
              <a:ext uri="{FF2B5EF4-FFF2-40B4-BE49-F238E27FC236}">
                <a16:creationId xmlns:a16="http://schemas.microsoft.com/office/drawing/2014/main" id="{4D1D04EF-5B80-65B3-7796-66758DFE3F50}"/>
              </a:ext>
            </a:extLst>
          </p:cNvPr>
          <p:cNvSpPr>
            <a:spLocks noGrp="1"/>
          </p:cNvSpPr>
          <p:nvPr>
            <p:ph type="body" sz="quarter" idx="12" hasCustomPrompt="1"/>
          </p:nvPr>
        </p:nvSpPr>
        <p:spPr>
          <a:xfrm>
            <a:off x="8059570" y="1233488"/>
            <a:ext cx="3748492"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3</a:t>
            </a:r>
            <a:endParaRPr lang="en-GB"/>
          </a:p>
        </p:txBody>
      </p:sp>
      <p:sp>
        <p:nvSpPr>
          <p:cNvPr id="19" name="Text Placeholder 3">
            <a:extLst>
              <a:ext uri="{FF2B5EF4-FFF2-40B4-BE49-F238E27FC236}">
                <a16:creationId xmlns:a16="http://schemas.microsoft.com/office/drawing/2014/main" id="{8385C8A7-C561-5DFB-FEC2-D3F770A7C5D8}"/>
              </a:ext>
            </a:extLst>
          </p:cNvPr>
          <p:cNvSpPr>
            <a:spLocks noGrp="1"/>
          </p:cNvSpPr>
          <p:nvPr>
            <p:ph type="body" sz="quarter" idx="13"/>
          </p:nvPr>
        </p:nvSpPr>
        <p:spPr>
          <a:xfrm>
            <a:off x="382374"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0" name="Text Placeholder 3">
            <a:extLst>
              <a:ext uri="{FF2B5EF4-FFF2-40B4-BE49-F238E27FC236}">
                <a16:creationId xmlns:a16="http://schemas.microsoft.com/office/drawing/2014/main" id="{DA910C1D-12FF-43F7-0753-345D02D2C42A}"/>
              </a:ext>
            </a:extLst>
          </p:cNvPr>
          <p:cNvSpPr>
            <a:spLocks noGrp="1"/>
          </p:cNvSpPr>
          <p:nvPr>
            <p:ph type="body" sz="quarter" idx="14"/>
          </p:nvPr>
        </p:nvSpPr>
        <p:spPr>
          <a:xfrm>
            <a:off x="4221756"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1" name="Text Placeholder 3">
            <a:extLst>
              <a:ext uri="{FF2B5EF4-FFF2-40B4-BE49-F238E27FC236}">
                <a16:creationId xmlns:a16="http://schemas.microsoft.com/office/drawing/2014/main" id="{15CCA5AB-6763-0F78-FE76-5DA1D3371EAB}"/>
              </a:ext>
            </a:extLst>
          </p:cNvPr>
          <p:cNvSpPr>
            <a:spLocks noGrp="1"/>
          </p:cNvSpPr>
          <p:nvPr>
            <p:ph type="body" sz="quarter" idx="15"/>
          </p:nvPr>
        </p:nvSpPr>
        <p:spPr>
          <a:xfrm>
            <a:off x="8061140" y="2484707"/>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2" name="Text Placeholder 3">
            <a:extLst>
              <a:ext uri="{FF2B5EF4-FFF2-40B4-BE49-F238E27FC236}">
                <a16:creationId xmlns:a16="http://schemas.microsoft.com/office/drawing/2014/main" id="{C2A36585-378F-B7F4-DA8B-23C40C5F1130}"/>
              </a:ext>
            </a:extLst>
          </p:cNvPr>
          <p:cNvSpPr>
            <a:spLocks noGrp="1"/>
          </p:cNvSpPr>
          <p:nvPr>
            <p:ph type="body" sz="quarter" idx="16" hasCustomPrompt="1"/>
          </p:nvPr>
        </p:nvSpPr>
        <p:spPr>
          <a:xfrm>
            <a:off x="382374"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4</a:t>
            </a:r>
            <a:endParaRPr lang="en-GB"/>
          </a:p>
        </p:txBody>
      </p:sp>
      <p:sp>
        <p:nvSpPr>
          <p:cNvPr id="23" name="Text Placeholder 3">
            <a:extLst>
              <a:ext uri="{FF2B5EF4-FFF2-40B4-BE49-F238E27FC236}">
                <a16:creationId xmlns:a16="http://schemas.microsoft.com/office/drawing/2014/main" id="{CDE911F5-7A7E-C7D0-EB3D-E08C34847CC8}"/>
              </a:ext>
            </a:extLst>
          </p:cNvPr>
          <p:cNvSpPr>
            <a:spLocks noGrp="1"/>
          </p:cNvSpPr>
          <p:nvPr>
            <p:ph type="body" sz="quarter" idx="17" hasCustomPrompt="1"/>
          </p:nvPr>
        </p:nvSpPr>
        <p:spPr>
          <a:xfrm>
            <a:off x="4221757" y="3839936"/>
            <a:ext cx="3746925" cy="1132790"/>
          </a:xfrm>
          <a:prstGeom prst="rect">
            <a:avLst/>
          </a:prstGeom>
        </p:spPr>
        <p:txBody>
          <a:bodyPr lIns="0" tIns="0" rIns="0" bIns="0" anchor="ctr" anchorCtr="0"/>
          <a:lstStyle>
            <a:lvl1pPr marL="0" indent="0">
              <a:buNone/>
              <a:defRPr sz="60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05</a:t>
            </a:r>
            <a:endParaRPr lang="en-GB"/>
          </a:p>
        </p:txBody>
      </p:sp>
      <p:sp>
        <p:nvSpPr>
          <p:cNvPr id="25" name="Text Placeholder 3">
            <a:extLst>
              <a:ext uri="{FF2B5EF4-FFF2-40B4-BE49-F238E27FC236}">
                <a16:creationId xmlns:a16="http://schemas.microsoft.com/office/drawing/2014/main" id="{72C0030E-E903-1E64-F314-F0A70C368C21}"/>
              </a:ext>
            </a:extLst>
          </p:cNvPr>
          <p:cNvSpPr>
            <a:spLocks noGrp="1"/>
          </p:cNvSpPr>
          <p:nvPr>
            <p:ph type="body" sz="quarter" idx="19"/>
          </p:nvPr>
        </p:nvSpPr>
        <p:spPr>
          <a:xfrm>
            <a:off x="382374"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AFE6F03-5077-EC25-165B-84B1B2D62C50}"/>
              </a:ext>
            </a:extLst>
          </p:cNvPr>
          <p:cNvSpPr>
            <a:spLocks noGrp="1"/>
          </p:cNvSpPr>
          <p:nvPr>
            <p:ph type="body" sz="quarter" idx="20"/>
          </p:nvPr>
        </p:nvSpPr>
        <p:spPr>
          <a:xfrm>
            <a:off x="4221756" y="5091155"/>
            <a:ext cx="3746925" cy="1172897"/>
          </a:xfrm>
          <a:prstGeom prst="rect">
            <a:avLst/>
          </a:prstGeom>
        </p:spPr>
        <p:txBody>
          <a:bodyPr lIns="0" tIns="0" rIns="0" bIns="0" anchor="t" anchorCtr="0"/>
          <a:lstStyle>
            <a:lvl1pPr marL="0" indent="0">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A32409-A7F4-E6D9-41F6-07F34D7685B2}"/>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9A36858-4CD1-F7B3-81B3-397160FD7F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9FE4F95-0EEB-A1C4-9226-90E493BB504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39690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4F2B5-B036-3CB0-2E9E-BF73D611967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61DB79-A26C-0ACD-D1EA-D94B3C51ED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B6ABBC-74AF-FC04-5D84-4C892C9E1953}"/>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F794F665-A199-9CDD-AA70-D181F1E5A6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8AAFB0F-46F7-7457-D5ED-1476BAA44B12}"/>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25127524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Takeawa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2946560"/>
            <a:ext cx="3746925" cy="2631125"/>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2342042"/>
            <a:ext cx="3746925" cy="492443"/>
          </a:xfrm>
          <a:prstGeom prst="rect">
            <a:avLst/>
          </a:prstGeom>
        </p:spPr>
        <p:txBody>
          <a:bodyPr lIns="0" tIns="0" rIns="0" bIns="0" anchor="b"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FBDC4381-BA89-7F2C-AA61-94B753747613}"/>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0C92AF16-73AA-1033-2B70-4430418F55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D37D0AF-B628-C3EF-91A3-F41A1FF92B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9154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4">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noFill/>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4221756"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8061140" y="4262123"/>
            <a:ext cx="3746925" cy="2018031"/>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6"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40" y="3657604"/>
            <a:ext cx="3746925" cy="492443"/>
          </a:xfrm>
          <a:prstGeom prst="rect">
            <a:avLst/>
          </a:prstGeom>
        </p:spPr>
        <p:txBody>
          <a:bodyPr lIns="0" tIns="0" rIns="0" bIns="0" anchor="t" anchorCtr="0"/>
          <a:lstStyle>
            <a:lvl1pPr marL="0" indent="0" algn="ctr">
              <a:buNone/>
              <a:defRPr sz="2133">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9" name="Group 38">
            <a:extLst>
              <a:ext uri="{FF2B5EF4-FFF2-40B4-BE49-F238E27FC236}">
                <a16:creationId xmlns:a16="http://schemas.microsoft.com/office/drawing/2014/main" id="{81C0F347-2741-6F93-70EF-A064F8515267}"/>
              </a:ext>
            </a:extLst>
          </p:cNvPr>
          <p:cNvGrpSpPr>
            <a:grpSpLocks/>
          </p:cNvGrpSpPr>
          <p:nvPr userDrawn="1"/>
        </p:nvGrpSpPr>
        <p:grpSpPr>
          <a:xfrm>
            <a:off x="9069012" y="1388289"/>
            <a:ext cx="1753200" cy="1753712"/>
            <a:chOff x="8485195" y="4484505"/>
            <a:chExt cx="1317610" cy="1317990"/>
          </a:xfrm>
        </p:grpSpPr>
        <p:sp>
          <p:nvSpPr>
            <p:cNvPr id="40" name="Oval 39">
              <a:extLst>
                <a:ext uri="{FF2B5EF4-FFF2-40B4-BE49-F238E27FC236}">
                  <a16:creationId xmlns:a16="http://schemas.microsoft.com/office/drawing/2014/main" id="{60532FBA-11AD-7B6E-EC65-800ED3D318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Oval 40">
              <a:extLst>
                <a:ext uri="{FF2B5EF4-FFF2-40B4-BE49-F238E27FC236}">
                  <a16:creationId xmlns:a16="http://schemas.microsoft.com/office/drawing/2014/main" id="{3C492BA8-9400-EA59-230C-F19713C202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6" name="Group 35">
            <a:extLst>
              <a:ext uri="{FF2B5EF4-FFF2-40B4-BE49-F238E27FC236}">
                <a16:creationId xmlns:a16="http://schemas.microsoft.com/office/drawing/2014/main" id="{FF0178D1-C169-4D24-7E97-AD8DFCEA3FE4}"/>
              </a:ext>
            </a:extLst>
          </p:cNvPr>
          <p:cNvGrpSpPr>
            <a:grpSpLocks/>
          </p:cNvGrpSpPr>
          <p:nvPr userDrawn="1"/>
        </p:nvGrpSpPr>
        <p:grpSpPr>
          <a:xfrm>
            <a:off x="5229629" y="1388289"/>
            <a:ext cx="1753200" cy="1753712"/>
            <a:chOff x="8485195" y="4484505"/>
            <a:chExt cx="1317610" cy="1317990"/>
          </a:xfrm>
        </p:grpSpPr>
        <p:sp>
          <p:nvSpPr>
            <p:cNvPr id="37" name="Oval 36">
              <a:extLst>
                <a:ext uri="{FF2B5EF4-FFF2-40B4-BE49-F238E27FC236}">
                  <a16:creationId xmlns:a16="http://schemas.microsoft.com/office/drawing/2014/main" id="{0926200A-9FC8-C286-7260-C958DDDA1BF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51DBCEDA-10C6-AA19-A4CE-76B97549A59A}"/>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3" name="Group 32">
            <a:extLst>
              <a:ext uri="{FF2B5EF4-FFF2-40B4-BE49-F238E27FC236}">
                <a16:creationId xmlns:a16="http://schemas.microsoft.com/office/drawing/2014/main" id="{274FDAE2-5022-A232-6C04-0EC6D37E2497}"/>
              </a:ext>
            </a:extLst>
          </p:cNvPr>
          <p:cNvGrpSpPr>
            <a:grpSpLocks/>
          </p:cNvGrpSpPr>
          <p:nvPr userDrawn="1"/>
        </p:nvGrpSpPr>
        <p:grpSpPr>
          <a:xfrm>
            <a:off x="1388139" y="1388289"/>
            <a:ext cx="1753200" cy="1753712"/>
            <a:chOff x="8485195" y="4484505"/>
            <a:chExt cx="1317610" cy="1317990"/>
          </a:xfrm>
        </p:grpSpPr>
        <p:sp>
          <p:nvSpPr>
            <p:cNvPr id="34" name="Oval 33">
              <a:extLst>
                <a:ext uri="{FF2B5EF4-FFF2-40B4-BE49-F238E27FC236}">
                  <a16:creationId xmlns:a16="http://schemas.microsoft.com/office/drawing/2014/main" id="{0B44B01A-EE1A-6379-B566-3975A67CD1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48A3FE86-34FF-95B4-AC73-49C3F1BBE64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 name="Group 2">
            <a:extLst>
              <a:ext uri="{FF2B5EF4-FFF2-40B4-BE49-F238E27FC236}">
                <a16:creationId xmlns:a16="http://schemas.microsoft.com/office/drawing/2014/main" id="{121F7402-9DCE-0364-0EA6-1D84D17FA41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7907A4BA-D3AF-4279-6495-7D858450A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760ED1-3B04-BCF9-91C0-7738F62E6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8985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5">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Point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2"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3261126"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6139880"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2"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3261126"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6139880"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5C8181C6-0E9D-2294-5467-521BC164976B}"/>
              </a:ext>
            </a:extLst>
          </p:cNvPr>
          <p:cNvGrpSpPr>
            <a:grpSpLocks/>
          </p:cNvGrpSpPr>
          <p:nvPr userDrawn="1"/>
        </p:nvGrpSpPr>
        <p:grpSpPr>
          <a:xfrm>
            <a:off x="911498" y="1388289"/>
            <a:ext cx="1753200" cy="1753712"/>
            <a:chOff x="8485195" y="4484505"/>
            <a:chExt cx="1317610" cy="1317990"/>
          </a:xfrm>
        </p:grpSpPr>
        <p:sp>
          <p:nvSpPr>
            <p:cNvPr id="3" name="Oval 2">
              <a:extLst>
                <a:ext uri="{FF2B5EF4-FFF2-40B4-BE49-F238E27FC236}">
                  <a16:creationId xmlns:a16="http://schemas.microsoft.com/office/drawing/2014/main" id="{D274BC34-3D33-583C-2987-37D7067894B2}"/>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28490AE2-2D20-BAA0-ADAB-56FF0892594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0" name="Group 9">
            <a:extLst>
              <a:ext uri="{FF2B5EF4-FFF2-40B4-BE49-F238E27FC236}">
                <a16:creationId xmlns:a16="http://schemas.microsoft.com/office/drawing/2014/main" id="{E796477F-037B-B48A-5F1B-ADA1AE00E6CF}"/>
              </a:ext>
            </a:extLst>
          </p:cNvPr>
          <p:cNvGrpSpPr>
            <a:grpSpLocks/>
          </p:cNvGrpSpPr>
          <p:nvPr userDrawn="1"/>
        </p:nvGrpSpPr>
        <p:grpSpPr>
          <a:xfrm>
            <a:off x="6669008" y="1388289"/>
            <a:ext cx="1753200" cy="1753712"/>
            <a:chOff x="8485195" y="4484505"/>
            <a:chExt cx="1317610" cy="1317990"/>
          </a:xfrm>
        </p:grpSpPr>
        <p:sp>
          <p:nvSpPr>
            <p:cNvPr id="17" name="Oval 16">
              <a:extLst>
                <a:ext uri="{FF2B5EF4-FFF2-40B4-BE49-F238E27FC236}">
                  <a16:creationId xmlns:a16="http://schemas.microsoft.com/office/drawing/2014/main" id="{D434BDEA-A106-98AF-E748-F59D189932C8}"/>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7">
              <a:extLst>
                <a:ext uri="{FF2B5EF4-FFF2-40B4-BE49-F238E27FC236}">
                  <a16:creationId xmlns:a16="http://schemas.microsoft.com/office/drawing/2014/main" id="{E202F7AD-ED48-1AC6-6E43-08C38EC67FCE}"/>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5" name="Group 24">
            <a:extLst>
              <a:ext uri="{FF2B5EF4-FFF2-40B4-BE49-F238E27FC236}">
                <a16:creationId xmlns:a16="http://schemas.microsoft.com/office/drawing/2014/main" id="{432AA894-4125-50D6-B122-85AF096FCEB9}"/>
              </a:ext>
            </a:extLst>
          </p:cNvPr>
          <p:cNvGrpSpPr>
            <a:grpSpLocks/>
          </p:cNvGrpSpPr>
          <p:nvPr userDrawn="1"/>
        </p:nvGrpSpPr>
        <p:grpSpPr>
          <a:xfrm>
            <a:off x="9547761" y="1388289"/>
            <a:ext cx="1753200" cy="1753712"/>
            <a:chOff x="8485195" y="4484505"/>
            <a:chExt cx="1317610" cy="1317990"/>
          </a:xfrm>
        </p:grpSpPr>
        <p:sp>
          <p:nvSpPr>
            <p:cNvPr id="26" name="Oval 25">
              <a:extLst>
                <a:ext uri="{FF2B5EF4-FFF2-40B4-BE49-F238E27FC236}">
                  <a16:creationId xmlns:a16="http://schemas.microsoft.com/office/drawing/2014/main" id="{568CB933-A171-4520-500C-D6D0AE721AA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829321E5-9189-E20B-E297-8955A0E337C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9018634" y="4800600"/>
            <a:ext cx="2789428" cy="1479550"/>
          </a:xfrm>
          <a:prstGeom prst="rect">
            <a:avLst/>
          </a:prstGeom>
        </p:spPr>
        <p:txBody>
          <a:bodyPr lIns="0" tIns="0" rIns="0" bIns="0" anchor="t" anchorCtr="0"/>
          <a:lstStyle>
            <a:lvl1pPr marL="0" indent="0" algn="ctr">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9018634" y="3657604"/>
            <a:ext cx="2789428"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7" name="Group 6">
            <a:extLst>
              <a:ext uri="{FF2B5EF4-FFF2-40B4-BE49-F238E27FC236}">
                <a16:creationId xmlns:a16="http://schemas.microsoft.com/office/drawing/2014/main" id="{65C50980-BB29-B2FA-2ACA-DCE92B03EAD6}"/>
              </a:ext>
            </a:extLst>
          </p:cNvPr>
          <p:cNvGrpSpPr>
            <a:grpSpLocks/>
          </p:cNvGrpSpPr>
          <p:nvPr userDrawn="1"/>
        </p:nvGrpSpPr>
        <p:grpSpPr>
          <a:xfrm>
            <a:off x="3790253" y="1388289"/>
            <a:ext cx="1753200" cy="1753712"/>
            <a:chOff x="8485195" y="4484505"/>
            <a:chExt cx="1317610" cy="1317990"/>
          </a:xfrm>
        </p:grpSpPr>
        <p:sp>
          <p:nvSpPr>
            <p:cNvPr id="8" name="Oval 7">
              <a:extLst>
                <a:ext uri="{FF2B5EF4-FFF2-40B4-BE49-F238E27FC236}">
                  <a16:creationId xmlns:a16="http://schemas.microsoft.com/office/drawing/2014/main" id="{E254E8CE-2BA1-DE42-D461-39FC2C69F61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8881B44-7714-D565-A27C-41796AADEC4F}"/>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5" name="Group 4">
            <a:extLst>
              <a:ext uri="{FF2B5EF4-FFF2-40B4-BE49-F238E27FC236}">
                <a16:creationId xmlns:a16="http://schemas.microsoft.com/office/drawing/2014/main" id="{18BB77EE-BB07-DB51-C159-09722CA44380}"/>
              </a:ext>
            </a:extLst>
          </p:cNvPr>
          <p:cNvGrpSpPr/>
          <p:nvPr userDrawn="1"/>
        </p:nvGrpSpPr>
        <p:grpSpPr>
          <a:xfrm>
            <a:off x="407459" y="6457261"/>
            <a:ext cx="1498506" cy="192755"/>
            <a:chOff x="611188" y="9429750"/>
            <a:chExt cx="3412172" cy="438912"/>
          </a:xfrm>
        </p:grpSpPr>
        <p:pic>
          <p:nvPicPr>
            <p:cNvPr id="11" name="Graphic 10">
              <a:extLst>
                <a:ext uri="{FF2B5EF4-FFF2-40B4-BE49-F238E27FC236}">
                  <a16:creationId xmlns:a16="http://schemas.microsoft.com/office/drawing/2014/main" id="{605EA56B-E0E8-39E5-41E6-D3579EF3D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12" name="MS logo gray - EMF" descr="Microsoft logo, gray text version">
              <a:extLst>
                <a:ext uri="{FF2B5EF4-FFF2-40B4-BE49-F238E27FC236}">
                  <a16:creationId xmlns:a16="http://schemas.microsoft.com/office/drawing/2014/main" id="{9D3BB615-2682-437D-D678-BEC17541CE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87518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3016">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Point Ic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4" name="Text Placeholder 3">
            <a:extLst>
              <a:ext uri="{FF2B5EF4-FFF2-40B4-BE49-F238E27FC236}">
                <a16:creationId xmlns:a16="http://schemas.microsoft.com/office/drawing/2014/main" id="{DA76C3AC-6276-A60C-0010-F59E699C4EA8}"/>
              </a:ext>
            </a:extLst>
          </p:cNvPr>
          <p:cNvSpPr>
            <a:spLocks noGrp="1"/>
          </p:cNvSpPr>
          <p:nvPr>
            <p:ph type="body" sz="quarter" idx="14"/>
          </p:nvPr>
        </p:nvSpPr>
        <p:spPr>
          <a:xfrm>
            <a:off x="2688119"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7" name="Text Placeholder 3">
            <a:extLst>
              <a:ext uri="{FF2B5EF4-FFF2-40B4-BE49-F238E27FC236}">
                <a16:creationId xmlns:a16="http://schemas.microsoft.com/office/drawing/2014/main" id="{30F15915-56B2-E5B4-741B-89316922CDDC}"/>
              </a:ext>
            </a:extLst>
          </p:cNvPr>
          <p:cNvSpPr>
            <a:spLocks noGrp="1"/>
          </p:cNvSpPr>
          <p:nvPr>
            <p:ph type="body" sz="quarter" idx="15"/>
          </p:nvPr>
        </p:nvSpPr>
        <p:spPr>
          <a:xfrm>
            <a:off x="4993865"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4"/>
            <a:ext cx="2204275" cy="492443"/>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2688119"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4993865"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 name="Group 2">
            <a:extLst>
              <a:ext uri="{FF2B5EF4-FFF2-40B4-BE49-F238E27FC236}">
                <a16:creationId xmlns:a16="http://schemas.microsoft.com/office/drawing/2014/main" id="{384274B1-F1F2-2A21-1FB3-F0B2E3AAB644}"/>
              </a:ext>
            </a:extLst>
          </p:cNvPr>
          <p:cNvGrpSpPr>
            <a:grpSpLocks/>
          </p:cNvGrpSpPr>
          <p:nvPr userDrawn="1"/>
        </p:nvGrpSpPr>
        <p:grpSpPr>
          <a:xfrm>
            <a:off x="618922" y="1388289"/>
            <a:ext cx="1753200" cy="1753712"/>
            <a:chOff x="8485195" y="4484505"/>
            <a:chExt cx="1317610" cy="1317990"/>
          </a:xfrm>
        </p:grpSpPr>
        <p:sp>
          <p:nvSpPr>
            <p:cNvPr id="4" name="Oval 3">
              <a:extLst>
                <a:ext uri="{FF2B5EF4-FFF2-40B4-BE49-F238E27FC236}">
                  <a16:creationId xmlns:a16="http://schemas.microsoft.com/office/drawing/2014/main" id="{FB61D01F-956C-066B-D279-9ACEFB078E79}"/>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D8F5C469-9784-6D95-48B3-F23B0B836B5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9" name="Group 8">
            <a:extLst>
              <a:ext uri="{FF2B5EF4-FFF2-40B4-BE49-F238E27FC236}">
                <a16:creationId xmlns:a16="http://schemas.microsoft.com/office/drawing/2014/main" id="{F763BBB9-721A-E18F-0238-4880D753A808}"/>
              </a:ext>
            </a:extLst>
          </p:cNvPr>
          <p:cNvGrpSpPr>
            <a:grpSpLocks/>
          </p:cNvGrpSpPr>
          <p:nvPr userDrawn="1"/>
        </p:nvGrpSpPr>
        <p:grpSpPr>
          <a:xfrm>
            <a:off x="5230413" y="1388289"/>
            <a:ext cx="1753200" cy="1753712"/>
            <a:chOff x="8485195" y="4484505"/>
            <a:chExt cx="1317610" cy="1317990"/>
          </a:xfrm>
        </p:grpSpPr>
        <p:sp>
          <p:nvSpPr>
            <p:cNvPr id="10" name="Oval 9">
              <a:extLst>
                <a:ext uri="{FF2B5EF4-FFF2-40B4-BE49-F238E27FC236}">
                  <a16:creationId xmlns:a16="http://schemas.microsoft.com/office/drawing/2014/main" id="{156DCA6D-B63B-F2DE-C208-A819C40D805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98B58BF-3660-E1C3-6120-28300FCE0CD7}"/>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8" name="Group 17">
            <a:extLst>
              <a:ext uri="{FF2B5EF4-FFF2-40B4-BE49-F238E27FC236}">
                <a16:creationId xmlns:a16="http://schemas.microsoft.com/office/drawing/2014/main" id="{9A47392D-7F6B-24A4-1B7A-0CE2F342E7B5}"/>
              </a:ext>
            </a:extLst>
          </p:cNvPr>
          <p:cNvGrpSpPr>
            <a:grpSpLocks/>
          </p:cNvGrpSpPr>
          <p:nvPr userDrawn="1"/>
        </p:nvGrpSpPr>
        <p:grpSpPr>
          <a:xfrm>
            <a:off x="7536158" y="1388289"/>
            <a:ext cx="1753200" cy="1753712"/>
            <a:chOff x="8485195" y="4484505"/>
            <a:chExt cx="1317610" cy="1317990"/>
          </a:xfrm>
        </p:grpSpPr>
        <p:sp>
          <p:nvSpPr>
            <p:cNvPr id="25" name="Oval 24">
              <a:extLst>
                <a:ext uri="{FF2B5EF4-FFF2-40B4-BE49-F238E27FC236}">
                  <a16:creationId xmlns:a16="http://schemas.microsoft.com/office/drawing/2014/main" id="{201A8F39-1749-52B6-5677-3939509037FD}"/>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2F4528EE-9580-870A-12AA-944E4C0CA5C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38" name="Text Placeholder 3">
            <a:extLst>
              <a:ext uri="{FF2B5EF4-FFF2-40B4-BE49-F238E27FC236}">
                <a16:creationId xmlns:a16="http://schemas.microsoft.com/office/drawing/2014/main" id="{19C31969-43A8-758C-EED4-0561C78B916A}"/>
              </a:ext>
            </a:extLst>
          </p:cNvPr>
          <p:cNvSpPr>
            <a:spLocks noGrp="1"/>
          </p:cNvSpPr>
          <p:nvPr>
            <p:ph type="body" sz="quarter" idx="19"/>
          </p:nvPr>
        </p:nvSpPr>
        <p:spPr>
          <a:xfrm>
            <a:off x="7299610"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39" name="Text Placeholder 3">
            <a:extLst>
              <a:ext uri="{FF2B5EF4-FFF2-40B4-BE49-F238E27FC236}">
                <a16:creationId xmlns:a16="http://schemas.microsoft.com/office/drawing/2014/main" id="{6612CB20-DCA4-BFAB-9C91-C26C11774F28}"/>
              </a:ext>
            </a:extLst>
          </p:cNvPr>
          <p:cNvSpPr>
            <a:spLocks noGrp="1"/>
          </p:cNvSpPr>
          <p:nvPr>
            <p:ph type="body" sz="quarter" idx="20"/>
          </p:nvPr>
        </p:nvSpPr>
        <p:spPr>
          <a:xfrm>
            <a:off x="7299610"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6" name="Group 5">
            <a:extLst>
              <a:ext uri="{FF2B5EF4-FFF2-40B4-BE49-F238E27FC236}">
                <a16:creationId xmlns:a16="http://schemas.microsoft.com/office/drawing/2014/main" id="{492DDFBE-45F1-EB3B-ACE7-A46050B2EFB0}"/>
              </a:ext>
            </a:extLst>
          </p:cNvPr>
          <p:cNvGrpSpPr>
            <a:grpSpLocks/>
          </p:cNvGrpSpPr>
          <p:nvPr userDrawn="1"/>
        </p:nvGrpSpPr>
        <p:grpSpPr>
          <a:xfrm>
            <a:off x="2924667" y="1388289"/>
            <a:ext cx="1753200" cy="1753712"/>
            <a:chOff x="8485195" y="4484505"/>
            <a:chExt cx="1317610" cy="1317990"/>
          </a:xfrm>
        </p:grpSpPr>
        <p:sp>
          <p:nvSpPr>
            <p:cNvPr id="7" name="Oval 6">
              <a:extLst>
                <a:ext uri="{FF2B5EF4-FFF2-40B4-BE49-F238E27FC236}">
                  <a16:creationId xmlns:a16="http://schemas.microsoft.com/office/drawing/2014/main" id="{E90D128C-FB74-2688-50E2-04990897E587}"/>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A381545-4710-62E8-A2FF-BDB555BDF4D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54" name="Text Placeholder 3">
            <a:extLst>
              <a:ext uri="{FF2B5EF4-FFF2-40B4-BE49-F238E27FC236}">
                <a16:creationId xmlns:a16="http://schemas.microsoft.com/office/drawing/2014/main" id="{D255216F-0FAA-8F8E-B3B7-4A925432FBFE}"/>
              </a:ext>
            </a:extLst>
          </p:cNvPr>
          <p:cNvSpPr>
            <a:spLocks noGrp="1"/>
          </p:cNvSpPr>
          <p:nvPr>
            <p:ph type="body" sz="quarter" idx="21"/>
          </p:nvPr>
        </p:nvSpPr>
        <p:spPr>
          <a:xfrm>
            <a:off x="9605356" y="4800603"/>
            <a:ext cx="2204275" cy="615553"/>
          </a:xfrm>
          <a:prstGeom prst="rect">
            <a:avLst/>
          </a:prstGeom>
          <a:noFill/>
        </p:spPr>
        <p:txBody>
          <a:bodyPr vert="horz" wrap="square" lIns="0" tIns="0" rIns="0" bIns="0" rtlCol="0" anchor="t">
            <a:spAutoFit/>
          </a:bodyPr>
          <a:lstStyle>
            <a:lvl1pPr>
              <a:defRPr lang="en-GB" sz="2000" b="0" cap="none" spc="-21" dirty="0">
                <a:ln w="3175">
                  <a:noFill/>
                </a:ln>
                <a:solidFill>
                  <a:srgbClr val="2A446F"/>
                </a:solidFill>
                <a:effectLst/>
                <a:latin typeface="+mn-lt"/>
              </a:defRPr>
            </a:lvl1pPr>
          </a:lstStyle>
          <a:p>
            <a:pPr lvl="0" algn="ctr">
              <a:spcBef>
                <a:spcPct val="0"/>
              </a:spcBef>
              <a:buNone/>
            </a:pPr>
            <a:r>
              <a:rPr lang="en-US"/>
              <a:t>Click to edit Master text styles</a:t>
            </a:r>
          </a:p>
        </p:txBody>
      </p:sp>
      <p:sp>
        <p:nvSpPr>
          <p:cNvPr id="55" name="Text Placeholder 3">
            <a:extLst>
              <a:ext uri="{FF2B5EF4-FFF2-40B4-BE49-F238E27FC236}">
                <a16:creationId xmlns:a16="http://schemas.microsoft.com/office/drawing/2014/main" id="{B2E5EEC5-01F1-4D57-6657-7C951DAA64D0}"/>
              </a:ext>
            </a:extLst>
          </p:cNvPr>
          <p:cNvSpPr>
            <a:spLocks noGrp="1"/>
          </p:cNvSpPr>
          <p:nvPr>
            <p:ph type="body" sz="quarter" idx="22"/>
          </p:nvPr>
        </p:nvSpPr>
        <p:spPr>
          <a:xfrm>
            <a:off x="9605356" y="3657604"/>
            <a:ext cx="2204275" cy="430887"/>
          </a:xfrm>
          <a:prstGeom prst="rect">
            <a:avLst/>
          </a:prstGeom>
        </p:spPr>
        <p:txBody>
          <a:bodyPr lIns="0" tIns="0" rIns="0" bIns="0" anchor="t" anchorCtr="0"/>
          <a:lstStyle>
            <a:lvl1pPr>
              <a:defRPr lang="en-US" sz="2133" smtClean="0">
                <a:solidFill>
                  <a:srgbClr val="2A446F"/>
                </a:solidFill>
                <a:latin typeface="+mj-lt"/>
              </a:defRPr>
            </a:lvl1pPr>
          </a:lstStyle>
          <a:p>
            <a:pPr marL="0" lvl="0" indent="0" algn="ctr">
              <a:buNone/>
            </a:pPr>
            <a:r>
              <a:rPr lang="en-US"/>
              <a:t>Click to edit Master text styles</a:t>
            </a:r>
          </a:p>
        </p:txBody>
      </p:sp>
      <p:grpSp>
        <p:nvGrpSpPr>
          <p:cNvPr id="32" name="Group 31">
            <a:extLst>
              <a:ext uri="{FF2B5EF4-FFF2-40B4-BE49-F238E27FC236}">
                <a16:creationId xmlns:a16="http://schemas.microsoft.com/office/drawing/2014/main" id="{4F9BBCA5-52A4-6E8A-4C99-2C29765A471A}"/>
              </a:ext>
            </a:extLst>
          </p:cNvPr>
          <p:cNvGrpSpPr>
            <a:grpSpLocks/>
          </p:cNvGrpSpPr>
          <p:nvPr userDrawn="1"/>
        </p:nvGrpSpPr>
        <p:grpSpPr>
          <a:xfrm>
            <a:off x="9841903" y="1388289"/>
            <a:ext cx="1753200" cy="1753712"/>
            <a:chOff x="8485195" y="4484505"/>
            <a:chExt cx="1317610" cy="1317990"/>
          </a:xfrm>
        </p:grpSpPr>
        <p:sp>
          <p:nvSpPr>
            <p:cNvPr id="33" name="Oval 32">
              <a:extLst>
                <a:ext uri="{FF2B5EF4-FFF2-40B4-BE49-F238E27FC236}">
                  <a16:creationId xmlns:a16="http://schemas.microsoft.com/office/drawing/2014/main" id="{ACA0B551-467A-F69D-23D6-455863AE285F}"/>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6F4B4666-A459-25B8-AB07-01C1D0C7B1F8}"/>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11" name="Group 10">
            <a:extLst>
              <a:ext uri="{FF2B5EF4-FFF2-40B4-BE49-F238E27FC236}">
                <a16:creationId xmlns:a16="http://schemas.microsoft.com/office/drawing/2014/main" id="{332F1329-26FE-AB28-40B7-B066CFDF8E97}"/>
              </a:ext>
            </a:extLst>
          </p:cNvPr>
          <p:cNvGrpSpPr/>
          <p:nvPr userDrawn="1"/>
        </p:nvGrpSpPr>
        <p:grpSpPr>
          <a:xfrm>
            <a:off x="407459" y="6457261"/>
            <a:ext cx="1498506" cy="192755"/>
            <a:chOff x="611188" y="9429750"/>
            <a:chExt cx="3412172" cy="438912"/>
          </a:xfrm>
        </p:grpSpPr>
        <p:pic>
          <p:nvPicPr>
            <p:cNvPr id="12" name="Graphic 11">
              <a:extLst>
                <a:ext uri="{FF2B5EF4-FFF2-40B4-BE49-F238E27FC236}">
                  <a16:creationId xmlns:a16="http://schemas.microsoft.com/office/drawing/2014/main" id="{165D9AA2-9AB1-76AB-F5D3-EBF7986533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13" name="MS logo gray - EMF" descr="Microsoft logo, gray text version">
              <a:extLst>
                <a:ext uri="{FF2B5EF4-FFF2-40B4-BE49-F238E27FC236}">
                  <a16:creationId xmlns:a16="http://schemas.microsoft.com/office/drawing/2014/main" id="{29E5D1E5-F101-4D9A-DE1A-457A899D3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00781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Slide - Bottom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23034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0" y="3657600"/>
            <a:ext cx="12192000" cy="32004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B30F0-B420-302D-8CEF-02C8288C8771}"/>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8146F4CF-14BB-F3F6-584A-BCA6F58E5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F17CBE58-DCF4-FBC7-891D-485F139084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83619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Slide - Left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6136746" y="421961"/>
            <a:ext cx="567131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6136746" y="1233488"/>
            <a:ext cx="5671318" cy="505301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6050555"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8B3461A3-BFCA-3BE9-651A-B2B1412B3CF4}"/>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EA7030AB-75F7-062A-EC30-D7D2A48850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7ADE52E8-5547-49BD-37F0-6BB59274C1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13366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Slide - Left Third with 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4221755" y="421961"/>
            <a:ext cx="7586308"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4" name="Picture Placeholder 3">
            <a:extLst>
              <a:ext uri="{FF2B5EF4-FFF2-40B4-BE49-F238E27FC236}">
                <a16:creationId xmlns:a16="http://schemas.microsoft.com/office/drawing/2014/main" id="{AFC1E8A3-A486-E9B9-7E02-AB1A432AFDD5}"/>
              </a:ext>
            </a:extLst>
          </p:cNvPr>
          <p:cNvSpPr>
            <a:spLocks noGrp="1"/>
          </p:cNvSpPr>
          <p:nvPr>
            <p:ph type="pic" sz="quarter" idx="14"/>
          </p:nvPr>
        </p:nvSpPr>
        <p:spPr>
          <a:xfrm>
            <a:off x="2" y="0"/>
            <a:ext cx="4130863" cy="6858000"/>
          </a:xfrm>
          <a:prstGeom prst="rect">
            <a:avLst/>
          </a:prstGeom>
        </p:spPr>
        <p:txBody>
          <a:bodyPr/>
          <a:lstStyle>
            <a:lvl1pPr>
              <a:defRPr>
                <a:solidFill>
                  <a:schemeClr val="bg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D9304D50-68BE-C862-390C-459C9C06D8E7}"/>
              </a:ext>
            </a:extLst>
          </p:cNvPr>
          <p:cNvGrpSpPr>
            <a:grpSpLocks/>
          </p:cNvGrpSpPr>
          <p:nvPr userDrawn="1"/>
        </p:nvGrpSpPr>
        <p:grpSpPr>
          <a:xfrm>
            <a:off x="4221758" y="1312090"/>
            <a:ext cx="1278749" cy="1295399"/>
            <a:chOff x="8485195" y="4484505"/>
            <a:chExt cx="1317610" cy="1317990"/>
          </a:xfrm>
        </p:grpSpPr>
        <p:sp>
          <p:nvSpPr>
            <p:cNvPr id="15" name="Oval 14">
              <a:extLst>
                <a:ext uri="{FF2B5EF4-FFF2-40B4-BE49-F238E27FC236}">
                  <a16:creationId xmlns:a16="http://schemas.microsoft.com/office/drawing/2014/main" id="{BD7813AB-6BC8-1976-4758-8373A4737DC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9EB13129-2DF4-F81A-50B9-166695B1C0D4}"/>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31" name="Group 30">
            <a:extLst>
              <a:ext uri="{FF2B5EF4-FFF2-40B4-BE49-F238E27FC236}">
                <a16:creationId xmlns:a16="http://schemas.microsoft.com/office/drawing/2014/main" id="{997826C1-2863-AEBB-568A-747C62C1D836}"/>
              </a:ext>
            </a:extLst>
          </p:cNvPr>
          <p:cNvGrpSpPr>
            <a:grpSpLocks/>
          </p:cNvGrpSpPr>
          <p:nvPr userDrawn="1"/>
        </p:nvGrpSpPr>
        <p:grpSpPr>
          <a:xfrm>
            <a:off x="4221758" y="4991105"/>
            <a:ext cx="1278749" cy="1295399"/>
            <a:chOff x="8485195" y="4484505"/>
            <a:chExt cx="1317610" cy="1317990"/>
          </a:xfrm>
        </p:grpSpPr>
        <p:sp>
          <p:nvSpPr>
            <p:cNvPr id="32" name="Oval 31">
              <a:extLst>
                <a:ext uri="{FF2B5EF4-FFF2-40B4-BE49-F238E27FC236}">
                  <a16:creationId xmlns:a16="http://schemas.microsoft.com/office/drawing/2014/main" id="{C8379EC4-6167-8BD4-2AFA-E199597B818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19E992F7-5A05-C0BF-D4EC-5067AFD9307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grpSp>
        <p:nvGrpSpPr>
          <p:cNvPr id="28" name="Group 27">
            <a:extLst>
              <a:ext uri="{FF2B5EF4-FFF2-40B4-BE49-F238E27FC236}">
                <a16:creationId xmlns:a16="http://schemas.microsoft.com/office/drawing/2014/main" id="{484B25A6-7EF0-2637-4D97-71C5B3C99B83}"/>
              </a:ext>
            </a:extLst>
          </p:cNvPr>
          <p:cNvGrpSpPr>
            <a:grpSpLocks/>
          </p:cNvGrpSpPr>
          <p:nvPr userDrawn="1"/>
        </p:nvGrpSpPr>
        <p:grpSpPr>
          <a:xfrm>
            <a:off x="4221758" y="3106593"/>
            <a:ext cx="1278749" cy="1295399"/>
            <a:chOff x="8485195" y="4484505"/>
            <a:chExt cx="1317610" cy="1317990"/>
          </a:xfrm>
        </p:grpSpPr>
        <p:sp>
          <p:nvSpPr>
            <p:cNvPr id="29" name="Oval 28">
              <a:extLst>
                <a:ext uri="{FF2B5EF4-FFF2-40B4-BE49-F238E27FC236}">
                  <a16:creationId xmlns:a16="http://schemas.microsoft.com/office/drawing/2014/main" id="{E97E19B9-6B24-517D-2C92-FD2EEDF43331}"/>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Oval 29">
              <a:extLst>
                <a:ext uri="{FF2B5EF4-FFF2-40B4-BE49-F238E27FC236}">
                  <a16:creationId xmlns:a16="http://schemas.microsoft.com/office/drawing/2014/main" id="{75C9E115-713D-B437-54AB-80F11579814B}"/>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463668"/>
                </a:solidFill>
                <a:effectLst/>
                <a:uLnTx/>
                <a:uFillTx/>
                <a:latin typeface="Segoe UI Semibold"/>
                <a:ea typeface="+mn-ea"/>
                <a:cs typeface="+mn-cs"/>
              </a:endParaRPr>
            </a:p>
          </p:txBody>
        </p:sp>
      </p:gr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5729300" y="1805901"/>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5" name="Text Placeholder 3">
            <a:extLst>
              <a:ext uri="{FF2B5EF4-FFF2-40B4-BE49-F238E27FC236}">
                <a16:creationId xmlns:a16="http://schemas.microsoft.com/office/drawing/2014/main" id="{AD6A940B-8E8F-DE80-D847-4868CCF37A58}"/>
              </a:ext>
            </a:extLst>
          </p:cNvPr>
          <p:cNvSpPr>
            <a:spLocks noGrp="1"/>
          </p:cNvSpPr>
          <p:nvPr>
            <p:ph type="body" sz="quarter" idx="15"/>
          </p:nvPr>
        </p:nvSpPr>
        <p:spPr>
          <a:xfrm>
            <a:off x="5729300" y="3645410"/>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6" name="Text Placeholder 3">
            <a:extLst>
              <a:ext uri="{FF2B5EF4-FFF2-40B4-BE49-F238E27FC236}">
                <a16:creationId xmlns:a16="http://schemas.microsoft.com/office/drawing/2014/main" id="{27D1FB32-979F-8496-940F-8DF9B46EAB6B}"/>
              </a:ext>
            </a:extLst>
          </p:cNvPr>
          <p:cNvSpPr>
            <a:spLocks noGrp="1"/>
          </p:cNvSpPr>
          <p:nvPr>
            <p:ph type="body" sz="quarter" idx="16"/>
          </p:nvPr>
        </p:nvSpPr>
        <p:spPr>
          <a:xfrm>
            <a:off x="5729300" y="5484916"/>
            <a:ext cx="6078762" cy="307777"/>
          </a:xfrm>
          <a:prstGeom prst="rect">
            <a:avLst/>
          </a:prstGeom>
        </p:spPr>
        <p:txBody>
          <a:bodyPr lIns="0" tIns="0" rIns="0" bIns="0" anchor="ctr"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336F3977-DD6E-C342-8AEB-374682062A01}"/>
              </a:ext>
            </a:extLst>
          </p:cNvPr>
          <p:cNvGrpSpPr/>
          <p:nvPr userDrawn="1"/>
        </p:nvGrpSpPr>
        <p:grpSpPr>
          <a:xfrm>
            <a:off x="407459" y="6457261"/>
            <a:ext cx="1498506" cy="192755"/>
            <a:chOff x="611188" y="9429750"/>
            <a:chExt cx="3412172" cy="438912"/>
          </a:xfrm>
        </p:grpSpPr>
        <p:pic>
          <p:nvPicPr>
            <p:cNvPr id="6" name="Graphic 5">
              <a:extLst>
                <a:ext uri="{FF2B5EF4-FFF2-40B4-BE49-F238E27FC236}">
                  <a16:creationId xmlns:a16="http://schemas.microsoft.com/office/drawing/2014/main" id="{E1C5C42D-E386-802C-9BDE-388377655F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7" name="MS logo gray - EMF" descr="Microsoft logo, gray text version">
              <a:extLst>
                <a:ext uri="{FF2B5EF4-FFF2-40B4-BE49-F238E27FC236}">
                  <a16:creationId xmlns:a16="http://schemas.microsoft.com/office/drawing/2014/main" id="{6F455533-F7F4-F4D6-5BCA-C60EB0BB4CE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5168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rt Slide - Half">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08" y="3657536"/>
            <a:ext cx="5668184" cy="410433"/>
          </a:xfrm>
          <a:prstGeom prst="rect">
            <a:avLst/>
          </a:prstGeom>
        </p:spPr>
        <p:txBody>
          <a:bodyPr wrap="square" lIns="0" tIns="0" rIns="0" bIns="0" anchor="b" anchorCtr="0">
            <a:spAutoFit/>
          </a:bodyPr>
          <a:lstStyle>
            <a:lvl1pPr marL="0" indent="0" algn="l">
              <a:buNone/>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6141446" y="1233492"/>
            <a:ext cx="5666616"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4255755"/>
            <a:ext cx="5668184"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B2E67AA0-9F20-C79F-4E4F-F8E86F9E80B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BE38CCD6-8A76-76B0-A95F-51CFCBD237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C461B5D3-CAED-DB7C-3085-EC48B5FFBB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1240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3154576"/>
            <a:ext cx="3748491" cy="820866"/>
          </a:xfrm>
          <a:prstGeom prst="rect">
            <a:avLst/>
          </a:prstGeom>
        </p:spPr>
        <p:txBody>
          <a:bodyPr wrap="square" lIns="0" tIns="0" rIns="0" bIns="0" anchor="b" anchorCtr="0">
            <a:spAutoFit/>
          </a:bodyPr>
          <a:lstStyle>
            <a:lvl1pPr>
              <a:defRPr lang="en-US" sz="2667" b="0" kern="1200" cap="none" spc="-21" baseline="0" dirty="0" smtClean="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ext styles</a:t>
            </a:r>
          </a:p>
        </p:txBody>
      </p:sp>
      <p:sp>
        <p:nvSpPr>
          <p:cNvPr id="28" name="Chart Placeholder 4">
            <a:extLst>
              <a:ext uri="{FF2B5EF4-FFF2-40B4-BE49-F238E27FC236}">
                <a16:creationId xmlns:a16="http://schemas.microsoft.com/office/drawing/2014/main" id="{E4CDC734-ED0F-5562-F292-C80AAEB5EEAC}"/>
              </a:ext>
            </a:extLst>
          </p:cNvPr>
          <p:cNvSpPr>
            <a:spLocks noGrp="1"/>
          </p:cNvSpPr>
          <p:nvPr>
            <p:ph type="chart" sz="quarter" idx="10"/>
          </p:nvPr>
        </p:nvSpPr>
        <p:spPr>
          <a:xfrm>
            <a:off x="4221754" y="1233492"/>
            <a:ext cx="7586308" cy="5053011"/>
          </a:xfrm>
          <a:prstGeom prst="rect">
            <a:avLst/>
          </a:prstGeom>
        </p:spPr>
        <p:txBody>
          <a:bodyPr/>
          <a:lstStyle>
            <a:lvl1pPr>
              <a:defRPr>
                <a:solidFill>
                  <a:srgbClr val="2A446F"/>
                </a:solidFill>
              </a:defRPr>
            </a:lvl1pPr>
          </a:lstStyle>
          <a:p>
            <a:r>
              <a:rPr lang="en-US"/>
              <a:t>Click icon to add chart</a:t>
            </a:r>
            <a:endParaRPr lang="en-GB"/>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4255755"/>
            <a:ext cx="3748491" cy="307777"/>
          </a:xfrm>
          <a:prstGeom prst="rect">
            <a:avLst/>
          </a:prstGeom>
        </p:spPr>
        <p:txBody>
          <a:bodyPr wrap="square" lIns="0" tIns="0" rIns="0" bIns="0" anchor="t" anchorCtr="0">
            <a:spAutoFit/>
          </a:bodyPr>
          <a:lstStyle>
            <a:lvl1pPr marL="0" indent="0" algn="l">
              <a:buNone/>
              <a:defRPr lang="en-US" sz="2000" kern="1200" spc="0" baseline="0" dirty="0" smtClean="0">
                <a:solidFill>
                  <a:srgbClr val="2A446F"/>
                </a:solidFill>
                <a:latin typeface="+mn-lt"/>
                <a:ea typeface="+mn-ea"/>
                <a:cs typeface="Segoe UI" panose="020B0502040204020203" pitchFamily="34" charset="0"/>
              </a:defRPr>
            </a:lvl1pPr>
            <a:lvl2pPr marL="361060" indent="0">
              <a:buNone/>
              <a:defRPr/>
            </a:lvl2pPr>
            <a:lvl3pPr marL="722119" indent="0">
              <a:buNone/>
              <a:defRPr/>
            </a:lvl3pPr>
            <a:lvl4pPr marL="1045570" indent="0">
              <a:buNone/>
              <a:defRPr/>
            </a:lvl4pPr>
            <a:lvl5pPr marL="1351468" indent="0">
              <a:buNone/>
              <a:defRPr/>
            </a:lvl5pPr>
          </a:lstStyle>
          <a:p>
            <a:pPr marL="0" marR="0" lvl="0" indent="0" algn="l" defTabSz="373183"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grpSp>
        <p:nvGrpSpPr>
          <p:cNvPr id="3" name="Group 2">
            <a:extLst>
              <a:ext uri="{FF2B5EF4-FFF2-40B4-BE49-F238E27FC236}">
                <a16:creationId xmlns:a16="http://schemas.microsoft.com/office/drawing/2014/main" id="{9156FECA-7FB1-206B-2FE0-2DA36DD8C415}"/>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FCD5BC36-E170-2D22-C37B-F1B47DCE91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CDAEED7-27C1-32D9-BF71-DC2AB71738B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713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slide - Mini Charts/don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3"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3"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FD1CD866-91BF-97CA-8C28-F9B755E9B45C}"/>
              </a:ext>
            </a:extLst>
          </p:cNvPr>
          <p:cNvSpPr>
            <a:spLocks noGrp="1"/>
          </p:cNvSpPr>
          <p:nvPr>
            <p:ph type="body" sz="quarter" idx="15"/>
          </p:nvPr>
        </p:nvSpPr>
        <p:spPr>
          <a:xfrm>
            <a:off x="3261649"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7" name="Text Placeholder 3">
            <a:extLst>
              <a:ext uri="{FF2B5EF4-FFF2-40B4-BE49-F238E27FC236}">
                <a16:creationId xmlns:a16="http://schemas.microsoft.com/office/drawing/2014/main" id="{EFA98941-6D77-1B2E-C54C-40BBE261C18E}"/>
              </a:ext>
            </a:extLst>
          </p:cNvPr>
          <p:cNvSpPr>
            <a:spLocks noGrp="1"/>
          </p:cNvSpPr>
          <p:nvPr>
            <p:ph type="body" sz="quarter" idx="16"/>
          </p:nvPr>
        </p:nvSpPr>
        <p:spPr>
          <a:xfrm>
            <a:off x="3261649"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4201D11C-D3B4-5FDF-4C51-D95247349A8A}"/>
              </a:ext>
            </a:extLst>
          </p:cNvPr>
          <p:cNvSpPr>
            <a:spLocks noGrp="1"/>
          </p:cNvSpPr>
          <p:nvPr>
            <p:ph type="body" sz="quarter" idx="19"/>
          </p:nvPr>
        </p:nvSpPr>
        <p:spPr>
          <a:xfrm>
            <a:off x="9020202" y="3894000"/>
            <a:ext cx="2789428" cy="738664"/>
          </a:xfrm>
          <a:prstGeom prst="rect">
            <a:avLst/>
          </a:prstGeom>
        </p:spPr>
        <p:txBody>
          <a:bodyPr wrap="square" lIns="0" tIns="0" rIns="0" bIns="0" anchor="b" anchorCtr="0">
            <a:spAutoFit/>
          </a:bodyPr>
          <a:lstStyle>
            <a:lvl1pPr algn="l">
              <a:defRPr lang="en-GB" sz="2400" dirty="0">
                <a:solidFill>
                  <a:srgbClr val="2A446F"/>
                </a:solidFill>
                <a:latin typeface="+mj-lt"/>
              </a:defRPr>
            </a:lvl1pPr>
          </a:lstStyle>
          <a:p>
            <a:pPr marL="0" lvl="0" indent="0">
              <a:buNone/>
            </a:pPr>
            <a:r>
              <a:rPr lang="en-US"/>
              <a:t>Click to edit Master text styles</a:t>
            </a:r>
          </a:p>
        </p:txBody>
      </p:sp>
      <p:sp>
        <p:nvSpPr>
          <p:cNvPr id="11" name="Text Placeholder 3">
            <a:extLst>
              <a:ext uri="{FF2B5EF4-FFF2-40B4-BE49-F238E27FC236}">
                <a16:creationId xmlns:a16="http://schemas.microsoft.com/office/drawing/2014/main" id="{00C71881-9BA5-005B-9FB7-6157FC8C2243}"/>
              </a:ext>
            </a:extLst>
          </p:cNvPr>
          <p:cNvSpPr>
            <a:spLocks noGrp="1"/>
          </p:cNvSpPr>
          <p:nvPr>
            <p:ph type="body" sz="quarter" idx="20"/>
          </p:nvPr>
        </p:nvSpPr>
        <p:spPr>
          <a:xfrm>
            <a:off x="9020202" y="4912980"/>
            <a:ext cx="2789428"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3"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3" name="Chart Placeholder 4">
            <a:extLst>
              <a:ext uri="{FF2B5EF4-FFF2-40B4-BE49-F238E27FC236}">
                <a16:creationId xmlns:a16="http://schemas.microsoft.com/office/drawing/2014/main" id="{5DCE8D6B-2201-1ECE-C73F-BF7BB43685AA}"/>
              </a:ext>
            </a:extLst>
          </p:cNvPr>
          <p:cNvSpPr>
            <a:spLocks noGrp="1"/>
          </p:cNvSpPr>
          <p:nvPr>
            <p:ph type="chart" sz="quarter" idx="21"/>
          </p:nvPr>
        </p:nvSpPr>
        <p:spPr>
          <a:xfrm>
            <a:off x="3261126"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9"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sp>
        <p:nvSpPr>
          <p:cNvPr id="15" name="Chart Placeholder 4">
            <a:extLst>
              <a:ext uri="{FF2B5EF4-FFF2-40B4-BE49-F238E27FC236}">
                <a16:creationId xmlns:a16="http://schemas.microsoft.com/office/drawing/2014/main" id="{D893C9BF-138B-E8FA-38D2-1C7DBD159E93}"/>
              </a:ext>
            </a:extLst>
          </p:cNvPr>
          <p:cNvSpPr>
            <a:spLocks noGrp="1"/>
          </p:cNvSpPr>
          <p:nvPr>
            <p:ph type="chart" sz="quarter" idx="23"/>
          </p:nvPr>
        </p:nvSpPr>
        <p:spPr>
          <a:xfrm>
            <a:off x="9018634" y="1233488"/>
            <a:ext cx="2789428" cy="2687976"/>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52A03BA7-2FDF-86F9-320C-CEBFEB45AA64}"/>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1BB8273-59AE-C6E6-C847-D33ADD6635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4A56BFED-ED4F-B553-564C-E07C22D5D43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55621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3522F-58B7-A736-E6D2-9ABD8ABCFB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CCD0235-2F17-F846-9AD1-DDD6C172E83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75BEB45-1932-A881-7745-AD5DFC5DC046}"/>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1C476113-6A60-77F0-CB68-EC0C61E0F40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95F654-1B01-506A-91F2-CB03283A3E57}"/>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10013509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hart Slide - Side by Side 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4732539"/>
            <a:ext cx="5668182" cy="430887"/>
          </a:xfrm>
          <a:prstGeom prst="rect">
            <a:avLst/>
          </a:prstGeom>
        </p:spPr>
        <p:txBody>
          <a:bodyPr wrap="square" lIns="0" tIns="0" rIns="0" bIns="0" anchor="b" anchorCtr="0">
            <a:spAutoFit/>
          </a:bodyPr>
          <a:lstStyle>
            <a:lvl1pPr>
              <a:defRPr lang="en-GB" sz="2800" dirty="0">
                <a:solidFill>
                  <a:srgbClr val="2A446F"/>
                </a:solidFill>
                <a:latin typeface="+mj-lt"/>
              </a:defRPr>
            </a:lvl1pPr>
          </a:lstStyle>
          <a:p>
            <a:pPr marL="0" lvl="0" indent="0">
              <a:buNone/>
            </a:pPr>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5316740"/>
            <a:ext cx="5668182" cy="307777"/>
          </a:xfrm>
          <a:prstGeom prst="rect">
            <a:avLst/>
          </a:prstGeom>
        </p:spPr>
        <p:txBody>
          <a:bodyPr wrap="square" lIns="0" tIns="0" rIns="0" bIns="0" anchor="b" anchorCtr="0">
            <a:spAutoFit/>
          </a:bodyPr>
          <a:lstStyle>
            <a:lvl1pPr>
              <a:defRPr lang="en-GB" sz="2000" dirty="0">
                <a:solidFill>
                  <a:srgbClr val="2A446F"/>
                </a:solidFill>
                <a:latin typeface="+mn-lt"/>
              </a:defRPr>
            </a:lvl1pPr>
          </a:lstStyle>
          <a:p>
            <a:pPr marL="0" lvl="0" indent="0">
              <a:buNone/>
            </a:pPr>
            <a:r>
              <a:rPr lang="en-US"/>
              <a:t>Click to edit Master text styles</a:t>
            </a:r>
          </a:p>
        </p:txBody>
      </p:sp>
      <p:sp>
        <p:nvSpPr>
          <p:cNvPr id="12" name="Chart Placeholder 4">
            <a:extLst>
              <a:ext uri="{FF2B5EF4-FFF2-40B4-BE49-F238E27FC236}">
                <a16:creationId xmlns:a16="http://schemas.microsoft.com/office/drawing/2014/main" id="{03801979-7E72-B137-E06C-BDA4A04BB8D2}"/>
              </a:ext>
            </a:extLst>
          </p:cNvPr>
          <p:cNvSpPr>
            <a:spLocks noGrp="1"/>
          </p:cNvSpPr>
          <p:nvPr>
            <p:ph type="chart" sz="quarter" idx="10"/>
          </p:nvPr>
        </p:nvSpPr>
        <p:spPr>
          <a:xfrm>
            <a:off x="382372"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sp>
        <p:nvSpPr>
          <p:cNvPr id="14" name="Chart Placeholder 4">
            <a:extLst>
              <a:ext uri="{FF2B5EF4-FFF2-40B4-BE49-F238E27FC236}">
                <a16:creationId xmlns:a16="http://schemas.microsoft.com/office/drawing/2014/main" id="{F1FA6097-F119-5925-F86A-6F566E330260}"/>
              </a:ext>
            </a:extLst>
          </p:cNvPr>
          <p:cNvSpPr>
            <a:spLocks noGrp="1"/>
          </p:cNvSpPr>
          <p:nvPr>
            <p:ph type="chart" sz="quarter" idx="22"/>
          </p:nvPr>
        </p:nvSpPr>
        <p:spPr>
          <a:xfrm>
            <a:off x="6139878" y="1233488"/>
            <a:ext cx="5668182" cy="3249612"/>
          </a:xfrm>
          <a:prstGeom prst="rect">
            <a:avLst/>
          </a:prstGeom>
        </p:spPr>
        <p:txBody>
          <a:bodyPr/>
          <a:lstStyle>
            <a:lvl1pPr>
              <a:defRPr>
                <a:solidFill>
                  <a:srgbClr val="2A446F"/>
                </a:solidFill>
              </a:defRPr>
            </a:lvl1pPr>
          </a:lstStyle>
          <a:p>
            <a:r>
              <a:rPr lang="en-US"/>
              <a:t>Click icon to add chart</a:t>
            </a:r>
            <a:endParaRPr lang="en-GB"/>
          </a:p>
        </p:txBody>
      </p:sp>
      <p:grpSp>
        <p:nvGrpSpPr>
          <p:cNvPr id="3" name="Group 2">
            <a:extLst>
              <a:ext uri="{FF2B5EF4-FFF2-40B4-BE49-F238E27FC236}">
                <a16:creationId xmlns:a16="http://schemas.microsoft.com/office/drawing/2014/main" id="{2E28F8E9-ABBE-ED41-C504-EDD10352AED6}"/>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13B8BBC8-4DAF-82F0-3812-20C13BC656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A2C6F210-0824-7EF9-EC27-C315CF88FF6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769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ap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2" y="421961"/>
            <a:ext cx="11425454"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grpSp>
        <p:nvGrpSpPr>
          <p:cNvPr id="414" name="Group 413">
            <a:extLst>
              <a:ext uri="{FF2B5EF4-FFF2-40B4-BE49-F238E27FC236}">
                <a16:creationId xmlns:a16="http://schemas.microsoft.com/office/drawing/2014/main" id="{E8A1976C-3BD5-CB1D-8C33-988B33BBBC21}"/>
              </a:ext>
            </a:extLst>
          </p:cNvPr>
          <p:cNvGrpSpPr/>
          <p:nvPr userDrawn="1"/>
        </p:nvGrpSpPr>
        <p:grpSpPr>
          <a:xfrm>
            <a:off x="1138809" y="1328016"/>
            <a:ext cx="9924487" cy="5168604"/>
            <a:chOff x="1708213" y="1992024"/>
            <a:chExt cx="14886731" cy="7752906"/>
          </a:xfrm>
          <a:solidFill>
            <a:schemeClr val="bg1"/>
          </a:solidFill>
          <a:effectLst>
            <a:outerShdw blurRad="215900" dist="38100" dir="8100000" algn="tr" rotWithShape="0">
              <a:prstClr val="black">
                <a:alpha val="14000"/>
              </a:prstClr>
            </a:outerShdw>
          </a:effectLst>
        </p:grpSpPr>
        <p:sp>
          <p:nvSpPr>
            <p:cNvPr id="6" name="Freeform: Shape 5">
              <a:extLst>
                <a:ext uri="{FF2B5EF4-FFF2-40B4-BE49-F238E27FC236}">
                  <a16:creationId xmlns:a16="http://schemas.microsoft.com/office/drawing/2014/main" id="{D7721AF4-6463-C31D-DF8B-09440726B6F4}"/>
                </a:ext>
              </a:extLst>
            </p:cNvPr>
            <p:cNvSpPr/>
            <p:nvPr/>
          </p:nvSpPr>
          <p:spPr>
            <a:xfrm>
              <a:off x="7962057" y="2252576"/>
              <a:ext cx="8198907" cy="6239648"/>
            </a:xfrm>
            <a:custGeom>
              <a:avLst/>
              <a:gdLst>
                <a:gd name="connsiteX0" fmla="*/ 4129773 w 5624068"/>
                <a:gd name="connsiteY0" fmla="*/ 285409 h 4280108"/>
                <a:gd name="connsiteX1" fmla="*/ 4141307 w 5624068"/>
                <a:gd name="connsiteY1" fmla="*/ 287108 h 4280108"/>
                <a:gd name="connsiteX2" fmla="*/ 4119401 w 5624068"/>
                <a:gd name="connsiteY2" fmla="*/ 304990 h 4280108"/>
                <a:gd name="connsiteX3" fmla="*/ 4166342 w 5624068"/>
                <a:gd name="connsiteY3" fmla="*/ 302039 h 4280108"/>
                <a:gd name="connsiteX4" fmla="*/ 4156507 w 5624068"/>
                <a:gd name="connsiteY4" fmla="*/ 341023 h 4280108"/>
                <a:gd name="connsiteX5" fmla="*/ 4274441 w 5624068"/>
                <a:gd name="connsiteY5" fmla="*/ 309729 h 4280108"/>
                <a:gd name="connsiteX6" fmla="*/ 4279359 w 5624068"/>
                <a:gd name="connsiteY6" fmla="*/ 327343 h 4280108"/>
                <a:gd name="connsiteX7" fmla="*/ 4279537 w 5624068"/>
                <a:gd name="connsiteY7" fmla="*/ 330204 h 4280108"/>
                <a:gd name="connsiteX8" fmla="*/ 4280163 w 5624068"/>
                <a:gd name="connsiteY8" fmla="*/ 344689 h 4280108"/>
                <a:gd name="connsiteX9" fmla="*/ 4298940 w 5624068"/>
                <a:gd name="connsiteY9" fmla="*/ 354166 h 4280108"/>
                <a:gd name="connsiteX10" fmla="*/ 4317716 w 5624068"/>
                <a:gd name="connsiteY10" fmla="*/ 352289 h 4280108"/>
                <a:gd name="connsiteX11" fmla="*/ 4437617 w 5624068"/>
                <a:gd name="connsiteY11" fmla="*/ 362750 h 4280108"/>
                <a:gd name="connsiteX12" fmla="*/ 4474991 w 5624068"/>
                <a:gd name="connsiteY12" fmla="*/ 359352 h 4280108"/>
                <a:gd name="connsiteX13" fmla="*/ 4597395 w 5624068"/>
                <a:gd name="connsiteY13" fmla="*/ 381616 h 4280108"/>
                <a:gd name="connsiteX14" fmla="*/ 4614741 w 5624068"/>
                <a:gd name="connsiteY14" fmla="*/ 409333 h 4280108"/>
                <a:gd name="connsiteX15" fmla="*/ 4663471 w 5624068"/>
                <a:gd name="connsiteY15" fmla="*/ 450910 h 4280108"/>
                <a:gd name="connsiteX16" fmla="*/ 4686092 w 5624068"/>
                <a:gd name="connsiteY16" fmla="*/ 450910 h 4280108"/>
                <a:gd name="connsiteX17" fmla="*/ 4727847 w 5624068"/>
                <a:gd name="connsiteY17" fmla="*/ 449926 h 4280108"/>
                <a:gd name="connsiteX18" fmla="*/ 4820656 w 5624068"/>
                <a:gd name="connsiteY18" fmla="*/ 459583 h 4280108"/>
                <a:gd name="connsiteX19" fmla="*/ 4847748 w 5624068"/>
                <a:gd name="connsiteY19" fmla="*/ 453234 h 4280108"/>
                <a:gd name="connsiteX20" fmla="*/ 4866167 w 5624068"/>
                <a:gd name="connsiteY20" fmla="*/ 467183 h 4280108"/>
                <a:gd name="connsiteX21" fmla="*/ 4917935 w 5624068"/>
                <a:gd name="connsiteY21" fmla="*/ 505182 h 4280108"/>
                <a:gd name="connsiteX22" fmla="*/ 4943776 w 5624068"/>
                <a:gd name="connsiteY22" fmla="*/ 486585 h 4280108"/>
                <a:gd name="connsiteX23" fmla="*/ 4925178 w 5624068"/>
                <a:gd name="connsiteY23" fmla="*/ 463517 h 4280108"/>
                <a:gd name="connsiteX24" fmla="*/ 4935818 w 5624068"/>
                <a:gd name="connsiteY24" fmla="*/ 429093 h 4280108"/>
                <a:gd name="connsiteX25" fmla="*/ 4989108 w 5624068"/>
                <a:gd name="connsiteY25" fmla="*/ 429272 h 4280108"/>
                <a:gd name="connsiteX26" fmla="*/ 5019329 w 5624068"/>
                <a:gd name="connsiteY26" fmla="*/ 449211 h 4280108"/>
                <a:gd name="connsiteX27" fmla="*/ 5049550 w 5624068"/>
                <a:gd name="connsiteY27" fmla="*/ 450641 h 4280108"/>
                <a:gd name="connsiteX28" fmla="*/ 5126444 w 5624068"/>
                <a:gd name="connsiteY28" fmla="*/ 448496 h 4280108"/>
                <a:gd name="connsiteX29" fmla="*/ 5231323 w 5624068"/>
                <a:gd name="connsiteY29" fmla="*/ 480863 h 4280108"/>
                <a:gd name="connsiteX30" fmla="*/ 5269681 w 5624068"/>
                <a:gd name="connsiteY30" fmla="*/ 508938 h 4280108"/>
                <a:gd name="connsiteX31" fmla="*/ 5293643 w 5624068"/>
                <a:gd name="connsiteY31" fmla="*/ 530844 h 4280108"/>
                <a:gd name="connsiteX32" fmla="*/ 5321718 w 5624068"/>
                <a:gd name="connsiteY32" fmla="*/ 563121 h 4280108"/>
                <a:gd name="connsiteX33" fmla="*/ 5370269 w 5624068"/>
                <a:gd name="connsiteY33" fmla="*/ 586636 h 4280108"/>
                <a:gd name="connsiteX34" fmla="*/ 5399595 w 5624068"/>
                <a:gd name="connsiteY34" fmla="*/ 596829 h 4280108"/>
                <a:gd name="connsiteX35" fmla="*/ 5439205 w 5624068"/>
                <a:gd name="connsiteY35" fmla="*/ 617752 h 4280108"/>
                <a:gd name="connsiteX36" fmla="*/ 5451455 w 5624068"/>
                <a:gd name="connsiteY36" fmla="*/ 642876 h 4280108"/>
                <a:gd name="connsiteX37" fmla="*/ 5460664 w 5624068"/>
                <a:gd name="connsiteY37" fmla="*/ 686062 h 4280108"/>
                <a:gd name="connsiteX38" fmla="*/ 5468533 w 5624068"/>
                <a:gd name="connsiteY38" fmla="*/ 651996 h 4280108"/>
                <a:gd name="connsiteX39" fmla="*/ 5483822 w 5624068"/>
                <a:gd name="connsiteY39" fmla="*/ 658344 h 4280108"/>
                <a:gd name="connsiteX40" fmla="*/ 5510020 w 5624068"/>
                <a:gd name="connsiteY40" fmla="*/ 659060 h 4280108"/>
                <a:gd name="connsiteX41" fmla="*/ 5617403 w 5624068"/>
                <a:gd name="connsiteY41" fmla="*/ 713243 h 4280108"/>
                <a:gd name="connsiteX42" fmla="*/ 5618654 w 5624068"/>
                <a:gd name="connsiteY42" fmla="*/ 735864 h 4280108"/>
                <a:gd name="connsiteX43" fmla="*/ 5545247 w 5624068"/>
                <a:gd name="connsiteY43" fmla="*/ 776189 h 4280108"/>
                <a:gd name="connsiteX44" fmla="*/ 5543012 w 5624068"/>
                <a:gd name="connsiteY44" fmla="*/ 787187 h 4280108"/>
                <a:gd name="connsiteX45" fmla="*/ 5535233 w 5624068"/>
                <a:gd name="connsiteY45" fmla="*/ 839582 h 4280108"/>
                <a:gd name="connsiteX46" fmla="*/ 5466476 w 5624068"/>
                <a:gd name="connsiteY46" fmla="*/ 814457 h 4280108"/>
                <a:gd name="connsiteX47" fmla="*/ 5439295 w 5624068"/>
                <a:gd name="connsiteY47" fmla="*/ 803728 h 4280108"/>
                <a:gd name="connsiteX48" fmla="*/ 5395214 w 5624068"/>
                <a:gd name="connsiteY48" fmla="*/ 770198 h 4280108"/>
                <a:gd name="connsiteX49" fmla="*/ 5372326 w 5624068"/>
                <a:gd name="connsiteY49" fmla="*/ 749991 h 4280108"/>
                <a:gd name="connsiteX50" fmla="*/ 5326993 w 5624068"/>
                <a:gd name="connsiteY50" fmla="*/ 735685 h 4280108"/>
                <a:gd name="connsiteX51" fmla="*/ 5329855 w 5624068"/>
                <a:gd name="connsiteY51" fmla="*/ 699295 h 4280108"/>
                <a:gd name="connsiteX52" fmla="*/ 5309111 w 5624068"/>
                <a:gd name="connsiteY52" fmla="*/ 692231 h 4280108"/>
                <a:gd name="connsiteX53" fmla="*/ 5294359 w 5624068"/>
                <a:gd name="connsiteY53" fmla="*/ 715210 h 4280108"/>
                <a:gd name="connsiteX54" fmla="*/ 5228463 w 5624068"/>
                <a:gd name="connsiteY54" fmla="*/ 788975 h 4280108"/>
                <a:gd name="connsiteX55" fmla="*/ 5209060 w 5624068"/>
                <a:gd name="connsiteY55" fmla="*/ 789511 h 4280108"/>
                <a:gd name="connsiteX56" fmla="*/ 5187243 w 5624068"/>
                <a:gd name="connsiteY56" fmla="*/ 786739 h 4280108"/>
                <a:gd name="connsiteX57" fmla="*/ 5202175 w 5624068"/>
                <a:gd name="connsiteY57" fmla="*/ 791836 h 4280108"/>
                <a:gd name="connsiteX58" fmla="*/ 5207987 w 5624068"/>
                <a:gd name="connsiteY58" fmla="*/ 798184 h 4280108"/>
                <a:gd name="connsiteX59" fmla="*/ 5210491 w 5624068"/>
                <a:gd name="connsiteY59" fmla="*/ 807125 h 4280108"/>
                <a:gd name="connsiteX60" fmla="*/ 5251710 w 5624068"/>
                <a:gd name="connsiteY60" fmla="*/ 841996 h 4280108"/>
                <a:gd name="connsiteX61" fmla="*/ 5290514 w 5624068"/>
                <a:gd name="connsiteY61" fmla="*/ 890278 h 4280108"/>
                <a:gd name="connsiteX62" fmla="*/ 5303211 w 5624068"/>
                <a:gd name="connsiteY62" fmla="*/ 911469 h 4280108"/>
                <a:gd name="connsiteX63" fmla="*/ 5278085 w 5624068"/>
                <a:gd name="connsiteY63" fmla="*/ 925238 h 4280108"/>
                <a:gd name="connsiteX64" fmla="*/ 5151747 w 5624068"/>
                <a:gd name="connsiteY64" fmla="*/ 949021 h 4280108"/>
                <a:gd name="connsiteX65" fmla="*/ 5064214 w 5624068"/>
                <a:gd name="connsiteY65" fmla="*/ 1012057 h 4280108"/>
                <a:gd name="connsiteX66" fmla="*/ 5045080 w 5624068"/>
                <a:gd name="connsiteY66" fmla="*/ 1033962 h 4280108"/>
                <a:gd name="connsiteX67" fmla="*/ 5006453 w 5624068"/>
                <a:gd name="connsiteY67" fmla="*/ 1033426 h 4280108"/>
                <a:gd name="connsiteX68" fmla="*/ 4943419 w 5624068"/>
                <a:gd name="connsiteY68" fmla="*/ 1025290 h 4280108"/>
                <a:gd name="connsiteX69" fmla="*/ 4897550 w 5624068"/>
                <a:gd name="connsiteY69" fmla="*/ 1024574 h 4280108"/>
                <a:gd name="connsiteX70" fmla="*/ 4896567 w 5624068"/>
                <a:gd name="connsiteY70" fmla="*/ 1022518 h 4280108"/>
                <a:gd name="connsiteX71" fmla="*/ 4825842 w 5624068"/>
                <a:gd name="connsiteY71" fmla="*/ 1033247 h 4280108"/>
                <a:gd name="connsiteX72" fmla="*/ 4820209 w 5624068"/>
                <a:gd name="connsiteY72" fmla="*/ 1040579 h 4280108"/>
                <a:gd name="connsiteX73" fmla="*/ 4799108 w 5624068"/>
                <a:gd name="connsiteY73" fmla="*/ 1114880 h 4280108"/>
                <a:gd name="connsiteX74" fmla="*/ 4799823 w 5624068"/>
                <a:gd name="connsiteY74" fmla="*/ 1120602 h 4280108"/>
                <a:gd name="connsiteX75" fmla="*/ 4853113 w 5624068"/>
                <a:gd name="connsiteY75" fmla="*/ 1207957 h 4280108"/>
                <a:gd name="connsiteX76" fmla="*/ 4851950 w 5624068"/>
                <a:gd name="connsiteY76" fmla="*/ 1217077 h 4280108"/>
                <a:gd name="connsiteX77" fmla="*/ 4818242 w 5624068"/>
                <a:gd name="connsiteY77" fmla="*/ 1284404 h 4280108"/>
                <a:gd name="connsiteX78" fmla="*/ 4801254 w 5624068"/>
                <a:gd name="connsiteY78" fmla="*/ 1302644 h 4280108"/>
                <a:gd name="connsiteX79" fmla="*/ 4774788 w 5624068"/>
                <a:gd name="connsiteY79" fmla="*/ 1307920 h 4280108"/>
                <a:gd name="connsiteX80" fmla="*/ 4750468 w 5624068"/>
                <a:gd name="connsiteY80" fmla="*/ 1345115 h 4280108"/>
                <a:gd name="connsiteX81" fmla="*/ 4745193 w 5624068"/>
                <a:gd name="connsiteY81" fmla="*/ 1381684 h 4280108"/>
                <a:gd name="connsiteX82" fmla="*/ 4742868 w 5624068"/>
                <a:gd name="connsiteY82" fmla="*/ 1394470 h 4280108"/>
                <a:gd name="connsiteX83" fmla="*/ 4704242 w 5624068"/>
                <a:gd name="connsiteY83" fmla="*/ 1434437 h 4280108"/>
                <a:gd name="connsiteX84" fmla="*/ 4673395 w 5624068"/>
                <a:gd name="connsiteY84" fmla="*/ 1397599 h 4280108"/>
                <a:gd name="connsiteX85" fmla="*/ 4606426 w 5624068"/>
                <a:gd name="connsiteY85" fmla="*/ 1238536 h 4280108"/>
                <a:gd name="connsiteX86" fmla="*/ 4605085 w 5624068"/>
                <a:gd name="connsiteY86" fmla="*/ 1197228 h 4280108"/>
                <a:gd name="connsiteX87" fmla="*/ 4624219 w 5624068"/>
                <a:gd name="connsiteY87" fmla="*/ 1129365 h 4280108"/>
                <a:gd name="connsiteX88" fmla="*/ 4641297 w 5624068"/>
                <a:gd name="connsiteY88" fmla="*/ 1111214 h 4280108"/>
                <a:gd name="connsiteX89" fmla="*/ 4752704 w 5624068"/>
                <a:gd name="connsiteY89" fmla="*/ 995337 h 4280108"/>
                <a:gd name="connsiteX90" fmla="*/ 4774341 w 5624068"/>
                <a:gd name="connsiteY90" fmla="*/ 977007 h 4280108"/>
                <a:gd name="connsiteX91" fmla="*/ 4813056 w 5624068"/>
                <a:gd name="connsiteY91" fmla="*/ 929083 h 4280108"/>
                <a:gd name="connsiteX92" fmla="*/ 4818510 w 5624068"/>
                <a:gd name="connsiteY92" fmla="*/ 903690 h 4280108"/>
                <a:gd name="connsiteX93" fmla="*/ 4828167 w 5624068"/>
                <a:gd name="connsiteY93" fmla="*/ 896090 h 4280108"/>
                <a:gd name="connsiteX94" fmla="*/ 4833531 w 5624068"/>
                <a:gd name="connsiteY94" fmla="*/ 894212 h 4280108"/>
                <a:gd name="connsiteX95" fmla="*/ 4827183 w 5624068"/>
                <a:gd name="connsiteY95" fmla="*/ 893318 h 4280108"/>
                <a:gd name="connsiteX96" fmla="*/ 4801075 w 5624068"/>
                <a:gd name="connsiteY96" fmla="*/ 920767 h 4280108"/>
                <a:gd name="connsiteX97" fmla="*/ 4779080 w 5624068"/>
                <a:gd name="connsiteY97" fmla="*/ 948306 h 4280108"/>
                <a:gd name="connsiteX98" fmla="*/ 4745640 w 5624068"/>
                <a:gd name="connsiteY98" fmla="*/ 970927 h 4280108"/>
                <a:gd name="connsiteX99" fmla="*/ 4708266 w 5624068"/>
                <a:gd name="connsiteY99" fmla="*/ 980941 h 4280108"/>
                <a:gd name="connsiteX100" fmla="*/ 4682426 w 5624068"/>
                <a:gd name="connsiteY100" fmla="*/ 944372 h 4280108"/>
                <a:gd name="connsiteX101" fmla="*/ 4648270 w 5624068"/>
                <a:gd name="connsiteY101" fmla="*/ 921572 h 4280108"/>
                <a:gd name="connsiteX102" fmla="*/ 4584609 w 5624068"/>
                <a:gd name="connsiteY102" fmla="*/ 977454 h 4280108"/>
                <a:gd name="connsiteX103" fmla="*/ 4569946 w 5624068"/>
                <a:gd name="connsiteY103" fmla="*/ 994621 h 4280108"/>
                <a:gd name="connsiteX104" fmla="*/ 4568336 w 5624068"/>
                <a:gd name="connsiteY104" fmla="*/ 1029492 h 4280108"/>
                <a:gd name="connsiteX105" fmla="*/ 4556624 w 5624068"/>
                <a:gd name="connsiteY105" fmla="*/ 1058104 h 4280108"/>
                <a:gd name="connsiteX106" fmla="*/ 4495913 w 5624068"/>
                <a:gd name="connsiteY106" fmla="*/ 1064720 h 4280108"/>
                <a:gd name="connsiteX107" fmla="*/ 4476332 w 5624068"/>
                <a:gd name="connsiteY107" fmla="*/ 1065346 h 4280108"/>
                <a:gd name="connsiteX108" fmla="*/ 4450940 w 5624068"/>
                <a:gd name="connsiteY108" fmla="*/ 1073482 h 4280108"/>
                <a:gd name="connsiteX109" fmla="*/ 4457377 w 5624068"/>
                <a:gd name="connsiteY109" fmla="*/ 1052113 h 4280108"/>
                <a:gd name="connsiteX110" fmla="*/ 4456483 w 5624068"/>
                <a:gd name="connsiteY110" fmla="*/ 1050146 h 4280108"/>
                <a:gd name="connsiteX111" fmla="*/ 4453264 w 5624068"/>
                <a:gd name="connsiteY111" fmla="*/ 1049967 h 4280108"/>
                <a:gd name="connsiteX112" fmla="*/ 4420539 w 5624068"/>
                <a:gd name="connsiteY112" fmla="*/ 1035214 h 4280108"/>
                <a:gd name="connsiteX113" fmla="*/ 4384596 w 5624068"/>
                <a:gd name="connsiteY113" fmla="*/ 1038165 h 4280108"/>
                <a:gd name="connsiteX114" fmla="*/ 4274083 w 5624068"/>
                <a:gd name="connsiteY114" fmla="*/ 1046122 h 4280108"/>
                <a:gd name="connsiteX115" fmla="*/ 4172154 w 5624068"/>
                <a:gd name="connsiteY115" fmla="*/ 1075181 h 4280108"/>
                <a:gd name="connsiteX116" fmla="*/ 4072728 w 5624068"/>
                <a:gd name="connsiteY116" fmla="*/ 1212339 h 4280108"/>
                <a:gd name="connsiteX117" fmla="*/ 4041434 w 5624068"/>
                <a:gd name="connsiteY117" fmla="*/ 1240324 h 4280108"/>
                <a:gd name="connsiteX118" fmla="*/ 4108851 w 5624068"/>
                <a:gd name="connsiteY118" fmla="*/ 1277788 h 4280108"/>
                <a:gd name="connsiteX119" fmla="*/ 4124498 w 5624068"/>
                <a:gd name="connsiteY119" fmla="*/ 1272781 h 4280108"/>
                <a:gd name="connsiteX120" fmla="*/ 4170902 w 5624068"/>
                <a:gd name="connsiteY120" fmla="*/ 1270456 h 4280108"/>
                <a:gd name="connsiteX121" fmla="*/ 4222672 w 5624068"/>
                <a:gd name="connsiteY121" fmla="*/ 1335637 h 4280108"/>
                <a:gd name="connsiteX122" fmla="*/ 4230719 w 5624068"/>
                <a:gd name="connsiteY122" fmla="*/ 1432023 h 4280108"/>
                <a:gd name="connsiteX123" fmla="*/ 4241806 w 5624068"/>
                <a:gd name="connsiteY123" fmla="*/ 1492376 h 4280108"/>
                <a:gd name="connsiteX124" fmla="*/ 4223477 w 5624068"/>
                <a:gd name="connsiteY124" fmla="*/ 1575886 h 4280108"/>
                <a:gd name="connsiteX125" fmla="*/ 4196206 w 5624068"/>
                <a:gd name="connsiteY125" fmla="*/ 1629891 h 4280108"/>
                <a:gd name="connsiteX126" fmla="*/ 4135227 w 5624068"/>
                <a:gd name="connsiteY126" fmla="*/ 1744606 h 4280108"/>
                <a:gd name="connsiteX127" fmla="*/ 4087392 w 5624068"/>
                <a:gd name="connsiteY127" fmla="*/ 1755603 h 4280108"/>
                <a:gd name="connsiteX128" fmla="*/ 4054041 w 5624068"/>
                <a:gd name="connsiteY128" fmla="*/ 1749076 h 4280108"/>
                <a:gd name="connsiteX129" fmla="*/ 4030794 w 5624068"/>
                <a:gd name="connsiteY129" fmla="*/ 1790921 h 4280108"/>
                <a:gd name="connsiteX130" fmla="*/ 4000484 w 5624068"/>
                <a:gd name="connsiteY130" fmla="*/ 1845551 h 4280108"/>
                <a:gd name="connsiteX131" fmla="*/ 3997176 w 5624068"/>
                <a:gd name="connsiteY131" fmla="*/ 1875683 h 4280108"/>
                <a:gd name="connsiteX132" fmla="*/ 4027307 w 5624068"/>
                <a:gd name="connsiteY132" fmla="*/ 1909928 h 4280108"/>
                <a:gd name="connsiteX133" fmla="*/ 4071119 w 5624068"/>
                <a:gd name="connsiteY133" fmla="*/ 1991829 h 4280108"/>
                <a:gd name="connsiteX134" fmla="*/ 4054846 w 5624068"/>
                <a:gd name="connsiteY134" fmla="*/ 2024553 h 4280108"/>
                <a:gd name="connsiteX135" fmla="*/ 4026592 w 5624068"/>
                <a:gd name="connsiteY135" fmla="*/ 2040469 h 4280108"/>
                <a:gd name="connsiteX136" fmla="*/ 3971425 w 5624068"/>
                <a:gd name="connsiteY136" fmla="*/ 2020977 h 4280108"/>
                <a:gd name="connsiteX137" fmla="*/ 3962395 w 5624068"/>
                <a:gd name="connsiteY137" fmla="*/ 1979669 h 4280108"/>
                <a:gd name="connsiteX138" fmla="*/ 3916616 w 5624068"/>
                <a:gd name="connsiteY138" fmla="*/ 1925038 h 4280108"/>
                <a:gd name="connsiteX139" fmla="*/ 3900611 w 5624068"/>
                <a:gd name="connsiteY139" fmla="*/ 1895801 h 4280108"/>
                <a:gd name="connsiteX140" fmla="*/ 3844729 w 5624068"/>
                <a:gd name="connsiteY140" fmla="*/ 1865043 h 4280108"/>
                <a:gd name="connsiteX141" fmla="*/ 3802527 w 5624068"/>
                <a:gd name="connsiteY141" fmla="*/ 1879706 h 4280108"/>
                <a:gd name="connsiteX142" fmla="*/ 3793586 w 5624068"/>
                <a:gd name="connsiteY142" fmla="*/ 1827579 h 4280108"/>
                <a:gd name="connsiteX143" fmla="*/ 3789294 w 5624068"/>
                <a:gd name="connsiteY143" fmla="*/ 1817565 h 4280108"/>
                <a:gd name="connsiteX144" fmla="*/ 3748343 w 5624068"/>
                <a:gd name="connsiteY144" fmla="*/ 1855744 h 4280108"/>
                <a:gd name="connsiteX145" fmla="*/ 3739044 w 5624068"/>
                <a:gd name="connsiteY145" fmla="*/ 1868888 h 4280108"/>
                <a:gd name="connsiteX146" fmla="*/ 3720089 w 5624068"/>
                <a:gd name="connsiteY146" fmla="*/ 1893029 h 4280108"/>
                <a:gd name="connsiteX147" fmla="*/ 3782499 w 5624068"/>
                <a:gd name="connsiteY147" fmla="*/ 1917438 h 4280108"/>
                <a:gd name="connsiteX148" fmla="*/ 3853670 w 5624068"/>
                <a:gd name="connsiteY148" fmla="*/ 1926737 h 4280108"/>
                <a:gd name="connsiteX149" fmla="*/ 3845713 w 5624068"/>
                <a:gd name="connsiteY149" fmla="*/ 1955259 h 4280108"/>
                <a:gd name="connsiteX150" fmla="*/ 3806818 w 5624068"/>
                <a:gd name="connsiteY150" fmla="*/ 1984586 h 4280108"/>
                <a:gd name="connsiteX151" fmla="*/ 3806550 w 5624068"/>
                <a:gd name="connsiteY151" fmla="*/ 2030097 h 4280108"/>
                <a:gd name="connsiteX152" fmla="*/ 3877990 w 5624068"/>
                <a:gd name="connsiteY152" fmla="*/ 2110567 h 4280108"/>
                <a:gd name="connsiteX153" fmla="*/ 3889434 w 5624068"/>
                <a:gd name="connsiteY153" fmla="*/ 2164572 h 4280108"/>
                <a:gd name="connsiteX154" fmla="*/ 3910714 w 5624068"/>
                <a:gd name="connsiteY154" fmla="*/ 2209814 h 4280108"/>
                <a:gd name="connsiteX155" fmla="*/ 3806997 w 5624068"/>
                <a:gd name="connsiteY155" fmla="*/ 2409381 h 4280108"/>
                <a:gd name="connsiteX156" fmla="*/ 3774898 w 5624068"/>
                <a:gd name="connsiteY156" fmla="*/ 2424491 h 4280108"/>
                <a:gd name="connsiteX157" fmla="*/ 3669929 w 5624068"/>
                <a:gd name="connsiteY157" fmla="*/ 2467140 h 4280108"/>
                <a:gd name="connsiteX158" fmla="*/ 3651153 w 5624068"/>
                <a:gd name="connsiteY158" fmla="*/ 2484397 h 4280108"/>
                <a:gd name="connsiteX159" fmla="*/ 3614494 w 5624068"/>
                <a:gd name="connsiteY159" fmla="*/ 2485023 h 4280108"/>
                <a:gd name="connsiteX160" fmla="*/ 3558523 w 5624068"/>
                <a:gd name="connsiteY160" fmla="*/ 2482430 h 4280108"/>
                <a:gd name="connsiteX161" fmla="*/ 3535454 w 5624068"/>
                <a:gd name="connsiteY161" fmla="*/ 2505498 h 4280108"/>
                <a:gd name="connsiteX162" fmla="*/ 3528838 w 5624068"/>
                <a:gd name="connsiteY162" fmla="*/ 2541173 h 4280108"/>
                <a:gd name="connsiteX163" fmla="*/ 3594376 w 5624068"/>
                <a:gd name="connsiteY163" fmla="*/ 2616011 h 4280108"/>
                <a:gd name="connsiteX164" fmla="*/ 3665727 w 5624068"/>
                <a:gd name="connsiteY164" fmla="*/ 2765865 h 4280108"/>
                <a:gd name="connsiteX165" fmla="*/ 3645431 w 5624068"/>
                <a:gd name="connsiteY165" fmla="*/ 2801361 h 4280108"/>
                <a:gd name="connsiteX166" fmla="*/ 3571219 w 5624068"/>
                <a:gd name="connsiteY166" fmla="*/ 2853488 h 4280108"/>
                <a:gd name="connsiteX167" fmla="*/ 3527765 w 5624068"/>
                <a:gd name="connsiteY167" fmla="*/ 2837662 h 4280108"/>
                <a:gd name="connsiteX168" fmla="*/ 3497097 w 5624068"/>
                <a:gd name="connsiteY168" fmla="*/ 2798679 h 4280108"/>
                <a:gd name="connsiteX169" fmla="*/ 3397224 w 5624068"/>
                <a:gd name="connsiteY169" fmla="*/ 2734302 h 4280108"/>
                <a:gd name="connsiteX170" fmla="*/ 3398297 w 5624068"/>
                <a:gd name="connsiteY170" fmla="*/ 2751738 h 4280108"/>
                <a:gd name="connsiteX171" fmla="*/ 3396151 w 5624068"/>
                <a:gd name="connsiteY171" fmla="*/ 2766312 h 4280108"/>
                <a:gd name="connsiteX172" fmla="*/ 3453017 w 5624068"/>
                <a:gd name="connsiteY172" fmla="*/ 2898730 h 4280108"/>
                <a:gd name="connsiteX173" fmla="*/ 3537421 w 5624068"/>
                <a:gd name="connsiteY173" fmla="*/ 3009869 h 4280108"/>
                <a:gd name="connsiteX174" fmla="*/ 3556734 w 5624068"/>
                <a:gd name="connsiteY174" fmla="*/ 3043577 h 4280108"/>
                <a:gd name="connsiteX175" fmla="*/ 3560847 w 5624068"/>
                <a:gd name="connsiteY175" fmla="*/ 3085511 h 4280108"/>
                <a:gd name="connsiteX176" fmla="*/ 3520880 w 5624068"/>
                <a:gd name="connsiteY176" fmla="*/ 3085064 h 4280108"/>
                <a:gd name="connsiteX177" fmla="*/ 3476621 w 5624068"/>
                <a:gd name="connsiteY177" fmla="*/ 3057972 h 4280108"/>
                <a:gd name="connsiteX178" fmla="*/ 3462405 w 5624068"/>
                <a:gd name="connsiteY178" fmla="*/ 3028109 h 4280108"/>
                <a:gd name="connsiteX179" fmla="*/ 3442645 w 5624068"/>
                <a:gd name="connsiteY179" fmla="*/ 2991629 h 4280108"/>
                <a:gd name="connsiteX180" fmla="*/ 3401337 w 5624068"/>
                <a:gd name="connsiteY180" fmla="*/ 2916255 h 4280108"/>
                <a:gd name="connsiteX181" fmla="*/ 3378269 w 5624068"/>
                <a:gd name="connsiteY181" fmla="*/ 2889431 h 4280108"/>
                <a:gd name="connsiteX182" fmla="*/ 3358062 w 5624068"/>
                <a:gd name="connsiteY182" fmla="*/ 2885587 h 4280108"/>
                <a:gd name="connsiteX183" fmla="*/ 3352876 w 5624068"/>
                <a:gd name="connsiteY183" fmla="*/ 2813253 h 4280108"/>
                <a:gd name="connsiteX184" fmla="*/ 3340716 w 5624068"/>
                <a:gd name="connsiteY184" fmla="*/ 2780170 h 4280108"/>
                <a:gd name="connsiteX185" fmla="*/ 3307097 w 5624068"/>
                <a:gd name="connsiteY185" fmla="*/ 2701309 h 4280108"/>
                <a:gd name="connsiteX186" fmla="*/ 3286711 w 5624068"/>
                <a:gd name="connsiteY186" fmla="*/ 2634519 h 4280108"/>
                <a:gd name="connsiteX187" fmla="*/ 3239770 w 5624068"/>
                <a:gd name="connsiteY187" fmla="*/ 2641046 h 4280108"/>
                <a:gd name="connsiteX188" fmla="*/ 3238161 w 5624068"/>
                <a:gd name="connsiteY188" fmla="*/ 2642655 h 4280108"/>
                <a:gd name="connsiteX189" fmla="*/ 3238965 w 5624068"/>
                <a:gd name="connsiteY189" fmla="*/ 2644712 h 4280108"/>
                <a:gd name="connsiteX190" fmla="*/ 3197121 w 5624068"/>
                <a:gd name="connsiteY190" fmla="*/ 2643460 h 4280108"/>
                <a:gd name="connsiteX191" fmla="*/ 3200787 w 5624068"/>
                <a:gd name="connsiteY191" fmla="*/ 2601794 h 4280108"/>
                <a:gd name="connsiteX192" fmla="*/ 3120138 w 5624068"/>
                <a:gd name="connsiteY192" fmla="*/ 2516317 h 4280108"/>
                <a:gd name="connsiteX193" fmla="*/ 3095728 w 5624068"/>
                <a:gd name="connsiteY193" fmla="*/ 2464458 h 4280108"/>
                <a:gd name="connsiteX194" fmla="*/ 3073376 w 5624068"/>
                <a:gd name="connsiteY194" fmla="*/ 2463296 h 4280108"/>
                <a:gd name="connsiteX195" fmla="*/ 3056656 w 5624068"/>
                <a:gd name="connsiteY195" fmla="*/ 2465531 h 4280108"/>
                <a:gd name="connsiteX196" fmla="*/ 3023394 w 5624068"/>
                <a:gd name="connsiteY196" fmla="*/ 2469287 h 4280108"/>
                <a:gd name="connsiteX197" fmla="*/ 2972788 w 5624068"/>
                <a:gd name="connsiteY197" fmla="*/ 2495663 h 4280108"/>
                <a:gd name="connsiteX198" fmla="*/ 2945517 w 5624068"/>
                <a:gd name="connsiteY198" fmla="*/ 2530623 h 4280108"/>
                <a:gd name="connsiteX199" fmla="*/ 2873809 w 5624068"/>
                <a:gd name="connsiteY199" fmla="*/ 2608679 h 4280108"/>
                <a:gd name="connsiteX200" fmla="*/ 2862096 w 5624068"/>
                <a:gd name="connsiteY200" fmla="*/ 2642924 h 4280108"/>
                <a:gd name="connsiteX201" fmla="*/ 2827136 w 5624068"/>
                <a:gd name="connsiteY201" fmla="*/ 2696839 h 4280108"/>
                <a:gd name="connsiteX202" fmla="*/ 2826957 w 5624068"/>
                <a:gd name="connsiteY202" fmla="*/ 2725540 h 4280108"/>
                <a:gd name="connsiteX203" fmla="*/ 2833574 w 5624068"/>
                <a:gd name="connsiteY203" fmla="*/ 2742349 h 4280108"/>
                <a:gd name="connsiteX204" fmla="*/ 2834557 w 5624068"/>
                <a:gd name="connsiteY204" fmla="*/ 2770603 h 4280108"/>
                <a:gd name="connsiteX205" fmla="*/ 2833663 w 5624068"/>
                <a:gd name="connsiteY205" fmla="*/ 2817455 h 4280108"/>
                <a:gd name="connsiteX206" fmla="*/ 2830623 w 5624068"/>
                <a:gd name="connsiteY206" fmla="*/ 2838556 h 4280108"/>
                <a:gd name="connsiteX207" fmla="*/ 2791729 w 5624068"/>
                <a:gd name="connsiteY207" fmla="*/ 2894349 h 4280108"/>
                <a:gd name="connsiteX208" fmla="*/ 2731644 w 5624068"/>
                <a:gd name="connsiteY208" fmla="*/ 2889610 h 4280108"/>
                <a:gd name="connsiteX209" fmla="*/ 2725743 w 5624068"/>
                <a:gd name="connsiteY209" fmla="*/ 2874589 h 4280108"/>
                <a:gd name="connsiteX210" fmla="*/ 2716266 w 5624068"/>
                <a:gd name="connsiteY210" fmla="*/ 2847140 h 4280108"/>
                <a:gd name="connsiteX211" fmla="*/ 2670129 w 5624068"/>
                <a:gd name="connsiteY211" fmla="*/ 2771944 h 4280108"/>
                <a:gd name="connsiteX212" fmla="*/ 2659042 w 5624068"/>
                <a:gd name="connsiteY212" fmla="*/ 2745210 h 4280108"/>
                <a:gd name="connsiteX213" fmla="*/ 2612727 w 5624068"/>
                <a:gd name="connsiteY213" fmla="*/ 2678510 h 4280108"/>
                <a:gd name="connsiteX214" fmla="*/ 2591358 w 5624068"/>
                <a:gd name="connsiteY214" fmla="*/ 2608232 h 4280108"/>
                <a:gd name="connsiteX215" fmla="*/ 2580181 w 5624068"/>
                <a:gd name="connsiteY215" fmla="*/ 2579263 h 4280108"/>
                <a:gd name="connsiteX216" fmla="*/ 2558007 w 5624068"/>
                <a:gd name="connsiteY216" fmla="*/ 2497183 h 4280108"/>
                <a:gd name="connsiteX217" fmla="*/ 2548977 w 5624068"/>
                <a:gd name="connsiteY217" fmla="*/ 2480731 h 4280108"/>
                <a:gd name="connsiteX218" fmla="*/ 2538426 w 5624068"/>
                <a:gd name="connsiteY218" fmla="*/ 2503084 h 4280108"/>
                <a:gd name="connsiteX219" fmla="*/ 2472351 w 5624068"/>
                <a:gd name="connsiteY219" fmla="*/ 2491460 h 4280108"/>
                <a:gd name="connsiteX220" fmla="*/ 2459118 w 5624068"/>
                <a:gd name="connsiteY220" fmla="*/ 2477602 h 4280108"/>
                <a:gd name="connsiteX221" fmla="*/ 2461353 w 5624068"/>
                <a:gd name="connsiteY221" fmla="*/ 2449884 h 4280108"/>
                <a:gd name="connsiteX222" fmla="*/ 2442040 w 5624068"/>
                <a:gd name="connsiteY222" fmla="*/ 2438886 h 4280108"/>
                <a:gd name="connsiteX223" fmla="*/ 2363180 w 5624068"/>
                <a:gd name="connsiteY223" fmla="*/ 2384435 h 4280108"/>
                <a:gd name="connsiteX224" fmla="*/ 2257763 w 5624068"/>
                <a:gd name="connsiteY224" fmla="*/ 2369145 h 4280108"/>
                <a:gd name="connsiteX225" fmla="*/ 2239076 w 5624068"/>
                <a:gd name="connsiteY225" fmla="*/ 2373616 h 4280108"/>
                <a:gd name="connsiteX226" fmla="*/ 2178902 w 5624068"/>
                <a:gd name="connsiteY226" fmla="*/ 2379785 h 4280108"/>
                <a:gd name="connsiteX227" fmla="*/ 2118371 w 5624068"/>
                <a:gd name="connsiteY227" fmla="*/ 2376656 h 4280108"/>
                <a:gd name="connsiteX228" fmla="*/ 2076705 w 5624068"/>
                <a:gd name="connsiteY228" fmla="*/ 2345988 h 4280108"/>
                <a:gd name="connsiteX229" fmla="*/ 2052116 w 5624068"/>
                <a:gd name="connsiteY229" fmla="*/ 2332844 h 4280108"/>
                <a:gd name="connsiteX230" fmla="*/ 1968159 w 5624068"/>
                <a:gd name="connsiteY230" fmla="*/ 2322204 h 4280108"/>
                <a:gd name="connsiteX231" fmla="*/ 1944912 w 5624068"/>
                <a:gd name="connsiteY231" fmla="*/ 2310938 h 4280108"/>
                <a:gd name="connsiteX232" fmla="*/ 1890282 w 5624068"/>
                <a:gd name="connsiteY232" fmla="*/ 2265338 h 4280108"/>
                <a:gd name="connsiteX233" fmla="*/ 1848348 w 5624068"/>
                <a:gd name="connsiteY233" fmla="*/ 2236012 h 4280108"/>
                <a:gd name="connsiteX234" fmla="*/ 1850136 w 5624068"/>
                <a:gd name="connsiteY234" fmla="*/ 2283758 h 4280108"/>
                <a:gd name="connsiteX235" fmla="*/ 1859435 w 5624068"/>
                <a:gd name="connsiteY235" fmla="*/ 2300656 h 4280108"/>
                <a:gd name="connsiteX236" fmla="*/ 1912188 w 5624068"/>
                <a:gd name="connsiteY236" fmla="*/ 2374599 h 4280108"/>
                <a:gd name="connsiteX237" fmla="*/ 1931590 w 5624068"/>
                <a:gd name="connsiteY237" fmla="*/ 2350995 h 4280108"/>
                <a:gd name="connsiteX238" fmla="*/ 1950992 w 5624068"/>
                <a:gd name="connsiteY238" fmla="*/ 2373974 h 4280108"/>
                <a:gd name="connsiteX239" fmla="*/ 1951886 w 5624068"/>
                <a:gd name="connsiteY239" fmla="*/ 2380411 h 4280108"/>
                <a:gd name="connsiteX240" fmla="*/ 1960559 w 5624068"/>
                <a:gd name="connsiteY240" fmla="*/ 2413404 h 4280108"/>
                <a:gd name="connsiteX241" fmla="*/ 2015815 w 5624068"/>
                <a:gd name="connsiteY241" fmla="*/ 2394807 h 4280108"/>
                <a:gd name="connsiteX242" fmla="*/ 2045590 w 5624068"/>
                <a:gd name="connsiteY242" fmla="*/ 2351978 h 4280108"/>
                <a:gd name="connsiteX243" fmla="*/ 2071072 w 5624068"/>
                <a:gd name="connsiteY243" fmla="*/ 2339461 h 4280108"/>
                <a:gd name="connsiteX244" fmla="*/ 2078046 w 5624068"/>
                <a:gd name="connsiteY244" fmla="*/ 2367089 h 4280108"/>
                <a:gd name="connsiteX245" fmla="*/ 2111128 w 5624068"/>
                <a:gd name="connsiteY245" fmla="*/ 2410632 h 4280108"/>
                <a:gd name="connsiteX246" fmla="*/ 2190168 w 5624068"/>
                <a:gd name="connsiteY246" fmla="*/ 2464279 h 4280108"/>
                <a:gd name="connsiteX247" fmla="*/ 2192850 w 5624068"/>
                <a:gd name="connsiteY247" fmla="*/ 2493785 h 4280108"/>
                <a:gd name="connsiteX248" fmla="*/ 2095213 w 5624068"/>
                <a:gd name="connsiteY248" fmla="*/ 2637738 h 4280108"/>
                <a:gd name="connsiteX249" fmla="*/ 2070357 w 5624068"/>
                <a:gd name="connsiteY249" fmla="*/ 2658749 h 4280108"/>
                <a:gd name="connsiteX250" fmla="*/ 2044874 w 5624068"/>
                <a:gd name="connsiteY250" fmla="*/ 2670284 h 4280108"/>
                <a:gd name="connsiteX251" fmla="*/ 1932931 w 5624068"/>
                <a:gd name="connsiteY251" fmla="*/ 2741187 h 4280108"/>
                <a:gd name="connsiteX252" fmla="*/ 1796042 w 5624068"/>
                <a:gd name="connsiteY252" fmla="*/ 2800914 h 4280108"/>
                <a:gd name="connsiteX253" fmla="*/ 1737120 w 5624068"/>
                <a:gd name="connsiteY253" fmla="*/ 2773375 h 4280108"/>
                <a:gd name="connsiteX254" fmla="*/ 1719237 w 5624068"/>
                <a:gd name="connsiteY254" fmla="*/ 2721159 h 4280108"/>
                <a:gd name="connsiteX255" fmla="*/ 1655755 w 5624068"/>
                <a:gd name="connsiteY255" fmla="*/ 2596072 h 4280108"/>
                <a:gd name="connsiteX256" fmla="*/ 1582348 w 5624068"/>
                <a:gd name="connsiteY256" fmla="*/ 2481178 h 4280108"/>
                <a:gd name="connsiteX257" fmla="*/ 1570546 w 5624068"/>
                <a:gd name="connsiteY257" fmla="*/ 2465889 h 4280108"/>
                <a:gd name="connsiteX258" fmla="*/ 1454937 w 5624068"/>
                <a:gd name="connsiteY258" fmla="*/ 2326585 h 4280108"/>
                <a:gd name="connsiteX259" fmla="*/ 1444028 w 5624068"/>
                <a:gd name="connsiteY259" fmla="*/ 2298957 h 4280108"/>
                <a:gd name="connsiteX260" fmla="*/ 1433746 w 5624068"/>
                <a:gd name="connsiteY260" fmla="*/ 2346614 h 4280108"/>
                <a:gd name="connsiteX261" fmla="*/ 1474965 w 5624068"/>
                <a:gd name="connsiteY261" fmla="*/ 2404910 h 4280108"/>
                <a:gd name="connsiteX262" fmla="*/ 1499910 w 5624068"/>
                <a:gd name="connsiteY262" fmla="*/ 2452477 h 4280108"/>
                <a:gd name="connsiteX263" fmla="*/ 1511981 w 5624068"/>
                <a:gd name="connsiteY263" fmla="*/ 2478675 h 4280108"/>
                <a:gd name="connsiteX264" fmla="*/ 1558118 w 5624068"/>
                <a:gd name="connsiteY264" fmla="*/ 2570053 h 4280108"/>
                <a:gd name="connsiteX265" fmla="*/ 1592005 w 5624068"/>
                <a:gd name="connsiteY265" fmla="*/ 2627992 h 4280108"/>
                <a:gd name="connsiteX266" fmla="*/ 1612837 w 5624068"/>
                <a:gd name="connsiteY266" fmla="*/ 2660627 h 4280108"/>
                <a:gd name="connsiteX267" fmla="*/ 1669256 w 5624068"/>
                <a:gd name="connsiteY267" fmla="*/ 2731799 h 4280108"/>
                <a:gd name="connsiteX268" fmla="*/ 1743825 w 5624068"/>
                <a:gd name="connsiteY268" fmla="*/ 2789022 h 4280108"/>
                <a:gd name="connsiteX269" fmla="*/ 1755806 w 5624068"/>
                <a:gd name="connsiteY269" fmla="*/ 2820048 h 4280108"/>
                <a:gd name="connsiteX270" fmla="*/ 1814550 w 5624068"/>
                <a:gd name="connsiteY270" fmla="*/ 2857333 h 4280108"/>
                <a:gd name="connsiteX271" fmla="*/ 1954390 w 5624068"/>
                <a:gd name="connsiteY271" fmla="*/ 2814594 h 4280108"/>
                <a:gd name="connsiteX272" fmla="*/ 1987293 w 5624068"/>
                <a:gd name="connsiteY272" fmla="*/ 2840791 h 4280108"/>
                <a:gd name="connsiteX273" fmla="*/ 1983001 w 5624068"/>
                <a:gd name="connsiteY273" fmla="*/ 2889431 h 4280108"/>
                <a:gd name="connsiteX274" fmla="*/ 1965745 w 5624068"/>
                <a:gd name="connsiteY274" fmla="*/ 2938786 h 4280108"/>
                <a:gd name="connsiteX275" fmla="*/ 1957608 w 5624068"/>
                <a:gd name="connsiteY275" fmla="*/ 2969902 h 4280108"/>
                <a:gd name="connsiteX276" fmla="*/ 1931769 w 5624068"/>
                <a:gd name="connsiteY276" fmla="*/ 3025784 h 4280108"/>
                <a:gd name="connsiteX277" fmla="*/ 1791303 w 5624068"/>
                <a:gd name="connsiteY277" fmla="*/ 3188155 h 4280108"/>
                <a:gd name="connsiteX278" fmla="*/ 1683920 w 5624068"/>
                <a:gd name="connsiteY278" fmla="*/ 3341586 h 4280108"/>
                <a:gd name="connsiteX279" fmla="*/ 1680790 w 5624068"/>
                <a:gd name="connsiteY279" fmla="*/ 3357322 h 4280108"/>
                <a:gd name="connsiteX280" fmla="*/ 1726569 w 5624068"/>
                <a:gd name="connsiteY280" fmla="*/ 3506639 h 4280108"/>
                <a:gd name="connsiteX281" fmla="*/ 1736136 w 5624068"/>
                <a:gd name="connsiteY281" fmla="*/ 3594799 h 4280108"/>
                <a:gd name="connsiteX282" fmla="*/ 1737656 w 5624068"/>
                <a:gd name="connsiteY282" fmla="*/ 3639773 h 4280108"/>
                <a:gd name="connsiteX283" fmla="*/ 1729072 w 5624068"/>
                <a:gd name="connsiteY283" fmla="*/ 3669369 h 4280108"/>
                <a:gd name="connsiteX284" fmla="*/ 1686781 w 5624068"/>
                <a:gd name="connsiteY284" fmla="*/ 3704596 h 4280108"/>
                <a:gd name="connsiteX285" fmla="*/ 1601214 w 5624068"/>
                <a:gd name="connsiteY285" fmla="*/ 3768883 h 4280108"/>
                <a:gd name="connsiteX286" fmla="*/ 1579934 w 5624068"/>
                <a:gd name="connsiteY286" fmla="*/ 3843363 h 4280108"/>
                <a:gd name="connsiteX287" fmla="*/ 1586461 w 5624068"/>
                <a:gd name="connsiteY287" fmla="*/ 3871886 h 4280108"/>
                <a:gd name="connsiteX288" fmla="*/ 1586550 w 5624068"/>
                <a:gd name="connsiteY288" fmla="*/ 3901839 h 4280108"/>
                <a:gd name="connsiteX289" fmla="*/ 1510104 w 5624068"/>
                <a:gd name="connsiteY289" fmla="*/ 3979358 h 4280108"/>
                <a:gd name="connsiteX290" fmla="*/ 1505812 w 5624068"/>
                <a:gd name="connsiteY290" fmla="*/ 4017537 h 4280108"/>
                <a:gd name="connsiteX291" fmla="*/ 1408711 w 5624068"/>
                <a:gd name="connsiteY291" fmla="*/ 4151386 h 4280108"/>
                <a:gd name="connsiteX292" fmla="*/ 1391276 w 5624068"/>
                <a:gd name="connsiteY292" fmla="*/ 4165781 h 4280108"/>
                <a:gd name="connsiteX293" fmla="*/ 1234806 w 5624068"/>
                <a:gd name="connsiteY293" fmla="*/ 4250275 h 4280108"/>
                <a:gd name="connsiteX294" fmla="*/ 1175526 w 5624068"/>
                <a:gd name="connsiteY294" fmla="*/ 4255551 h 4280108"/>
                <a:gd name="connsiteX295" fmla="*/ 1153977 w 5624068"/>
                <a:gd name="connsiteY295" fmla="*/ 4261720 h 4280108"/>
                <a:gd name="connsiteX296" fmla="*/ 1037474 w 5624068"/>
                <a:gd name="connsiteY296" fmla="*/ 4220412 h 4280108"/>
                <a:gd name="connsiteX297" fmla="*/ 1045342 w 5624068"/>
                <a:gd name="connsiteY297" fmla="*/ 4184290 h 4280108"/>
                <a:gd name="connsiteX298" fmla="*/ 974976 w 5624068"/>
                <a:gd name="connsiteY298" fmla="*/ 4072704 h 4280108"/>
                <a:gd name="connsiteX299" fmla="*/ 965229 w 5624068"/>
                <a:gd name="connsiteY299" fmla="*/ 4056074 h 4280108"/>
                <a:gd name="connsiteX300" fmla="*/ 935455 w 5624068"/>
                <a:gd name="connsiteY300" fmla="*/ 3929914 h 4280108"/>
                <a:gd name="connsiteX301" fmla="*/ 930270 w 5624068"/>
                <a:gd name="connsiteY301" fmla="*/ 3888516 h 4280108"/>
                <a:gd name="connsiteX302" fmla="*/ 864374 w 5624068"/>
                <a:gd name="connsiteY302" fmla="*/ 3789895 h 4280108"/>
                <a:gd name="connsiteX303" fmla="*/ 859724 w 5624068"/>
                <a:gd name="connsiteY303" fmla="*/ 3775053 h 4280108"/>
                <a:gd name="connsiteX304" fmla="*/ 859992 w 5624068"/>
                <a:gd name="connsiteY304" fmla="*/ 3719528 h 4280108"/>
                <a:gd name="connsiteX305" fmla="*/ 863569 w 5624068"/>
                <a:gd name="connsiteY305" fmla="*/ 3675627 h 4280108"/>
                <a:gd name="connsiteX306" fmla="*/ 903357 w 5624068"/>
                <a:gd name="connsiteY306" fmla="*/ 3597929 h 4280108"/>
                <a:gd name="connsiteX307" fmla="*/ 914623 w 5624068"/>
                <a:gd name="connsiteY307" fmla="*/ 3558945 h 4280108"/>
                <a:gd name="connsiteX308" fmla="*/ 893432 w 5624068"/>
                <a:gd name="connsiteY308" fmla="*/ 3498592 h 4280108"/>
                <a:gd name="connsiteX309" fmla="*/ 890839 w 5624068"/>
                <a:gd name="connsiteY309" fmla="*/ 3451025 h 4280108"/>
                <a:gd name="connsiteX310" fmla="*/ 870185 w 5624068"/>
                <a:gd name="connsiteY310" fmla="*/ 3417764 h 4280108"/>
                <a:gd name="connsiteX311" fmla="*/ 805183 w 5624068"/>
                <a:gd name="connsiteY311" fmla="*/ 3333091 h 4280108"/>
                <a:gd name="connsiteX312" fmla="*/ 768793 w 5624068"/>
                <a:gd name="connsiteY312" fmla="*/ 3284899 h 4280108"/>
                <a:gd name="connsiteX313" fmla="*/ 768614 w 5624068"/>
                <a:gd name="connsiteY313" fmla="*/ 3242518 h 4280108"/>
                <a:gd name="connsiteX314" fmla="*/ 791235 w 5624068"/>
                <a:gd name="connsiteY314" fmla="*/ 3147026 h 4280108"/>
                <a:gd name="connsiteX315" fmla="*/ 784350 w 5624068"/>
                <a:gd name="connsiteY315" fmla="*/ 3119040 h 4280108"/>
                <a:gd name="connsiteX316" fmla="*/ 713447 w 5624068"/>
                <a:gd name="connsiteY316" fmla="*/ 3103661 h 4280108"/>
                <a:gd name="connsiteX317" fmla="*/ 665880 w 5624068"/>
                <a:gd name="connsiteY317" fmla="*/ 3086226 h 4280108"/>
                <a:gd name="connsiteX318" fmla="*/ 638251 w 5624068"/>
                <a:gd name="connsiteY318" fmla="*/ 3054843 h 4280108"/>
                <a:gd name="connsiteX319" fmla="*/ 599447 w 5624068"/>
                <a:gd name="connsiteY319" fmla="*/ 3046706 h 4280108"/>
                <a:gd name="connsiteX320" fmla="*/ 484374 w 5624068"/>
                <a:gd name="connsiteY320" fmla="*/ 3090697 h 4280108"/>
                <a:gd name="connsiteX321" fmla="*/ 431174 w 5624068"/>
                <a:gd name="connsiteY321" fmla="*/ 3095614 h 4280108"/>
                <a:gd name="connsiteX322" fmla="*/ 359198 w 5624068"/>
                <a:gd name="connsiteY322" fmla="*/ 3102678 h 4280108"/>
                <a:gd name="connsiteX323" fmla="*/ 347217 w 5624068"/>
                <a:gd name="connsiteY323" fmla="*/ 3107685 h 4280108"/>
                <a:gd name="connsiteX324" fmla="*/ 213725 w 5624068"/>
                <a:gd name="connsiteY324" fmla="*/ 3074692 h 4280108"/>
                <a:gd name="connsiteX325" fmla="*/ 181627 w 5624068"/>
                <a:gd name="connsiteY325" fmla="*/ 3044829 h 4280108"/>
                <a:gd name="connsiteX326" fmla="*/ 116446 w 5624068"/>
                <a:gd name="connsiteY326" fmla="*/ 2983492 h 4280108"/>
                <a:gd name="connsiteX327" fmla="*/ 37138 w 5624068"/>
                <a:gd name="connsiteY327" fmla="*/ 2882547 h 4280108"/>
                <a:gd name="connsiteX328" fmla="*/ 16305 w 5624068"/>
                <a:gd name="connsiteY328" fmla="*/ 2843563 h 4280108"/>
                <a:gd name="connsiteX329" fmla="*/ 5307 w 5624068"/>
                <a:gd name="connsiteY329" fmla="*/ 2803149 h 4280108"/>
                <a:gd name="connsiteX330" fmla="*/ 2982 w 5624068"/>
                <a:gd name="connsiteY330" fmla="*/ 2781869 h 4280108"/>
                <a:gd name="connsiteX331" fmla="*/ 30968 w 5624068"/>
                <a:gd name="connsiteY331" fmla="*/ 2698180 h 4280108"/>
                <a:gd name="connsiteX332" fmla="*/ 10940 w 5624068"/>
                <a:gd name="connsiteY332" fmla="*/ 2606623 h 4280108"/>
                <a:gd name="connsiteX333" fmla="*/ 6916 w 5624068"/>
                <a:gd name="connsiteY333" fmla="*/ 2571931 h 4280108"/>
                <a:gd name="connsiteX334" fmla="*/ 33025 w 5624068"/>
                <a:gd name="connsiteY334" fmla="*/ 2513724 h 4280108"/>
                <a:gd name="connsiteX335" fmla="*/ 42592 w 5624068"/>
                <a:gd name="connsiteY335" fmla="*/ 2483056 h 4280108"/>
                <a:gd name="connsiteX336" fmla="*/ 114032 w 5624068"/>
                <a:gd name="connsiteY336" fmla="*/ 2363781 h 4280108"/>
                <a:gd name="connsiteX337" fmla="*/ 143448 w 5624068"/>
                <a:gd name="connsiteY337" fmla="*/ 2341696 h 4280108"/>
                <a:gd name="connsiteX338" fmla="*/ 215514 w 5624068"/>
                <a:gd name="connsiteY338" fmla="*/ 2276157 h 4280108"/>
                <a:gd name="connsiteX339" fmla="*/ 211848 w 5624068"/>
                <a:gd name="connsiteY339" fmla="*/ 2240035 h 4280108"/>
                <a:gd name="connsiteX340" fmla="*/ 215692 w 5624068"/>
                <a:gd name="connsiteY340" fmla="*/ 2202125 h 4280108"/>
                <a:gd name="connsiteX341" fmla="*/ 231608 w 5624068"/>
                <a:gd name="connsiteY341" fmla="*/ 2174228 h 4280108"/>
                <a:gd name="connsiteX342" fmla="*/ 303226 w 5624068"/>
                <a:gd name="connsiteY342" fmla="*/ 2111104 h 4280108"/>
                <a:gd name="connsiteX343" fmla="*/ 309217 w 5624068"/>
                <a:gd name="connsiteY343" fmla="*/ 2098050 h 4280108"/>
                <a:gd name="connsiteX344" fmla="*/ 329245 w 5624068"/>
                <a:gd name="connsiteY344" fmla="*/ 2067739 h 4280108"/>
                <a:gd name="connsiteX345" fmla="*/ 425809 w 5624068"/>
                <a:gd name="connsiteY345" fmla="*/ 2070332 h 4280108"/>
                <a:gd name="connsiteX346" fmla="*/ 484374 w 5624068"/>
                <a:gd name="connsiteY346" fmla="*/ 2037518 h 4280108"/>
                <a:gd name="connsiteX347" fmla="*/ 525950 w 5624068"/>
                <a:gd name="connsiteY347" fmla="*/ 2019993 h 4280108"/>
                <a:gd name="connsiteX348" fmla="*/ 684656 w 5624068"/>
                <a:gd name="connsiteY348" fmla="*/ 2010247 h 4280108"/>
                <a:gd name="connsiteX349" fmla="*/ 718722 w 5624068"/>
                <a:gd name="connsiteY349" fmla="*/ 2001127 h 4280108"/>
                <a:gd name="connsiteX350" fmla="*/ 779164 w 5624068"/>
                <a:gd name="connsiteY350" fmla="*/ 2037428 h 4280108"/>
                <a:gd name="connsiteX351" fmla="*/ 787032 w 5624068"/>
                <a:gd name="connsiteY351" fmla="*/ 2115217 h 4280108"/>
                <a:gd name="connsiteX352" fmla="*/ 817521 w 5624068"/>
                <a:gd name="connsiteY352" fmla="*/ 2144454 h 4280108"/>
                <a:gd name="connsiteX353" fmla="*/ 865088 w 5624068"/>
                <a:gd name="connsiteY353" fmla="*/ 2155273 h 4280108"/>
                <a:gd name="connsiteX354" fmla="*/ 921150 w 5624068"/>
                <a:gd name="connsiteY354" fmla="*/ 2188892 h 4280108"/>
                <a:gd name="connsiteX355" fmla="*/ 1005197 w 5624068"/>
                <a:gd name="connsiteY355" fmla="*/ 2225997 h 4280108"/>
                <a:gd name="connsiteX356" fmla="*/ 1022095 w 5624068"/>
                <a:gd name="connsiteY356" fmla="*/ 2204002 h 4280108"/>
                <a:gd name="connsiteX357" fmla="*/ 1038994 w 5624068"/>
                <a:gd name="connsiteY357" fmla="*/ 2163409 h 4280108"/>
                <a:gd name="connsiteX358" fmla="*/ 1130462 w 5624068"/>
                <a:gd name="connsiteY358" fmla="*/ 2168238 h 4280108"/>
                <a:gd name="connsiteX359" fmla="*/ 1148970 w 5624068"/>
                <a:gd name="connsiteY359" fmla="*/ 2171188 h 4280108"/>
                <a:gd name="connsiteX360" fmla="*/ 1223629 w 5624068"/>
                <a:gd name="connsiteY360" fmla="*/ 2191663 h 4280108"/>
                <a:gd name="connsiteX361" fmla="*/ 1309732 w 5624068"/>
                <a:gd name="connsiteY361" fmla="*/ 2180219 h 4280108"/>
                <a:gd name="connsiteX362" fmla="*/ 1347374 w 5624068"/>
                <a:gd name="connsiteY362" fmla="*/ 2177089 h 4280108"/>
                <a:gd name="connsiteX363" fmla="*/ 1371426 w 5624068"/>
                <a:gd name="connsiteY363" fmla="*/ 2187103 h 4280108"/>
                <a:gd name="connsiteX364" fmla="*/ 1418367 w 5624068"/>
                <a:gd name="connsiteY364" fmla="*/ 2163767 h 4280108"/>
                <a:gd name="connsiteX365" fmla="*/ 1440273 w 5624068"/>
                <a:gd name="connsiteY365" fmla="*/ 2014539 h 4280108"/>
                <a:gd name="connsiteX366" fmla="*/ 1336377 w 5624068"/>
                <a:gd name="connsiteY366" fmla="*/ 2019189 h 4280108"/>
                <a:gd name="connsiteX367" fmla="*/ 1305619 w 5624068"/>
                <a:gd name="connsiteY367" fmla="*/ 2025000 h 4280108"/>
                <a:gd name="connsiteX368" fmla="*/ 1264848 w 5624068"/>
                <a:gd name="connsiteY368" fmla="*/ 2032511 h 4280108"/>
                <a:gd name="connsiteX369" fmla="*/ 1181337 w 5624068"/>
                <a:gd name="connsiteY369" fmla="*/ 1950878 h 4280108"/>
                <a:gd name="connsiteX370" fmla="*/ 1177940 w 5624068"/>
                <a:gd name="connsiteY370" fmla="*/ 1931655 h 4280108"/>
                <a:gd name="connsiteX371" fmla="*/ 1219605 w 5624068"/>
                <a:gd name="connsiteY371" fmla="*/ 1878723 h 4280108"/>
                <a:gd name="connsiteX372" fmla="*/ 1253403 w 5624068"/>
                <a:gd name="connsiteY372" fmla="*/ 1855029 h 4280108"/>
                <a:gd name="connsiteX373" fmla="*/ 1271822 w 5624068"/>
                <a:gd name="connsiteY373" fmla="*/ 1834732 h 4280108"/>
                <a:gd name="connsiteX374" fmla="*/ 1351398 w 5624068"/>
                <a:gd name="connsiteY374" fmla="*/ 1807730 h 4280108"/>
                <a:gd name="connsiteX375" fmla="*/ 1422570 w 5624068"/>
                <a:gd name="connsiteY375" fmla="*/ 1805137 h 4280108"/>
                <a:gd name="connsiteX376" fmla="*/ 1550249 w 5624068"/>
                <a:gd name="connsiteY376" fmla="*/ 1819980 h 4280108"/>
                <a:gd name="connsiteX377" fmla="*/ 1563661 w 5624068"/>
                <a:gd name="connsiteY377" fmla="*/ 1793782 h 4280108"/>
                <a:gd name="connsiteX378" fmla="*/ 1518240 w 5624068"/>
                <a:gd name="connsiteY378" fmla="*/ 1749076 h 4280108"/>
                <a:gd name="connsiteX379" fmla="*/ 1431511 w 5624068"/>
                <a:gd name="connsiteY379" fmla="*/ 1688813 h 4280108"/>
                <a:gd name="connsiteX380" fmla="*/ 1435445 w 5624068"/>
                <a:gd name="connsiteY380" fmla="*/ 1658771 h 4280108"/>
                <a:gd name="connsiteX381" fmla="*/ 1442061 w 5624068"/>
                <a:gd name="connsiteY381" fmla="*/ 1605392 h 4280108"/>
                <a:gd name="connsiteX382" fmla="*/ 1375539 w 5624068"/>
                <a:gd name="connsiteY382" fmla="*/ 1640083 h 4280108"/>
                <a:gd name="connsiteX383" fmla="*/ 1406207 w 5624068"/>
                <a:gd name="connsiteY383" fmla="*/ 1660291 h 4280108"/>
                <a:gd name="connsiteX384" fmla="*/ 1421139 w 5624068"/>
                <a:gd name="connsiteY384" fmla="*/ 1695161 h 4280108"/>
                <a:gd name="connsiteX385" fmla="*/ 1367760 w 5624068"/>
                <a:gd name="connsiteY385" fmla="*/ 1718050 h 4280108"/>
                <a:gd name="connsiteX386" fmla="*/ 1332085 w 5624068"/>
                <a:gd name="connsiteY386" fmla="*/ 1705801 h 4280108"/>
                <a:gd name="connsiteX387" fmla="*/ 1317153 w 5624068"/>
                <a:gd name="connsiteY387" fmla="*/ 1650098 h 4280108"/>
                <a:gd name="connsiteX388" fmla="*/ 1296589 w 5624068"/>
                <a:gd name="connsiteY388" fmla="*/ 1628102 h 4280108"/>
                <a:gd name="connsiteX389" fmla="*/ 1278617 w 5624068"/>
                <a:gd name="connsiteY389" fmla="*/ 1643481 h 4280108"/>
                <a:gd name="connsiteX390" fmla="*/ 1219605 w 5624068"/>
                <a:gd name="connsiteY390" fmla="*/ 1792262 h 4280108"/>
                <a:gd name="connsiteX391" fmla="*/ 1233554 w 5624068"/>
                <a:gd name="connsiteY391" fmla="*/ 1827579 h 4280108"/>
                <a:gd name="connsiteX392" fmla="*/ 1227116 w 5624068"/>
                <a:gd name="connsiteY392" fmla="*/ 1858337 h 4280108"/>
                <a:gd name="connsiteX393" fmla="*/ 1133323 w 5624068"/>
                <a:gd name="connsiteY393" fmla="*/ 1868798 h 4280108"/>
                <a:gd name="connsiteX394" fmla="*/ 1118034 w 5624068"/>
                <a:gd name="connsiteY394" fmla="*/ 1881495 h 4280108"/>
                <a:gd name="connsiteX395" fmla="*/ 1086740 w 5624068"/>
                <a:gd name="connsiteY395" fmla="*/ 1882657 h 4280108"/>
                <a:gd name="connsiteX396" fmla="*/ 1124471 w 5624068"/>
                <a:gd name="connsiteY396" fmla="*/ 1949269 h 4280108"/>
                <a:gd name="connsiteX397" fmla="*/ 1116603 w 5624068"/>
                <a:gd name="connsiteY397" fmla="*/ 1971890 h 4280108"/>
                <a:gd name="connsiteX398" fmla="*/ 1103817 w 5624068"/>
                <a:gd name="connsiteY398" fmla="*/ 1967777 h 4280108"/>
                <a:gd name="connsiteX399" fmla="*/ 1078693 w 5624068"/>
                <a:gd name="connsiteY399" fmla="*/ 1961339 h 4280108"/>
                <a:gd name="connsiteX400" fmla="*/ 989281 w 5624068"/>
                <a:gd name="connsiteY400" fmla="*/ 1858516 h 4280108"/>
                <a:gd name="connsiteX401" fmla="*/ 952801 w 5624068"/>
                <a:gd name="connsiteY401" fmla="*/ 1807730 h 4280108"/>
                <a:gd name="connsiteX402" fmla="*/ 863122 w 5624068"/>
                <a:gd name="connsiteY402" fmla="*/ 1733161 h 4280108"/>
                <a:gd name="connsiteX403" fmla="*/ 816360 w 5624068"/>
                <a:gd name="connsiteY403" fmla="*/ 1696145 h 4280108"/>
                <a:gd name="connsiteX404" fmla="*/ 807239 w 5624068"/>
                <a:gd name="connsiteY404" fmla="*/ 1702135 h 4280108"/>
                <a:gd name="connsiteX405" fmla="*/ 808938 w 5624068"/>
                <a:gd name="connsiteY405" fmla="*/ 1718050 h 4280108"/>
                <a:gd name="connsiteX406" fmla="*/ 895220 w 5624068"/>
                <a:gd name="connsiteY406" fmla="*/ 1823824 h 4280108"/>
                <a:gd name="connsiteX407" fmla="*/ 957451 w 5624068"/>
                <a:gd name="connsiteY407" fmla="*/ 1870497 h 4280108"/>
                <a:gd name="connsiteX408" fmla="*/ 949672 w 5624068"/>
                <a:gd name="connsiteY408" fmla="*/ 1898572 h 4280108"/>
                <a:gd name="connsiteX409" fmla="*/ 941178 w 5624068"/>
                <a:gd name="connsiteY409" fmla="*/ 1916812 h 4280108"/>
                <a:gd name="connsiteX410" fmla="*/ 926693 w 5624068"/>
                <a:gd name="connsiteY410" fmla="*/ 1968224 h 4280108"/>
                <a:gd name="connsiteX411" fmla="*/ 900049 w 5624068"/>
                <a:gd name="connsiteY411" fmla="*/ 1975109 h 4280108"/>
                <a:gd name="connsiteX412" fmla="*/ 894326 w 5624068"/>
                <a:gd name="connsiteY412" fmla="*/ 1951683 h 4280108"/>
                <a:gd name="connsiteX413" fmla="*/ 847296 w 5624068"/>
                <a:gd name="connsiteY413" fmla="*/ 1871570 h 4280108"/>
                <a:gd name="connsiteX414" fmla="*/ 739823 w 5624068"/>
                <a:gd name="connsiteY414" fmla="*/ 1777330 h 4280108"/>
                <a:gd name="connsiteX415" fmla="*/ 685639 w 5624068"/>
                <a:gd name="connsiteY415" fmla="*/ 1769909 h 4280108"/>
                <a:gd name="connsiteX416" fmla="*/ 603828 w 5624068"/>
                <a:gd name="connsiteY416" fmla="*/ 1789490 h 4280108"/>
                <a:gd name="connsiteX417" fmla="*/ 571103 w 5624068"/>
                <a:gd name="connsiteY417" fmla="*/ 1812201 h 4280108"/>
                <a:gd name="connsiteX418" fmla="*/ 533998 w 5624068"/>
                <a:gd name="connsiteY418" fmla="*/ 1870050 h 4280108"/>
                <a:gd name="connsiteX419" fmla="*/ 488934 w 5624068"/>
                <a:gd name="connsiteY419" fmla="*/ 1947123 h 4280108"/>
                <a:gd name="connsiteX420" fmla="*/ 411951 w 5624068"/>
                <a:gd name="connsiteY420" fmla="*/ 2040200 h 4280108"/>
                <a:gd name="connsiteX421" fmla="*/ 328172 w 5624068"/>
                <a:gd name="connsiteY421" fmla="*/ 2064967 h 4280108"/>
                <a:gd name="connsiteX422" fmla="*/ 313241 w 5624068"/>
                <a:gd name="connsiteY422" fmla="*/ 2060050 h 4280108"/>
                <a:gd name="connsiteX423" fmla="*/ 246629 w 5624068"/>
                <a:gd name="connsiteY423" fmla="*/ 2035372 h 4280108"/>
                <a:gd name="connsiteX424" fmla="*/ 234201 w 5624068"/>
                <a:gd name="connsiteY424" fmla="*/ 2004078 h 4280108"/>
                <a:gd name="connsiteX425" fmla="*/ 227137 w 5624068"/>
                <a:gd name="connsiteY425" fmla="*/ 1923071 h 4280108"/>
                <a:gd name="connsiteX426" fmla="*/ 226690 w 5624068"/>
                <a:gd name="connsiteY426" fmla="*/ 1827043 h 4280108"/>
                <a:gd name="connsiteX427" fmla="*/ 290351 w 5624068"/>
                <a:gd name="connsiteY427" fmla="*/ 1767137 h 4280108"/>
                <a:gd name="connsiteX428" fmla="*/ 396930 w 5624068"/>
                <a:gd name="connsiteY428" fmla="*/ 1775900 h 4280108"/>
                <a:gd name="connsiteX429" fmla="*/ 437344 w 5624068"/>
                <a:gd name="connsiteY429" fmla="*/ 1746394 h 4280108"/>
                <a:gd name="connsiteX430" fmla="*/ 374040 w 5624068"/>
                <a:gd name="connsiteY430" fmla="*/ 1607180 h 4280108"/>
                <a:gd name="connsiteX431" fmla="*/ 358483 w 5624068"/>
                <a:gd name="connsiteY431" fmla="*/ 1595825 h 4280108"/>
                <a:gd name="connsiteX432" fmla="*/ 355711 w 5624068"/>
                <a:gd name="connsiteY432" fmla="*/ 1581787 h 4280108"/>
                <a:gd name="connsiteX433" fmla="*/ 389330 w 5624068"/>
                <a:gd name="connsiteY433" fmla="*/ 1553712 h 4280108"/>
                <a:gd name="connsiteX434" fmla="*/ 411057 w 5624068"/>
                <a:gd name="connsiteY434" fmla="*/ 1551477 h 4280108"/>
                <a:gd name="connsiteX435" fmla="*/ 485268 w 5624068"/>
                <a:gd name="connsiteY435" fmla="*/ 1508559 h 4280108"/>
                <a:gd name="connsiteX436" fmla="*/ 554205 w 5624068"/>
                <a:gd name="connsiteY436" fmla="*/ 1435957 h 4280108"/>
                <a:gd name="connsiteX437" fmla="*/ 580760 w 5624068"/>
                <a:gd name="connsiteY437" fmla="*/ 1384277 h 4280108"/>
                <a:gd name="connsiteX438" fmla="*/ 667847 w 5624068"/>
                <a:gd name="connsiteY438" fmla="*/ 1345562 h 4280108"/>
                <a:gd name="connsiteX439" fmla="*/ 680722 w 5624068"/>
                <a:gd name="connsiteY439" fmla="*/ 1324461 h 4280108"/>
                <a:gd name="connsiteX440" fmla="*/ 674284 w 5624068"/>
                <a:gd name="connsiteY440" fmla="*/ 1284851 h 4280108"/>
                <a:gd name="connsiteX441" fmla="*/ 673301 w 5624068"/>
                <a:gd name="connsiteY441" fmla="*/ 1265628 h 4280108"/>
                <a:gd name="connsiteX442" fmla="*/ 726054 w 5624068"/>
                <a:gd name="connsiteY442" fmla="*/ 1206795 h 4280108"/>
                <a:gd name="connsiteX443" fmla="*/ 756275 w 5624068"/>
                <a:gd name="connsiteY443" fmla="*/ 1228522 h 4280108"/>
                <a:gd name="connsiteX444" fmla="*/ 746708 w 5624068"/>
                <a:gd name="connsiteY444" fmla="*/ 1257044 h 4280108"/>
                <a:gd name="connsiteX445" fmla="*/ 734190 w 5624068"/>
                <a:gd name="connsiteY445" fmla="*/ 1292630 h 4280108"/>
                <a:gd name="connsiteX446" fmla="*/ 773353 w 5624068"/>
                <a:gd name="connsiteY446" fmla="*/ 1315162 h 4280108"/>
                <a:gd name="connsiteX447" fmla="*/ 799103 w 5624068"/>
                <a:gd name="connsiteY447" fmla="*/ 1316861 h 4280108"/>
                <a:gd name="connsiteX448" fmla="*/ 880288 w 5624068"/>
                <a:gd name="connsiteY448" fmla="*/ 1305148 h 4280108"/>
                <a:gd name="connsiteX449" fmla="*/ 954500 w 5624068"/>
                <a:gd name="connsiteY449" fmla="*/ 1298889 h 4280108"/>
                <a:gd name="connsiteX450" fmla="*/ 970683 w 5624068"/>
                <a:gd name="connsiteY450" fmla="*/ 1295581 h 4280108"/>
                <a:gd name="connsiteX451" fmla="*/ 986330 w 5624068"/>
                <a:gd name="connsiteY451" fmla="*/ 1237284 h 4280108"/>
                <a:gd name="connsiteX452" fmla="*/ 994825 w 5624068"/>
                <a:gd name="connsiteY452" fmla="*/ 1190701 h 4280108"/>
                <a:gd name="connsiteX453" fmla="*/ 1061436 w 5624068"/>
                <a:gd name="connsiteY453" fmla="*/ 1182922 h 4280108"/>
                <a:gd name="connsiteX454" fmla="*/ 1057055 w 5624068"/>
                <a:gd name="connsiteY454" fmla="*/ 1141793 h 4280108"/>
                <a:gd name="connsiteX455" fmla="*/ 1061257 w 5624068"/>
                <a:gd name="connsiteY455" fmla="*/ 1084301 h 4280108"/>
                <a:gd name="connsiteX456" fmla="*/ 1110076 w 5624068"/>
                <a:gd name="connsiteY456" fmla="*/ 1070532 h 4280108"/>
                <a:gd name="connsiteX457" fmla="*/ 1188401 w 5624068"/>
                <a:gd name="connsiteY457" fmla="*/ 1049699 h 4280108"/>
                <a:gd name="connsiteX458" fmla="*/ 1102745 w 5624068"/>
                <a:gd name="connsiteY458" fmla="*/ 1046212 h 4280108"/>
                <a:gd name="connsiteX459" fmla="*/ 1076457 w 5624068"/>
                <a:gd name="connsiteY459" fmla="*/ 1058998 h 4280108"/>
                <a:gd name="connsiteX460" fmla="*/ 993394 w 5624068"/>
                <a:gd name="connsiteY460" fmla="*/ 1006066 h 4280108"/>
                <a:gd name="connsiteX461" fmla="*/ 989997 w 5624068"/>
                <a:gd name="connsiteY461" fmla="*/ 976918 h 4280108"/>
                <a:gd name="connsiteX462" fmla="*/ 1026387 w 5624068"/>
                <a:gd name="connsiteY462" fmla="*/ 869982 h 4280108"/>
                <a:gd name="connsiteX463" fmla="*/ 1063582 w 5624068"/>
                <a:gd name="connsiteY463" fmla="*/ 828852 h 4280108"/>
                <a:gd name="connsiteX464" fmla="*/ 1064566 w 5624068"/>
                <a:gd name="connsiteY464" fmla="*/ 795770 h 4280108"/>
                <a:gd name="connsiteX465" fmla="*/ 1036133 w 5624068"/>
                <a:gd name="connsiteY465" fmla="*/ 789422 h 4280108"/>
                <a:gd name="connsiteX466" fmla="*/ 998848 w 5624068"/>
                <a:gd name="connsiteY466" fmla="*/ 834575 h 4280108"/>
                <a:gd name="connsiteX467" fmla="*/ 941625 w 5624068"/>
                <a:gd name="connsiteY467" fmla="*/ 915582 h 4280108"/>
                <a:gd name="connsiteX468" fmla="*/ 926693 w 5624068"/>
                <a:gd name="connsiteY468" fmla="*/ 1027257 h 4280108"/>
                <a:gd name="connsiteX469" fmla="*/ 943056 w 5624068"/>
                <a:gd name="connsiteY469" fmla="*/ 1047553 h 4280108"/>
                <a:gd name="connsiteX470" fmla="*/ 916858 w 5624068"/>
                <a:gd name="connsiteY470" fmla="*/ 1093958 h 4280108"/>
                <a:gd name="connsiteX471" fmla="*/ 918378 w 5624068"/>
                <a:gd name="connsiteY471" fmla="*/ 1123553 h 4280108"/>
                <a:gd name="connsiteX472" fmla="*/ 901389 w 5624068"/>
                <a:gd name="connsiteY472" fmla="*/ 1175769 h 4280108"/>
                <a:gd name="connsiteX473" fmla="*/ 864731 w 5624068"/>
                <a:gd name="connsiteY473" fmla="*/ 1249087 h 4280108"/>
                <a:gd name="connsiteX474" fmla="*/ 840500 w 5624068"/>
                <a:gd name="connsiteY474" fmla="*/ 1273675 h 4280108"/>
                <a:gd name="connsiteX475" fmla="*/ 806613 w 5624068"/>
                <a:gd name="connsiteY475" fmla="*/ 1288428 h 4280108"/>
                <a:gd name="connsiteX476" fmla="*/ 790519 w 5624068"/>
                <a:gd name="connsiteY476" fmla="*/ 1263482 h 4280108"/>
                <a:gd name="connsiteX477" fmla="*/ 737856 w 5624068"/>
                <a:gd name="connsiteY477" fmla="*/ 1113539 h 4280108"/>
                <a:gd name="connsiteX478" fmla="*/ 614915 w 5624068"/>
                <a:gd name="connsiteY478" fmla="*/ 1152880 h 4280108"/>
                <a:gd name="connsiteX479" fmla="*/ 610623 w 5624068"/>
                <a:gd name="connsiteY479" fmla="*/ 1144654 h 4280108"/>
                <a:gd name="connsiteX480" fmla="*/ 604722 w 5624068"/>
                <a:gd name="connsiteY480" fmla="*/ 1099501 h 4280108"/>
                <a:gd name="connsiteX481" fmla="*/ 595602 w 5624068"/>
                <a:gd name="connsiteY481" fmla="*/ 1013308 h 4280108"/>
                <a:gd name="connsiteX482" fmla="*/ 590059 w 5624068"/>
                <a:gd name="connsiteY482" fmla="*/ 984429 h 4280108"/>
                <a:gd name="connsiteX483" fmla="*/ 597390 w 5624068"/>
                <a:gd name="connsiteY483" fmla="*/ 980226 h 4280108"/>
                <a:gd name="connsiteX484" fmla="*/ 601861 w 5624068"/>
                <a:gd name="connsiteY484" fmla="*/ 968424 h 4280108"/>
                <a:gd name="connsiteX485" fmla="*/ 608209 w 5624068"/>
                <a:gd name="connsiteY485" fmla="*/ 962165 h 4280108"/>
                <a:gd name="connsiteX486" fmla="*/ 620191 w 5624068"/>
                <a:gd name="connsiteY486" fmla="*/ 939723 h 4280108"/>
                <a:gd name="connsiteX487" fmla="*/ 673301 w 5624068"/>
                <a:gd name="connsiteY487" fmla="*/ 883393 h 4280108"/>
                <a:gd name="connsiteX488" fmla="*/ 674910 w 5624068"/>
                <a:gd name="connsiteY488" fmla="*/ 881248 h 4280108"/>
                <a:gd name="connsiteX489" fmla="*/ 735174 w 5624068"/>
                <a:gd name="connsiteY489" fmla="*/ 849775 h 4280108"/>
                <a:gd name="connsiteX490" fmla="*/ 749658 w 5624068"/>
                <a:gd name="connsiteY490" fmla="*/ 852457 h 4280108"/>
                <a:gd name="connsiteX491" fmla="*/ 745188 w 5624068"/>
                <a:gd name="connsiteY491" fmla="*/ 812848 h 4280108"/>
                <a:gd name="connsiteX492" fmla="*/ 782651 w 5624068"/>
                <a:gd name="connsiteY492" fmla="*/ 769036 h 4280108"/>
                <a:gd name="connsiteX493" fmla="*/ 794364 w 5624068"/>
                <a:gd name="connsiteY493" fmla="*/ 764476 h 4280108"/>
                <a:gd name="connsiteX494" fmla="*/ 796778 w 5624068"/>
                <a:gd name="connsiteY494" fmla="*/ 754820 h 4280108"/>
                <a:gd name="connsiteX495" fmla="*/ 800980 w 5624068"/>
                <a:gd name="connsiteY495" fmla="*/ 730053 h 4280108"/>
                <a:gd name="connsiteX496" fmla="*/ 820383 w 5624068"/>
                <a:gd name="connsiteY496" fmla="*/ 708057 h 4280108"/>
                <a:gd name="connsiteX497" fmla="*/ 823959 w 5624068"/>
                <a:gd name="connsiteY497" fmla="*/ 691337 h 4280108"/>
                <a:gd name="connsiteX498" fmla="*/ 839964 w 5624068"/>
                <a:gd name="connsiteY498" fmla="*/ 659954 h 4280108"/>
                <a:gd name="connsiteX499" fmla="*/ 858830 w 5624068"/>
                <a:gd name="connsiteY499" fmla="*/ 648867 h 4280108"/>
                <a:gd name="connsiteX500" fmla="*/ 940015 w 5624068"/>
                <a:gd name="connsiteY500" fmla="*/ 571526 h 4280108"/>
                <a:gd name="connsiteX501" fmla="*/ 967018 w 5624068"/>
                <a:gd name="connsiteY501" fmla="*/ 571168 h 4280108"/>
                <a:gd name="connsiteX502" fmla="*/ 974976 w 5624068"/>
                <a:gd name="connsiteY502" fmla="*/ 555789 h 4280108"/>
                <a:gd name="connsiteX503" fmla="*/ 1016284 w 5624068"/>
                <a:gd name="connsiteY503" fmla="*/ 549978 h 4280108"/>
                <a:gd name="connsiteX504" fmla="*/ 1034881 w 5624068"/>
                <a:gd name="connsiteY504" fmla="*/ 540947 h 4280108"/>
                <a:gd name="connsiteX505" fmla="*/ 1042749 w 5624068"/>
                <a:gd name="connsiteY505" fmla="*/ 538444 h 4280108"/>
                <a:gd name="connsiteX506" fmla="*/ 1107394 w 5624068"/>
                <a:gd name="connsiteY506" fmla="*/ 519667 h 4280108"/>
                <a:gd name="connsiteX507" fmla="*/ 1149060 w 5624068"/>
                <a:gd name="connsiteY507" fmla="*/ 524495 h 4280108"/>
                <a:gd name="connsiteX508" fmla="*/ 1198058 w 5624068"/>
                <a:gd name="connsiteY508" fmla="*/ 538801 h 4280108"/>
                <a:gd name="connsiteX509" fmla="*/ 1184020 w 5624068"/>
                <a:gd name="connsiteY509" fmla="*/ 567234 h 4280108"/>
                <a:gd name="connsiteX510" fmla="*/ 1220678 w 5624068"/>
                <a:gd name="connsiteY510" fmla="*/ 567949 h 4280108"/>
                <a:gd name="connsiteX511" fmla="*/ 1245714 w 5624068"/>
                <a:gd name="connsiteY511" fmla="*/ 570095 h 4280108"/>
                <a:gd name="connsiteX512" fmla="*/ 1303295 w 5624068"/>
                <a:gd name="connsiteY512" fmla="*/ 599959 h 4280108"/>
                <a:gd name="connsiteX513" fmla="*/ 1336020 w 5624068"/>
                <a:gd name="connsiteY513" fmla="*/ 605860 h 4280108"/>
                <a:gd name="connsiteX514" fmla="*/ 1358730 w 5624068"/>
                <a:gd name="connsiteY514" fmla="*/ 608900 h 4280108"/>
                <a:gd name="connsiteX515" fmla="*/ 1460033 w 5624068"/>
                <a:gd name="connsiteY515" fmla="*/ 683112 h 4280108"/>
                <a:gd name="connsiteX516" fmla="*/ 1467544 w 5624068"/>
                <a:gd name="connsiteY516" fmla="*/ 711902 h 4280108"/>
                <a:gd name="connsiteX517" fmla="*/ 1445012 w 5624068"/>
                <a:gd name="connsiteY517" fmla="*/ 755177 h 4280108"/>
                <a:gd name="connsiteX518" fmla="*/ 1261182 w 5624068"/>
                <a:gd name="connsiteY518" fmla="*/ 724509 h 4280108"/>
                <a:gd name="connsiteX519" fmla="*/ 1263775 w 5624068"/>
                <a:gd name="connsiteY519" fmla="*/ 731662 h 4280108"/>
                <a:gd name="connsiteX520" fmla="*/ 1322697 w 5624068"/>
                <a:gd name="connsiteY520" fmla="*/ 817050 h 4280108"/>
                <a:gd name="connsiteX521" fmla="*/ 1350951 w 5624068"/>
                <a:gd name="connsiteY521" fmla="*/ 850579 h 4280108"/>
                <a:gd name="connsiteX522" fmla="*/ 1380636 w 5624068"/>
                <a:gd name="connsiteY522" fmla="*/ 853351 h 4280108"/>
                <a:gd name="connsiteX523" fmla="*/ 1369638 w 5624068"/>
                <a:gd name="connsiteY523" fmla="*/ 830730 h 4280108"/>
                <a:gd name="connsiteX524" fmla="*/ 1361234 w 5624068"/>
                <a:gd name="connsiteY524" fmla="*/ 804711 h 4280108"/>
                <a:gd name="connsiteX525" fmla="*/ 1390560 w 5624068"/>
                <a:gd name="connsiteY525" fmla="*/ 799257 h 4280108"/>
                <a:gd name="connsiteX526" fmla="*/ 1411572 w 5624068"/>
                <a:gd name="connsiteY526" fmla="*/ 808288 h 4280108"/>
                <a:gd name="connsiteX527" fmla="*/ 1435087 w 5624068"/>
                <a:gd name="connsiteY527" fmla="*/ 785398 h 4280108"/>
                <a:gd name="connsiteX528" fmla="*/ 1449483 w 5624068"/>
                <a:gd name="connsiteY528" fmla="*/ 753568 h 4280108"/>
                <a:gd name="connsiteX529" fmla="*/ 1473623 w 5624068"/>
                <a:gd name="connsiteY529" fmla="*/ 730589 h 4280108"/>
                <a:gd name="connsiteX530" fmla="*/ 1515647 w 5624068"/>
                <a:gd name="connsiteY530" fmla="*/ 725582 h 4280108"/>
                <a:gd name="connsiteX531" fmla="*/ 1523515 w 5624068"/>
                <a:gd name="connsiteY531" fmla="*/ 723436 h 4280108"/>
                <a:gd name="connsiteX532" fmla="*/ 1513054 w 5624068"/>
                <a:gd name="connsiteY532" fmla="*/ 696970 h 4280108"/>
                <a:gd name="connsiteX533" fmla="*/ 1506169 w 5624068"/>
                <a:gd name="connsiteY533" fmla="*/ 661832 h 4280108"/>
                <a:gd name="connsiteX534" fmla="*/ 1488913 w 5624068"/>
                <a:gd name="connsiteY534" fmla="*/ 620166 h 4280108"/>
                <a:gd name="connsiteX535" fmla="*/ 1534245 w 5624068"/>
                <a:gd name="connsiteY535" fmla="*/ 618288 h 4280108"/>
                <a:gd name="connsiteX536" fmla="*/ 1562767 w 5624068"/>
                <a:gd name="connsiteY536" fmla="*/ 620434 h 4280108"/>
                <a:gd name="connsiteX537" fmla="*/ 1585209 w 5624068"/>
                <a:gd name="connsiteY537" fmla="*/ 638316 h 4280108"/>
                <a:gd name="connsiteX538" fmla="*/ 1575821 w 5624068"/>
                <a:gd name="connsiteY538" fmla="*/ 672829 h 4280108"/>
                <a:gd name="connsiteX539" fmla="*/ 1563840 w 5624068"/>
                <a:gd name="connsiteY539" fmla="*/ 684810 h 4280108"/>
                <a:gd name="connsiteX540" fmla="*/ 1580292 w 5624068"/>
                <a:gd name="connsiteY540" fmla="*/ 699384 h 4280108"/>
                <a:gd name="connsiteX541" fmla="*/ 1596922 w 5624068"/>
                <a:gd name="connsiteY541" fmla="*/ 694467 h 4280108"/>
                <a:gd name="connsiteX542" fmla="*/ 1609619 w 5624068"/>
                <a:gd name="connsiteY542" fmla="*/ 668090 h 4280108"/>
                <a:gd name="connsiteX543" fmla="*/ 1652000 w 5624068"/>
                <a:gd name="connsiteY543" fmla="*/ 629733 h 4280108"/>
                <a:gd name="connsiteX544" fmla="*/ 1738014 w 5624068"/>
                <a:gd name="connsiteY544" fmla="*/ 585742 h 4280108"/>
                <a:gd name="connsiteX545" fmla="*/ 1759562 w 5624068"/>
                <a:gd name="connsiteY545" fmla="*/ 580825 h 4280108"/>
                <a:gd name="connsiteX546" fmla="*/ 1767698 w 5624068"/>
                <a:gd name="connsiteY546" fmla="*/ 584669 h 4280108"/>
                <a:gd name="connsiteX547" fmla="*/ 1759652 w 5624068"/>
                <a:gd name="connsiteY547" fmla="*/ 634472 h 4280108"/>
                <a:gd name="connsiteX548" fmla="*/ 1781557 w 5624068"/>
                <a:gd name="connsiteY548" fmla="*/ 602373 h 4280108"/>
                <a:gd name="connsiteX549" fmla="*/ 1808291 w 5624068"/>
                <a:gd name="connsiteY549" fmla="*/ 599065 h 4280108"/>
                <a:gd name="connsiteX550" fmla="*/ 1816696 w 5624068"/>
                <a:gd name="connsiteY550" fmla="*/ 600227 h 4280108"/>
                <a:gd name="connsiteX551" fmla="*/ 1841016 w 5624068"/>
                <a:gd name="connsiteY551" fmla="*/ 589051 h 4280108"/>
                <a:gd name="connsiteX552" fmla="*/ 1849421 w 5624068"/>
                <a:gd name="connsiteY552" fmla="*/ 586458 h 4280108"/>
                <a:gd name="connsiteX553" fmla="*/ 1880894 w 5624068"/>
                <a:gd name="connsiteY553" fmla="*/ 583865 h 4280108"/>
                <a:gd name="connsiteX554" fmla="*/ 1898954 w 5624068"/>
                <a:gd name="connsiteY554" fmla="*/ 576980 h 4280108"/>
                <a:gd name="connsiteX555" fmla="*/ 1930964 w 5624068"/>
                <a:gd name="connsiteY555" fmla="*/ 545596 h 4280108"/>
                <a:gd name="connsiteX556" fmla="*/ 2018587 w 5624068"/>
                <a:gd name="connsiteY556" fmla="*/ 556684 h 4280108"/>
                <a:gd name="connsiteX557" fmla="*/ 2102992 w 5624068"/>
                <a:gd name="connsiteY557" fmla="*/ 599959 h 4280108"/>
                <a:gd name="connsiteX558" fmla="*/ 2075632 w 5624068"/>
                <a:gd name="connsiteY558" fmla="*/ 551945 h 4280108"/>
                <a:gd name="connsiteX559" fmla="*/ 2063919 w 5624068"/>
                <a:gd name="connsiteY559" fmla="*/ 546222 h 4280108"/>
                <a:gd name="connsiteX560" fmla="*/ 2050418 w 5624068"/>
                <a:gd name="connsiteY560" fmla="*/ 520651 h 4280108"/>
                <a:gd name="connsiteX561" fmla="*/ 2070535 w 5624068"/>
                <a:gd name="connsiteY561" fmla="*/ 435441 h 4280108"/>
                <a:gd name="connsiteX562" fmla="*/ 2092710 w 5624068"/>
                <a:gd name="connsiteY562" fmla="*/ 404416 h 4280108"/>
                <a:gd name="connsiteX563" fmla="*/ 2098790 w 5624068"/>
                <a:gd name="connsiteY563" fmla="*/ 362839 h 4280108"/>
                <a:gd name="connsiteX564" fmla="*/ 2153777 w 5624068"/>
                <a:gd name="connsiteY564" fmla="*/ 355686 h 4280108"/>
                <a:gd name="connsiteX565" fmla="*/ 2196606 w 5624068"/>
                <a:gd name="connsiteY565" fmla="*/ 376251 h 4280108"/>
                <a:gd name="connsiteX566" fmla="*/ 2200897 w 5624068"/>
                <a:gd name="connsiteY566" fmla="*/ 411300 h 4280108"/>
                <a:gd name="connsiteX567" fmla="*/ 2204832 w 5624068"/>
                <a:gd name="connsiteY567" fmla="*/ 447959 h 4280108"/>
                <a:gd name="connsiteX568" fmla="*/ 2213057 w 5624068"/>
                <a:gd name="connsiteY568" fmla="*/ 468881 h 4280108"/>
                <a:gd name="connsiteX569" fmla="*/ 2244798 w 5624068"/>
                <a:gd name="connsiteY569" fmla="*/ 575013 h 4280108"/>
                <a:gd name="connsiteX570" fmla="*/ 2241401 w 5624068"/>
                <a:gd name="connsiteY570" fmla="*/ 621865 h 4280108"/>
                <a:gd name="connsiteX571" fmla="*/ 2168530 w 5624068"/>
                <a:gd name="connsiteY571" fmla="*/ 697149 h 4280108"/>
                <a:gd name="connsiteX572" fmla="*/ 2259372 w 5624068"/>
                <a:gd name="connsiteY572" fmla="*/ 622043 h 4280108"/>
                <a:gd name="connsiteX573" fmla="*/ 2289504 w 5624068"/>
                <a:gd name="connsiteY573" fmla="*/ 569916 h 4280108"/>
                <a:gd name="connsiteX574" fmla="*/ 2339485 w 5624068"/>
                <a:gd name="connsiteY574" fmla="*/ 591554 h 4280108"/>
                <a:gd name="connsiteX575" fmla="*/ 2285123 w 5624068"/>
                <a:gd name="connsiteY575" fmla="*/ 564731 h 4280108"/>
                <a:gd name="connsiteX576" fmla="*/ 2229509 w 5624068"/>
                <a:gd name="connsiteY576" fmla="*/ 511888 h 4280108"/>
                <a:gd name="connsiteX577" fmla="*/ 2213504 w 5624068"/>
                <a:gd name="connsiteY577" fmla="*/ 449390 h 4280108"/>
                <a:gd name="connsiteX578" fmla="*/ 2206083 w 5624068"/>
                <a:gd name="connsiteY578" fmla="*/ 424891 h 4280108"/>
                <a:gd name="connsiteX579" fmla="*/ 2238361 w 5624068"/>
                <a:gd name="connsiteY579" fmla="*/ 369545 h 4280108"/>
                <a:gd name="connsiteX580" fmla="*/ 2251952 w 5624068"/>
                <a:gd name="connsiteY580" fmla="*/ 349338 h 4280108"/>
                <a:gd name="connsiteX581" fmla="*/ 2274930 w 5624068"/>
                <a:gd name="connsiteY581" fmla="*/ 357832 h 4280108"/>
                <a:gd name="connsiteX582" fmla="*/ 2277970 w 5624068"/>
                <a:gd name="connsiteY582" fmla="*/ 386533 h 4280108"/>
                <a:gd name="connsiteX583" fmla="*/ 2273232 w 5624068"/>
                <a:gd name="connsiteY583" fmla="*/ 397710 h 4280108"/>
                <a:gd name="connsiteX584" fmla="*/ 2283693 w 5624068"/>
                <a:gd name="connsiteY584" fmla="*/ 387875 h 4280108"/>
                <a:gd name="connsiteX585" fmla="*/ 2297462 w 5624068"/>
                <a:gd name="connsiteY585" fmla="*/ 386176 h 4280108"/>
                <a:gd name="connsiteX586" fmla="*/ 2318116 w 5624068"/>
                <a:gd name="connsiteY586" fmla="*/ 373122 h 4280108"/>
                <a:gd name="connsiteX587" fmla="*/ 2342078 w 5624068"/>
                <a:gd name="connsiteY587" fmla="*/ 353451 h 4280108"/>
                <a:gd name="connsiteX588" fmla="*/ 2389735 w 5624068"/>
                <a:gd name="connsiteY588" fmla="*/ 380185 h 4280108"/>
                <a:gd name="connsiteX589" fmla="*/ 2446600 w 5624068"/>
                <a:gd name="connsiteY589" fmla="*/ 397442 h 4280108"/>
                <a:gd name="connsiteX590" fmla="*/ 2462158 w 5624068"/>
                <a:gd name="connsiteY590" fmla="*/ 424533 h 4280108"/>
                <a:gd name="connsiteX591" fmla="*/ 2479415 w 5624068"/>
                <a:gd name="connsiteY591" fmla="*/ 505004 h 4280108"/>
                <a:gd name="connsiteX592" fmla="*/ 2470115 w 5624068"/>
                <a:gd name="connsiteY592" fmla="*/ 419794 h 4280108"/>
                <a:gd name="connsiteX593" fmla="*/ 2444723 w 5624068"/>
                <a:gd name="connsiteY593" fmla="*/ 396369 h 4280108"/>
                <a:gd name="connsiteX594" fmla="*/ 2387231 w 5624068"/>
                <a:gd name="connsiteY594" fmla="*/ 352825 h 4280108"/>
                <a:gd name="connsiteX595" fmla="*/ 2413965 w 5624068"/>
                <a:gd name="connsiteY595" fmla="*/ 291668 h 4280108"/>
                <a:gd name="connsiteX596" fmla="*/ 2448568 w 5624068"/>
                <a:gd name="connsiteY596" fmla="*/ 286929 h 4280108"/>
                <a:gd name="connsiteX597" fmla="*/ 2518755 w 5624068"/>
                <a:gd name="connsiteY597" fmla="*/ 268689 h 4280108"/>
                <a:gd name="connsiteX598" fmla="*/ 2537174 w 5624068"/>
                <a:gd name="connsiteY598" fmla="*/ 288359 h 4280108"/>
                <a:gd name="connsiteX599" fmla="*/ 2527607 w 5624068"/>
                <a:gd name="connsiteY599" fmla="*/ 300519 h 4280108"/>
                <a:gd name="connsiteX600" fmla="*/ 2538605 w 5624068"/>
                <a:gd name="connsiteY600" fmla="*/ 290505 h 4280108"/>
                <a:gd name="connsiteX601" fmla="*/ 2531452 w 5624068"/>
                <a:gd name="connsiteY601" fmla="*/ 258496 h 4280108"/>
                <a:gd name="connsiteX602" fmla="*/ 2547546 w 5624068"/>
                <a:gd name="connsiteY602" fmla="*/ 194388 h 4280108"/>
                <a:gd name="connsiteX603" fmla="*/ 2571150 w 5624068"/>
                <a:gd name="connsiteY603" fmla="*/ 177757 h 4280108"/>
                <a:gd name="connsiteX604" fmla="*/ 2626139 w 5624068"/>
                <a:gd name="connsiteY604" fmla="*/ 156746 h 4280108"/>
                <a:gd name="connsiteX605" fmla="*/ 2695522 w 5624068"/>
                <a:gd name="connsiteY605" fmla="*/ 125541 h 4280108"/>
                <a:gd name="connsiteX606" fmla="*/ 2708934 w 5624068"/>
                <a:gd name="connsiteY606" fmla="*/ 121339 h 4280108"/>
                <a:gd name="connsiteX607" fmla="*/ 2794501 w 5624068"/>
                <a:gd name="connsiteY607" fmla="*/ 128313 h 4280108"/>
                <a:gd name="connsiteX608" fmla="*/ 2819446 w 5624068"/>
                <a:gd name="connsiteY608" fmla="*/ 108106 h 4280108"/>
                <a:gd name="connsiteX609" fmla="*/ 2836524 w 5624068"/>
                <a:gd name="connsiteY609" fmla="*/ 89687 h 4280108"/>
                <a:gd name="connsiteX610" fmla="*/ 2889098 w 5624068"/>
                <a:gd name="connsiteY610" fmla="*/ 90939 h 4280108"/>
                <a:gd name="connsiteX611" fmla="*/ 2897235 w 5624068"/>
                <a:gd name="connsiteY611" fmla="*/ 29424 h 4280108"/>
                <a:gd name="connsiteX612" fmla="*/ 2902242 w 5624068"/>
                <a:gd name="connsiteY612" fmla="*/ 25221 h 4280108"/>
                <a:gd name="connsiteX613" fmla="*/ 2944355 w 5624068"/>
                <a:gd name="connsiteY613" fmla="*/ 1885 h 4280108"/>
                <a:gd name="connsiteX614" fmla="*/ 2960717 w 5624068"/>
                <a:gd name="connsiteY614" fmla="*/ 43461 h 4280108"/>
                <a:gd name="connsiteX615" fmla="*/ 2983516 w 5624068"/>
                <a:gd name="connsiteY615" fmla="*/ 60181 h 4280108"/>
                <a:gd name="connsiteX616" fmla="*/ 2997465 w 5624068"/>
                <a:gd name="connsiteY616" fmla="*/ 68318 h 4280108"/>
                <a:gd name="connsiteX617" fmla="*/ 3037789 w 5624068"/>
                <a:gd name="connsiteY617" fmla="*/ 55979 h 4280108"/>
                <a:gd name="connsiteX618" fmla="*/ 3067474 w 5624068"/>
                <a:gd name="connsiteY618" fmla="*/ 56247 h 4280108"/>
                <a:gd name="connsiteX619" fmla="*/ 3077131 w 5624068"/>
                <a:gd name="connsiteY619" fmla="*/ 58035 h 4280108"/>
                <a:gd name="connsiteX620" fmla="*/ 3124340 w 5624068"/>
                <a:gd name="connsiteY620" fmla="*/ 57678 h 4280108"/>
                <a:gd name="connsiteX621" fmla="*/ 3178345 w 5624068"/>
                <a:gd name="connsiteY621" fmla="*/ 67602 h 4280108"/>
                <a:gd name="connsiteX622" fmla="*/ 3218580 w 5624068"/>
                <a:gd name="connsiteY622" fmla="*/ 112755 h 4280108"/>
                <a:gd name="connsiteX623" fmla="*/ 3187643 w 5624068"/>
                <a:gd name="connsiteY623" fmla="*/ 132336 h 4280108"/>
                <a:gd name="connsiteX624" fmla="*/ 3185855 w 5624068"/>
                <a:gd name="connsiteY624" fmla="*/ 189470 h 4280108"/>
                <a:gd name="connsiteX625" fmla="*/ 3126486 w 5624068"/>
                <a:gd name="connsiteY625" fmla="*/ 220228 h 4280108"/>
                <a:gd name="connsiteX626" fmla="*/ 3102881 w 5624068"/>
                <a:gd name="connsiteY626" fmla="*/ 232298 h 4280108"/>
                <a:gd name="connsiteX627" fmla="*/ 3028133 w 5624068"/>
                <a:gd name="connsiteY627" fmla="*/ 269047 h 4280108"/>
                <a:gd name="connsiteX628" fmla="*/ 3010519 w 5624068"/>
                <a:gd name="connsiteY628" fmla="*/ 286929 h 4280108"/>
                <a:gd name="connsiteX629" fmla="*/ 3004260 w 5624068"/>
                <a:gd name="connsiteY629" fmla="*/ 295512 h 4280108"/>
                <a:gd name="connsiteX630" fmla="*/ 3011145 w 5624068"/>
                <a:gd name="connsiteY630" fmla="*/ 294350 h 4280108"/>
                <a:gd name="connsiteX631" fmla="*/ 3038862 w 5624068"/>
                <a:gd name="connsiteY631" fmla="*/ 272534 h 4280108"/>
                <a:gd name="connsiteX632" fmla="*/ 3073286 w 5624068"/>
                <a:gd name="connsiteY632" fmla="*/ 267169 h 4280108"/>
                <a:gd name="connsiteX633" fmla="*/ 3095102 w 5624068"/>
                <a:gd name="connsiteY633" fmla="*/ 262341 h 4280108"/>
                <a:gd name="connsiteX634" fmla="*/ 3131314 w 5624068"/>
                <a:gd name="connsiteY634" fmla="*/ 265828 h 4280108"/>
                <a:gd name="connsiteX635" fmla="*/ 3134354 w 5624068"/>
                <a:gd name="connsiteY635" fmla="*/ 262698 h 4280108"/>
                <a:gd name="connsiteX636" fmla="*/ 3120227 w 5624068"/>
                <a:gd name="connsiteY636" fmla="*/ 266096 h 4280108"/>
                <a:gd name="connsiteX637" fmla="*/ 3100289 w 5624068"/>
                <a:gd name="connsiteY637" fmla="*/ 253936 h 4280108"/>
                <a:gd name="connsiteX638" fmla="*/ 3112538 w 5624068"/>
                <a:gd name="connsiteY638" fmla="*/ 232924 h 4280108"/>
                <a:gd name="connsiteX639" fmla="*/ 3220815 w 5624068"/>
                <a:gd name="connsiteY639" fmla="*/ 234444 h 4280108"/>
                <a:gd name="connsiteX640" fmla="*/ 3227342 w 5624068"/>
                <a:gd name="connsiteY640" fmla="*/ 266096 h 4280108"/>
                <a:gd name="connsiteX641" fmla="*/ 3257474 w 5624068"/>
                <a:gd name="connsiteY641" fmla="*/ 247409 h 4280108"/>
                <a:gd name="connsiteX642" fmla="*/ 3306829 w 5624068"/>
                <a:gd name="connsiteY642" fmla="*/ 249465 h 4280108"/>
                <a:gd name="connsiteX643" fmla="*/ 3345097 w 5624068"/>
                <a:gd name="connsiteY643" fmla="*/ 246604 h 4280108"/>
                <a:gd name="connsiteX644" fmla="*/ 3359671 w 5624068"/>
                <a:gd name="connsiteY644" fmla="*/ 248571 h 4280108"/>
                <a:gd name="connsiteX645" fmla="*/ 3419487 w 5624068"/>
                <a:gd name="connsiteY645" fmla="*/ 265470 h 4280108"/>
                <a:gd name="connsiteX646" fmla="*/ 3445774 w 5624068"/>
                <a:gd name="connsiteY646" fmla="*/ 265381 h 4280108"/>
                <a:gd name="connsiteX647" fmla="*/ 3520523 w 5624068"/>
                <a:gd name="connsiteY647" fmla="*/ 220317 h 4280108"/>
                <a:gd name="connsiteX648" fmla="*/ 3587224 w 5624068"/>
                <a:gd name="connsiteY648" fmla="*/ 239720 h 4280108"/>
                <a:gd name="connsiteX649" fmla="*/ 3600278 w 5624068"/>
                <a:gd name="connsiteY649" fmla="*/ 240167 h 4280108"/>
                <a:gd name="connsiteX650" fmla="*/ 3642927 w 5624068"/>
                <a:gd name="connsiteY650" fmla="*/ 262788 h 4280108"/>
                <a:gd name="connsiteX651" fmla="*/ 3574974 w 5624068"/>
                <a:gd name="connsiteY651" fmla="*/ 310444 h 4280108"/>
                <a:gd name="connsiteX652" fmla="*/ 3634433 w 5624068"/>
                <a:gd name="connsiteY652" fmla="*/ 318759 h 4280108"/>
                <a:gd name="connsiteX653" fmla="*/ 3674400 w 5624068"/>
                <a:gd name="connsiteY653" fmla="*/ 344599 h 4280108"/>
                <a:gd name="connsiteX654" fmla="*/ 3705426 w 5624068"/>
                <a:gd name="connsiteY654" fmla="*/ 372138 h 4280108"/>
                <a:gd name="connsiteX655" fmla="*/ 3728583 w 5624068"/>
                <a:gd name="connsiteY655" fmla="*/ 378486 h 4280108"/>
                <a:gd name="connsiteX656" fmla="*/ 3733501 w 5624068"/>
                <a:gd name="connsiteY656" fmla="*/ 357922 h 4280108"/>
                <a:gd name="connsiteX657" fmla="*/ 3752456 w 5624068"/>
                <a:gd name="connsiteY657" fmla="*/ 323945 h 4280108"/>
                <a:gd name="connsiteX658" fmla="*/ 3781426 w 5624068"/>
                <a:gd name="connsiteY658" fmla="*/ 344689 h 4280108"/>
                <a:gd name="connsiteX659" fmla="*/ 3832122 w 5624068"/>
                <a:gd name="connsiteY659" fmla="*/ 350769 h 4280108"/>
                <a:gd name="connsiteX660" fmla="*/ 3837039 w 5624068"/>
                <a:gd name="connsiteY660" fmla="*/ 341202 h 4280108"/>
                <a:gd name="connsiteX661" fmla="*/ 3868602 w 5624068"/>
                <a:gd name="connsiteY661" fmla="*/ 344689 h 4280108"/>
                <a:gd name="connsiteX662" fmla="*/ 3889792 w 5624068"/>
                <a:gd name="connsiteY662" fmla="*/ 347192 h 4280108"/>
                <a:gd name="connsiteX663" fmla="*/ 3914738 w 5624068"/>
                <a:gd name="connsiteY663" fmla="*/ 354613 h 4280108"/>
                <a:gd name="connsiteX664" fmla="*/ 3949787 w 5624068"/>
                <a:gd name="connsiteY664" fmla="*/ 336731 h 4280108"/>
                <a:gd name="connsiteX665" fmla="*/ 3944333 w 5624068"/>
                <a:gd name="connsiteY665" fmla="*/ 322425 h 4280108"/>
                <a:gd name="connsiteX666" fmla="*/ 3953811 w 5624068"/>
                <a:gd name="connsiteY666" fmla="*/ 293188 h 4280108"/>
                <a:gd name="connsiteX667" fmla="*/ 3966776 w 5624068"/>
                <a:gd name="connsiteY667" fmla="*/ 287197 h 4280108"/>
                <a:gd name="connsiteX668" fmla="*/ 4033208 w 5624068"/>
                <a:gd name="connsiteY668" fmla="*/ 264397 h 4280108"/>
                <a:gd name="connsiteX669" fmla="*/ 4130309 w 5624068"/>
                <a:gd name="connsiteY669" fmla="*/ 285945 h 42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Lst>
              <a:rect l="l" t="t" r="r" b="b"/>
              <a:pathLst>
                <a:path w="5624068" h="4280108">
                  <a:moveTo>
                    <a:pt x="4129773" y="285409"/>
                  </a:moveTo>
                  <a:cubicBezTo>
                    <a:pt x="4133617" y="285945"/>
                    <a:pt x="4137463" y="286571"/>
                    <a:pt x="4141307" y="287108"/>
                  </a:cubicBezTo>
                  <a:cubicBezTo>
                    <a:pt x="4147745" y="313931"/>
                    <a:pt x="4124855" y="298284"/>
                    <a:pt x="4119401" y="304990"/>
                  </a:cubicBezTo>
                  <a:cubicBezTo>
                    <a:pt x="4133439" y="308566"/>
                    <a:pt x="4149443" y="292741"/>
                    <a:pt x="4166342" y="302039"/>
                  </a:cubicBezTo>
                  <a:cubicBezTo>
                    <a:pt x="4178502" y="318223"/>
                    <a:pt x="4159011" y="325555"/>
                    <a:pt x="4156507" y="341023"/>
                  </a:cubicBezTo>
                  <a:cubicBezTo>
                    <a:pt x="4186907" y="290863"/>
                    <a:pt x="4225533" y="278524"/>
                    <a:pt x="4274441" y="309729"/>
                  </a:cubicBezTo>
                  <a:cubicBezTo>
                    <a:pt x="4279180" y="314736"/>
                    <a:pt x="4276676" y="321799"/>
                    <a:pt x="4279359" y="327343"/>
                  </a:cubicBezTo>
                  <a:lnTo>
                    <a:pt x="4279537" y="330204"/>
                  </a:lnTo>
                  <a:cubicBezTo>
                    <a:pt x="4276051" y="335211"/>
                    <a:pt x="4271312" y="340308"/>
                    <a:pt x="4280163" y="344689"/>
                  </a:cubicBezTo>
                  <a:cubicBezTo>
                    <a:pt x="4286422" y="347818"/>
                    <a:pt x="4292681" y="351037"/>
                    <a:pt x="4298940" y="354166"/>
                  </a:cubicBezTo>
                  <a:cubicBezTo>
                    <a:pt x="4305020" y="351573"/>
                    <a:pt x="4312530" y="348712"/>
                    <a:pt x="4317716" y="352289"/>
                  </a:cubicBezTo>
                  <a:cubicBezTo>
                    <a:pt x="4355895" y="378576"/>
                    <a:pt x="4396309" y="374642"/>
                    <a:pt x="4437617" y="362750"/>
                  </a:cubicBezTo>
                  <a:cubicBezTo>
                    <a:pt x="4450135" y="362482"/>
                    <a:pt x="4462741" y="363465"/>
                    <a:pt x="4474991" y="359352"/>
                  </a:cubicBezTo>
                  <a:cubicBezTo>
                    <a:pt x="4518535" y="351305"/>
                    <a:pt x="4558591" y="363465"/>
                    <a:pt x="4597395" y="381616"/>
                  </a:cubicBezTo>
                  <a:cubicBezTo>
                    <a:pt x="4608840" y="386980"/>
                    <a:pt x="4615725" y="394491"/>
                    <a:pt x="4614741" y="409333"/>
                  </a:cubicBezTo>
                  <a:cubicBezTo>
                    <a:pt x="4612327" y="448585"/>
                    <a:pt x="4624130" y="458063"/>
                    <a:pt x="4663471" y="450910"/>
                  </a:cubicBezTo>
                  <a:cubicBezTo>
                    <a:pt x="4671071" y="449479"/>
                    <a:pt x="4678492" y="449300"/>
                    <a:pt x="4686092" y="450910"/>
                  </a:cubicBezTo>
                  <a:cubicBezTo>
                    <a:pt x="4700130" y="455470"/>
                    <a:pt x="4713988" y="454307"/>
                    <a:pt x="4727847" y="449926"/>
                  </a:cubicBezTo>
                  <a:cubicBezTo>
                    <a:pt x="4760035" y="441879"/>
                    <a:pt x="4788915" y="464858"/>
                    <a:pt x="4820656" y="459583"/>
                  </a:cubicBezTo>
                  <a:cubicBezTo>
                    <a:pt x="4830044" y="459136"/>
                    <a:pt x="4837555" y="450463"/>
                    <a:pt x="4847748" y="453234"/>
                  </a:cubicBezTo>
                  <a:cubicBezTo>
                    <a:pt x="4855527" y="455738"/>
                    <a:pt x="4861159" y="461103"/>
                    <a:pt x="4866167" y="467183"/>
                  </a:cubicBezTo>
                  <a:cubicBezTo>
                    <a:pt x="4878327" y="486585"/>
                    <a:pt x="4900322" y="493470"/>
                    <a:pt x="4917935" y="505182"/>
                  </a:cubicBezTo>
                  <a:cubicBezTo>
                    <a:pt x="4931347" y="514124"/>
                    <a:pt x="4940915" y="501070"/>
                    <a:pt x="4943776" y="486585"/>
                  </a:cubicBezTo>
                  <a:cubicBezTo>
                    <a:pt x="4942077" y="475230"/>
                    <a:pt x="4931526" y="471027"/>
                    <a:pt x="4925178" y="463517"/>
                  </a:cubicBezTo>
                  <a:cubicBezTo>
                    <a:pt x="4914360" y="447601"/>
                    <a:pt x="4913287" y="434637"/>
                    <a:pt x="4935818" y="429093"/>
                  </a:cubicBezTo>
                  <a:cubicBezTo>
                    <a:pt x="4953522" y="427573"/>
                    <a:pt x="4971315" y="427484"/>
                    <a:pt x="4989108" y="429272"/>
                  </a:cubicBezTo>
                  <a:cubicBezTo>
                    <a:pt x="5002072" y="431507"/>
                    <a:pt x="5012444" y="437766"/>
                    <a:pt x="5019329" y="449211"/>
                  </a:cubicBezTo>
                  <a:cubicBezTo>
                    <a:pt x="5029343" y="449658"/>
                    <a:pt x="5039447" y="450194"/>
                    <a:pt x="5049550" y="450641"/>
                  </a:cubicBezTo>
                  <a:cubicBezTo>
                    <a:pt x="5075479" y="460119"/>
                    <a:pt x="5100693" y="443846"/>
                    <a:pt x="5126444" y="448496"/>
                  </a:cubicBezTo>
                  <a:cubicBezTo>
                    <a:pt x="5161315" y="459314"/>
                    <a:pt x="5194396" y="475677"/>
                    <a:pt x="5231323" y="480863"/>
                  </a:cubicBezTo>
                  <a:cubicBezTo>
                    <a:pt x="5247328" y="483187"/>
                    <a:pt x="5260651" y="494542"/>
                    <a:pt x="5269681" y="508938"/>
                  </a:cubicBezTo>
                  <a:cubicBezTo>
                    <a:pt x="5273973" y="520204"/>
                    <a:pt x="5281215" y="528251"/>
                    <a:pt x="5293643" y="530844"/>
                  </a:cubicBezTo>
                  <a:cubicBezTo>
                    <a:pt x="5308217" y="537102"/>
                    <a:pt x="5312419" y="552392"/>
                    <a:pt x="5321718" y="563121"/>
                  </a:cubicBezTo>
                  <a:cubicBezTo>
                    <a:pt x="5340495" y="565714"/>
                    <a:pt x="5356679" y="573403"/>
                    <a:pt x="5370269" y="586636"/>
                  </a:cubicBezTo>
                  <a:cubicBezTo>
                    <a:pt x="5379567" y="591375"/>
                    <a:pt x="5390208" y="592269"/>
                    <a:pt x="5399595" y="596829"/>
                  </a:cubicBezTo>
                  <a:cubicBezTo>
                    <a:pt x="5410415" y="608363"/>
                    <a:pt x="5425346" y="611940"/>
                    <a:pt x="5439205" y="617752"/>
                  </a:cubicBezTo>
                  <a:cubicBezTo>
                    <a:pt x="5446359" y="624636"/>
                    <a:pt x="5449667" y="633309"/>
                    <a:pt x="5451455" y="642876"/>
                  </a:cubicBezTo>
                  <a:cubicBezTo>
                    <a:pt x="5455031" y="656020"/>
                    <a:pt x="5446001" y="671220"/>
                    <a:pt x="5460664" y="686062"/>
                  </a:cubicBezTo>
                  <a:cubicBezTo>
                    <a:pt x="5461737" y="672829"/>
                    <a:pt x="5458160" y="660043"/>
                    <a:pt x="5468533" y="651996"/>
                  </a:cubicBezTo>
                  <a:cubicBezTo>
                    <a:pt x="5476043" y="648241"/>
                    <a:pt x="5479798" y="653516"/>
                    <a:pt x="5483822" y="658344"/>
                  </a:cubicBezTo>
                  <a:cubicBezTo>
                    <a:pt x="5492584" y="658613"/>
                    <a:pt x="5501257" y="658792"/>
                    <a:pt x="5510020" y="659060"/>
                  </a:cubicBezTo>
                  <a:cubicBezTo>
                    <a:pt x="5556961" y="654857"/>
                    <a:pt x="5582532" y="693394"/>
                    <a:pt x="5617403" y="713243"/>
                  </a:cubicBezTo>
                  <a:cubicBezTo>
                    <a:pt x="5626255" y="718250"/>
                    <a:pt x="5625897" y="728533"/>
                    <a:pt x="5618654" y="735864"/>
                  </a:cubicBezTo>
                  <a:cubicBezTo>
                    <a:pt x="5597821" y="756965"/>
                    <a:pt x="5581370" y="786292"/>
                    <a:pt x="5545247" y="776189"/>
                  </a:cubicBezTo>
                  <a:cubicBezTo>
                    <a:pt x="5541850" y="780928"/>
                    <a:pt x="5543101" y="784147"/>
                    <a:pt x="5543012" y="787187"/>
                  </a:cubicBezTo>
                  <a:cubicBezTo>
                    <a:pt x="5542297" y="805069"/>
                    <a:pt x="5560000" y="826617"/>
                    <a:pt x="5535233" y="839582"/>
                  </a:cubicBezTo>
                  <a:cubicBezTo>
                    <a:pt x="5519407" y="847897"/>
                    <a:pt x="5481586" y="832429"/>
                    <a:pt x="5466476" y="814457"/>
                  </a:cubicBezTo>
                  <a:cubicBezTo>
                    <a:pt x="5466029" y="789422"/>
                    <a:pt x="5447967" y="808198"/>
                    <a:pt x="5439295" y="803728"/>
                  </a:cubicBezTo>
                  <a:cubicBezTo>
                    <a:pt x="5418194" y="801045"/>
                    <a:pt x="5405497" y="786650"/>
                    <a:pt x="5395214" y="770198"/>
                  </a:cubicBezTo>
                  <a:cubicBezTo>
                    <a:pt x="5389404" y="760900"/>
                    <a:pt x="5384217" y="751958"/>
                    <a:pt x="5372326" y="749991"/>
                  </a:cubicBezTo>
                  <a:cubicBezTo>
                    <a:pt x="5355248" y="751422"/>
                    <a:pt x="5341032" y="748382"/>
                    <a:pt x="5326993" y="735685"/>
                  </a:cubicBezTo>
                  <a:cubicBezTo>
                    <a:pt x="5309469" y="719949"/>
                    <a:pt x="5314744" y="710293"/>
                    <a:pt x="5329855" y="699295"/>
                  </a:cubicBezTo>
                  <a:cubicBezTo>
                    <a:pt x="5324312" y="693036"/>
                    <a:pt x="5317337" y="690890"/>
                    <a:pt x="5309111" y="692231"/>
                  </a:cubicBezTo>
                  <a:cubicBezTo>
                    <a:pt x="5301601" y="698222"/>
                    <a:pt x="5293464" y="702961"/>
                    <a:pt x="5294359" y="715210"/>
                  </a:cubicBezTo>
                  <a:cubicBezTo>
                    <a:pt x="5298651" y="771629"/>
                    <a:pt x="5282646" y="789332"/>
                    <a:pt x="5228463" y="788975"/>
                  </a:cubicBezTo>
                  <a:cubicBezTo>
                    <a:pt x="5222024" y="788975"/>
                    <a:pt x="5215497" y="789332"/>
                    <a:pt x="5209060" y="789511"/>
                  </a:cubicBezTo>
                  <a:cubicBezTo>
                    <a:pt x="5201013" y="794697"/>
                    <a:pt x="5195917" y="775652"/>
                    <a:pt x="5187243" y="786739"/>
                  </a:cubicBezTo>
                  <a:cubicBezTo>
                    <a:pt x="5190552" y="793624"/>
                    <a:pt x="5198063" y="787991"/>
                    <a:pt x="5202175" y="791836"/>
                  </a:cubicBezTo>
                  <a:cubicBezTo>
                    <a:pt x="5204858" y="793267"/>
                    <a:pt x="5206735" y="795412"/>
                    <a:pt x="5207987" y="798184"/>
                  </a:cubicBezTo>
                  <a:cubicBezTo>
                    <a:pt x="5208792" y="801135"/>
                    <a:pt x="5209685" y="804175"/>
                    <a:pt x="5210491" y="807125"/>
                  </a:cubicBezTo>
                  <a:cubicBezTo>
                    <a:pt x="5245898" y="792641"/>
                    <a:pt x="5251799" y="830283"/>
                    <a:pt x="5251710" y="841996"/>
                  </a:cubicBezTo>
                  <a:cubicBezTo>
                    <a:pt x="5251531" y="872753"/>
                    <a:pt x="5274867" y="876598"/>
                    <a:pt x="5290514" y="890278"/>
                  </a:cubicBezTo>
                  <a:cubicBezTo>
                    <a:pt x="5296862" y="895822"/>
                    <a:pt x="5311346" y="899040"/>
                    <a:pt x="5303211" y="911469"/>
                  </a:cubicBezTo>
                  <a:cubicBezTo>
                    <a:pt x="5298114" y="919247"/>
                    <a:pt x="5291676" y="933285"/>
                    <a:pt x="5278085" y="925238"/>
                  </a:cubicBezTo>
                  <a:cubicBezTo>
                    <a:pt x="5228820" y="896179"/>
                    <a:pt x="5189390" y="924433"/>
                    <a:pt x="5151747" y="949021"/>
                  </a:cubicBezTo>
                  <a:cubicBezTo>
                    <a:pt x="5121794" y="968603"/>
                    <a:pt x="5087729" y="983266"/>
                    <a:pt x="5064214" y="1012057"/>
                  </a:cubicBezTo>
                  <a:cubicBezTo>
                    <a:pt x="5060190" y="1021355"/>
                    <a:pt x="5051606" y="1026810"/>
                    <a:pt x="5045080" y="1033962"/>
                  </a:cubicBezTo>
                  <a:cubicBezTo>
                    <a:pt x="5032293" y="1048000"/>
                    <a:pt x="5018523" y="1048358"/>
                    <a:pt x="5006453" y="1033426"/>
                  </a:cubicBezTo>
                  <a:cubicBezTo>
                    <a:pt x="4987677" y="1010179"/>
                    <a:pt x="4966934" y="1010715"/>
                    <a:pt x="4943419" y="1025290"/>
                  </a:cubicBezTo>
                  <a:cubicBezTo>
                    <a:pt x="4928397" y="1034588"/>
                    <a:pt x="4912750" y="1050682"/>
                    <a:pt x="4897550" y="1024574"/>
                  </a:cubicBezTo>
                  <a:cubicBezTo>
                    <a:pt x="4895762" y="1021445"/>
                    <a:pt x="4897997" y="1020819"/>
                    <a:pt x="4896567" y="1022518"/>
                  </a:cubicBezTo>
                  <a:cubicBezTo>
                    <a:pt x="4875912" y="1047464"/>
                    <a:pt x="4850341" y="1035840"/>
                    <a:pt x="4825842" y="1033247"/>
                  </a:cubicBezTo>
                  <a:cubicBezTo>
                    <a:pt x="4823338" y="1032979"/>
                    <a:pt x="4820656" y="1037450"/>
                    <a:pt x="4820209" y="1040579"/>
                  </a:cubicBezTo>
                  <a:cubicBezTo>
                    <a:pt x="4816722" y="1066419"/>
                    <a:pt x="4813682" y="1092259"/>
                    <a:pt x="4799108" y="1114880"/>
                  </a:cubicBezTo>
                  <a:cubicBezTo>
                    <a:pt x="4797856" y="1116758"/>
                    <a:pt x="4798124" y="1119887"/>
                    <a:pt x="4799823" y="1120602"/>
                  </a:cubicBezTo>
                  <a:cubicBezTo>
                    <a:pt x="4838628" y="1136965"/>
                    <a:pt x="4825306" y="1184979"/>
                    <a:pt x="4853113" y="1207957"/>
                  </a:cubicBezTo>
                  <a:cubicBezTo>
                    <a:pt x="4853292" y="1211087"/>
                    <a:pt x="4852844" y="1214127"/>
                    <a:pt x="4851950" y="1217077"/>
                  </a:cubicBezTo>
                  <a:cubicBezTo>
                    <a:pt x="4847033" y="1221906"/>
                    <a:pt x="4820835" y="1274211"/>
                    <a:pt x="4818242" y="1284404"/>
                  </a:cubicBezTo>
                  <a:cubicBezTo>
                    <a:pt x="4815917" y="1293524"/>
                    <a:pt x="4810285" y="1299694"/>
                    <a:pt x="4801254" y="1302644"/>
                  </a:cubicBezTo>
                  <a:cubicBezTo>
                    <a:pt x="4792402" y="1304432"/>
                    <a:pt x="4782209" y="1298978"/>
                    <a:pt x="4774788" y="1307920"/>
                  </a:cubicBezTo>
                  <a:cubicBezTo>
                    <a:pt x="4767188" y="1320705"/>
                    <a:pt x="4764148" y="1335637"/>
                    <a:pt x="4750468" y="1345115"/>
                  </a:cubicBezTo>
                  <a:cubicBezTo>
                    <a:pt x="4737593" y="1354056"/>
                    <a:pt x="4746534" y="1369345"/>
                    <a:pt x="4745193" y="1381684"/>
                  </a:cubicBezTo>
                  <a:cubicBezTo>
                    <a:pt x="4744924" y="1386065"/>
                    <a:pt x="4744656" y="1390536"/>
                    <a:pt x="4742868" y="1394470"/>
                  </a:cubicBezTo>
                  <a:cubicBezTo>
                    <a:pt x="4734553" y="1412263"/>
                    <a:pt x="4726685" y="1433096"/>
                    <a:pt x="4704242" y="1434437"/>
                  </a:cubicBezTo>
                  <a:cubicBezTo>
                    <a:pt x="4681442" y="1435778"/>
                    <a:pt x="4679028" y="1412531"/>
                    <a:pt x="4673395" y="1397599"/>
                  </a:cubicBezTo>
                  <a:cubicBezTo>
                    <a:pt x="4652831" y="1343774"/>
                    <a:pt x="4629405" y="1291289"/>
                    <a:pt x="4606426" y="1238536"/>
                  </a:cubicBezTo>
                  <a:cubicBezTo>
                    <a:pt x="4600435" y="1224767"/>
                    <a:pt x="4601151" y="1211355"/>
                    <a:pt x="4605085" y="1197228"/>
                  </a:cubicBezTo>
                  <a:cubicBezTo>
                    <a:pt x="4611344" y="1174696"/>
                    <a:pt x="4628332" y="1155473"/>
                    <a:pt x="4624219" y="1129365"/>
                  </a:cubicBezTo>
                  <a:cubicBezTo>
                    <a:pt x="4622788" y="1120513"/>
                    <a:pt x="4633875" y="1115595"/>
                    <a:pt x="4641297" y="1111214"/>
                  </a:cubicBezTo>
                  <a:cubicBezTo>
                    <a:pt x="4689221" y="1082960"/>
                    <a:pt x="4725791" y="1043798"/>
                    <a:pt x="4752704" y="995337"/>
                  </a:cubicBezTo>
                  <a:cubicBezTo>
                    <a:pt x="4757621" y="986396"/>
                    <a:pt x="4765042" y="976739"/>
                    <a:pt x="4774341" y="977007"/>
                  </a:cubicBezTo>
                  <a:cubicBezTo>
                    <a:pt x="4809748" y="978080"/>
                    <a:pt x="4808943" y="951972"/>
                    <a:pt x="4813056" y="929083"/>
                  </a:cubicBezTo>
                  <a:cubicBezTo>
                    <a:pt x="4814576" y="920589"/>
                    <a:pt x="4814755" y="911737"/>
                    <a:pt x="4818510" y="903690"/>
                  </a:cubicBezTo>
                  <a:cubicBezTo>
                    <a:pt x="4820746" y="899935"/>
                    <a:pt x="4824054" y="897699"/>
                    <a:pt x="4828167" y="896090"/>
                  </a:cubicBezTo>
                  <a:cubicBezTo>
                    <a:pt x="4829955" y="895464"/>
                    <a:pt x="4832548" y="897073"/>
                    <a:pt x="4833531" y="894212"/>
                  </a:cubicBezTo>
                  <a:cubicBezTo>
                    <a:pt x="4831386" y="894033"/>
                    <a:pt x="4829329" y="893765"/>
                    <a:pt x="4827183" y="893318"/>
                  </a:cubicBezTo>
                  <a:cubicBezTo>
                    <a:pt x="4807602" y="892245"/>
                    <a:pt x="4798840" y="901544"/>
                    <a:pt x="4801075" y="920767"/>
                  </a:cubicBezTo>
                  <a:cubicBezTo>
                    <a:pt x="4803042" y="937487"/>
                    <a:pt x="4798482" y="949111"/>
                    <a:pt x="4779080" y="948306"/>
                  </a:cubicBezTo>
                  <a:cubicBezTo>
                    <a:pt x="4762092" y="947591"/>
                    <a:pt x="4754849" y="960466"/>
                    <a:pt x="4745640" y="970927"/>
                  </a:cubicBezTo>
                  <a:cubicBezTo>
                    <a:pt x="4735447" y="982551"/>
                    <a:pt x="4723376" y="988899"/>
                    <a:pt x="4708266" y="980941"/>
                  </a:cubicBezTo>
                  <a:cubicBezTo>
                    <a:pt x="4693781" y="973252"/>
                    <a:pt x="4680548" y="965563"/>
                    <a:pt x="4682426" y="944372"/>
                  </a:cubicBezTo>
                  <a:cubicBezTo>
                    <a:pt x="4684840" y="916207"/>
                    <a:pt x="4675362" y="910485"/>
                    <a:pt x="4648270" y="921572"/>
                  </a:cubicBezTo>
                  <a:cubicBezTo>
                    <a:pt x="4620822" y="932838"/>
                    <a:pt x="4594624" y="945803"/>
                    <a:pt x="4584609" y="977454"/>
                  </a:cubicBezTo>
                  <a:cubicBezTo>
                    <a:pt x="4582285" y="984786"/>
                    <a:pt x="4575668" y="989614"/>
                    <a:pt x="4569946" y="994621"/>
                  </a:cubicBezTo>
                  <a:cubicBezTo>
                    <a:pt x="4557250" y="1005708"/>
                    <a:pt x="4554657" y="1015097"/>
                    <a:pt x="4568336" y="1029492"/>
                  </a:cubicBezTo>
                  <a:cubicBezTo>
                    <a:pt x="4584073" y="1045944"/>
                    <a:pt x="4579513" y="1056941"/>
                    <a:pt x="4556624" y="1058104"/>
                  </a:cubicBezTo>
                  <a:cubicBezTo>
                    <a:pt x="4536149" y="1059087"/>
                    <a:pt x="4516836" y="1069816"/>
                    <a:pt x="4495913" y="1064720"/>
                  </a:cubicBezTo>
                  <a:cubicBezTo>
                    <a:pt x="4489297" y="1061233"/>
                    <a:pt x="4482770" y="1061322"/>
                    <a:pt x="4476332" y="1065346"/>
                  </a:cubicBezTo>
                  <a:cubicBezTo>
                    <a:pt x="4469626" y="1073751"/>
                    <a:pt x="4461490" y="1077238"/>
                    <a:pt x="4450940" y="1073482"/>
                  </a:cubicBezTo>
                  <a:cubicBezTo>
                    <a:pt x="4442713" y="1063289"/>
                    <a:pt x="4447720" y="1057031"/>
                    <a:pt x="4457377" y="1052113"/>
                  </a:cubicBezTo>
                  <a:cubicBezTo>
                    <a:pt x="4457645" y="1051934"/>
                    <a:pt x="4457645" y="1051934"/>
                    <a:pt x="4456483" y="1050146"/>
                  </a:cubicBezTo>
                  <a:cubicBezTo>
                    <a:pt x="4454069" y="1046480"/>
                    <a:pt x="4457556" y="1051308"/>
                    <a:pt x="4453264" y="1049967"/>
                  </a:cubicBezTo>
                  <a:cubicBezTo>
                    <a:pt x="4441194" y="1047464"/>
                    <a:pt x="4430911" y="1041026"/>
                    <a:pt x="4420539" y="1035214"/>
                  </a:cubicBezTo>
                  <a:cubicBezTo>
                    <a:pt x="4407664" y="1027972"/>
                    <a:pt x="4397471" y="1030028"/>
                    <a:pt x="4384596" y="1038165"/>
                  </a:cubicBezTo>
                  <a:cubicBezTo>
                    <a:pt x="4349726" y="1060071"/>
                    <a:pt x="4311278" y="1061054"/>
                    <a:pt x="4274083" y="1046122"/>
                  </a:cubicBezTo>
                  <a:cubicBezTo>
                    <a:pt x="4234831" y="1030386"/>
                    <a:pt x="4194596" y="1038791"/>
                    <a:pt x="4172154" y="1075181"/>
                  </a:cubicBezTo>
                  <a:cubicBezTo>
                    <a:pt x="4142380" y="1123463"/>
                    <a:pt x="4103844" y="1165129"/>
                    <a:pt x="4072728" y="1212339"/>
                  </a:cubicBezTo>
                  <a:cubicBezTo>
                    <a:pt x="4064771" y="1224409"/>
                    <a:pt x="4052074" y="1231204"/>
                    <a:pt x="4041434" y="1240324"/>
                  </a:cubicBezTo>
                  <a:cubicBezTo>
                    <a:pt x="4058423" y="1262946"/>
                    <a:pt x="4093382" y="1251769"/>
                    <a:pt x="4108851" y="1277788"/>
                  </a:cubicBezTo>
                  <a:cubicBezTo>
                    <a:pt x="4112785" y="1284404"/>
                    <a:pt x="4119938" y="1278145"/>
                    <a:pt x="4124498" y="1272781"/>
                  </a:cubicBezTo>
                  <a:cubicBezTo>
                    <a:pt x="4138982" y="1255882"/>
                    <a:pt x="4156596" y="1258743"/>
                    <a:pt x="4170902" y="1270456"/>
                  </a:cubicBezTo>
                  <a:cubicBezTo>
                    <a:pt x="4192540" y="1288160"/>
                    <a:pt x="4210154" y="1308188"/>
                    <a:pt x="4222672" y="1335637"/>
                  </a:cubicBezTo>
                  <a:cubicBezTo>
                    <a:pt x="4237782" y="1368809"/>
                    <a:pt x="4240107" y="1398315"/>
                    <a:pt x="4230719" y="1432023"/>
                  </a:cubicBezTo>
                  <a:cubicBezTo>
                    <a:pt x="4224996" y="1452677"/>
                    <a:pt x="4235547" y="1472794"/>
                    <a:pt x="4241806" y="1492376"/>
                  </a:cubicBezTo>
                  <a:cubicBezTo>
                    <a:pt x="4251999" y="1524206"/>
                    <a:pt x="4249406" y="1551477"/>
                    <a:pt x="4223477" y="1575886"/>
                  </a:cubicBezTo>
                  <a:cubicBezTo>
                    <a:pt x="4208455" y="1590013"/>
                    <a:pt x="4202107" y="1609147"/>
                    <a:pt x="4196206" y="1629891"/>
                  </a:cubicBezTo>
                  <a:cubicBezTo>
                    <a:pt x="4184225" y="1671735"/>
                    <a:pt x="4161067" y="1709467"/>
                    <a:pt x="4135227" y="1744606"/>
                  </a:cubicBezTo>
                  <a:cubicBezTo>
                    <a:pt x="4123335" y="1760789"/>
                    <a:pt x="4105453" y="1759895"/>
                    <a:pt x="4087392" y="1755603"/>
                  </a:cubicBezTo>
                  <a:cubicBezTo>
                    <a:pt x="4076126" y="1752921"/>
                    <a:pt x="4063340" y="1740224"/>
                    <a:pt x="4054041" y="1749076"/>
                  </a:cubicBezTo>
                  <a:cubicBezTo>
                    <a:pt x="4042776" y="1759716"/>
                    <a:pt x="4031420" y="1774380"/>
                    <a:pt x="4030794" y="1790921"/>
                  </a:cubicBezTo>
                  <a:cubicBezTo>
                    <a:pt x="4029900" y="1815151"/>
                    <a:pt x="4019439" y="1832229"/>
                    <a:pt x="4000484" y="1845551"/>
                  </a:cubicBezTo>
                  <a:cubicBezTo>
                    <a:pt x="3988235" y="1854135"/>
                    <a:pt x="3987251" y="1863702"/>
                    <a:pt x="3997176" y="1875683"/>
                  </a:cubicBezTo>
                  <a:cubicBezTo>
                    <a:pt x="4006921" y="1887396"/>
                    <a:pt x="4016220" y="1899288"/>
                    <a:pt x="4027307" y="1909928"/>
                  </a:cubicBezTo>
                  <a:cubicBezTo>
                    <a:pt x="4050644" y="1932370"/>
                    <a:pt x="4066201" y="1959015"/>
                    <a:pt x="4071119" y="1991829"/>
                  </a:cubicBezTo>
                  <a:cubicBezTo>
                    <a:pt x="4073444" y="2007565"/>
                    <a:pt x="4073891" y="2020351"/>
                    <a:pt x="4054846" y="2024553"/>
                  </a:cubicBezTo>
                  <a:cubicBezTo>
                    <a:pt x="4043848" y="2026967"/>
                    <a:pt x="4035801" y="2034925"/>
                    <a:pt x="4026592" y="2040469"/>
                  </a:cubicBezTo>
                  <a:cubicBezTo>
                    <a:pt x="3999322" y="2056920"/>
                    <a:pt x="3983496" y="2051198"/>
                    <a:pt x="3971425" y="2020977"/>
                  </a:cubicBezTo>
                  <a:cubicBezTo>
                    <a:pt x="3966150" y="2007654"/>
                    <a:pt x="3966776" y="1993259"/>
                    <a:pt x="3962395" y="1979669"/>
                  </a:cubicBezTo>
                  <a:cubicBezTo>
                    <a:pt x="3954347" y="1954902"/>
                    <a:pt x="3949966" y="1929688"/>
                    <a:pt x="3916616" y="1925038"/>
                  </a:cubicBezTo>
                  <a:cubicBezTo>
                    <a:pt x="3903562" y="1923250"/>
                    <a:pt x="3902131" y="1908229"/>
                    <a:pt x="3900611" y="1895801"/>
                  </a:cubicBezTo>
                  <a:cubicBezTo>
                    <a:pt x="3896498" y="1860572"/>
                    <a:pt x="3875934" y="1849754"/>
                    <a:pt x="3844729" y="1865043"/>
                  </a:cubicBezTo>
                  <a:cubicBezTo>
                    <a:pt x="3831049" y="1871749"/>
                    <a:pt x="3818263" y="1892939"/>
                    <a:pt x="3802527" y="1879706"/>
                  </a:cubicBezTo>
                  <a:cubicBezTo>
                    <a:pt x="3788489" y="1867904"/>
                    <a:pt x="3788221" y="1846535"/>
                    <a:pt x="3793586" y="1827579"/>
                  </a:cubicBezTo>
                  <a:cubicBezTo>
                    <a:pt x="3794479" y="1824450"/>
                    <a:pt x="3793765" y="1821052"/>
                    <a:pt x="3789294" y="1817565"/>
                  </a:cubicBezTo>
                  <a:cubicBezTo>
                    <a:pt x="3770070" y="1823377"/>
                    <a:pt x="3763901" y="1844925"/>
                    <a:pt x="3748343" y="1855744"/>
                  </a:cubicBezTo>
                  <a:cubicBezTo>
                    <a:pt x="3744052" y="1858784"/>
                    <a:pt x="3740743" y="1864149"/>
                    <a:pt x="3739044" y="1868888"/>
                  </a:cubicBezTo>
                  <a:cubicBezTo>
                    <a:pt x="3735289" y="1879349"/>
                    <a:pt x="3705604" y="1869961"/>
                    <a:pt x="3720089" y="1893029"/>
                  </a:cubicBezTo>
                  <a:cubicBezTo>
                    <a:pt x="3738419" y="1921998"/>
                    <a:pt x="3759430" y="1929688"/>
                    <a:pt x="3782499" y="1917438"/>
                  </a:cubicBezTo>
                  <a:cubicBezTo>
                    <a:pt x="3793675" y="1911537"/>
                    <a:pt x="3845713" y="1917617"/>
                    <a:pt x="3853670" y="1926737"/>
                  </a:cubicBezTo>
                  <a:cubicBezTo>
                    <a:pt x="3864757" y="1939523"/>
                    <a:pt x="3858051" y="1949000"/>
                    <a:pt x="3845713" y="1955259"/>
                  </a:cubicBezTo>
                  <a:cubicBezTo>
                    <a:pt x="3830870" y="1962770"/>
                    <a:pt x="3817995" y="1972426"/>
                    <a:pt x="3806818" y="1984586"/>
                  </a:cubicBezTo>
                  <a:cubicBezTo>
                    <a:pt x="3793049" y="1999697"/>
                    <a:pt x="3790098" y="2014897"/>
                    <a:pt x="3806550" y="2030097"/>
                  </a:cubicBezTo>
                  <a:cubicBezTo>
                    <a:pt x="3833016" y="2054595"/>
                    <a:pt x="3850451" y="2086963"/>
                    <a:pt x="3877990" y="2110567"/>
                  </a:cubicBezTo>
                  <a:cubicBezTo>
                    <a:pt x="3895067" y="2125141"/>
                    <a:pt x="3891491" y="2147315"/>
                    <a:pt x="3889434" y="2164572"/>
                  </a:cubicBezTo>
                  <a:cubicBezTo>
                    <a:pt x="3887110" y="2183795"/>
                    <a:pt x="3909374" y="2176553"/>
                    <a:pt x="3910714" y="2209814"/>
                  </a:cubicBezTo>
                  <a:cubicBezTo>
                    <a:pt x="3891491" y="2284294"/>
                    <a:pt x="3873787" y="2359489"/>
                    <a:pt x="3806997" y="2409381"/>
                  </a:cubicBezTo>
                  <a:cubicBezTo>
                    <a:pt x="3797162" y="2416712"/>
                    <a:pt x="3786880" y="2422077"/>
                    <a:pt x="3774898" y="2424491"/>
                  </a:cubicBezTo>
                  <a:cubicBezTo>
                    <a:pt x="3737256" y="2432091"/>
                    <a:pt x="3704889" y="2452835"/>
                    <a:pt x="3669929" y="2467140"/>
                  </a:cubicBezTo>
                  <a:cubicBezTo>
                    <a:pt x="3661703" y="2470538"/>
                    <a:pt x="3654819" y="2475813"/>
                    <a:pt x="3651153" y="2484397"/>
                  </a:cubicBezTo>
                  <a:cubicBezTo>
                    <a:pt x="3639351" y="2512383"/>
                    <a:pt x="3627817" y="2501832"/>
                    <a:pt x="3614494" y="2485023"/>
                  </a:cubicBezTo>
                  <a:cubicBezTo>
                    <a:pt x="3595360" y="2460882"/>
                    <a:pt x="3579445" y="2460345"/>
                    <a:pt x="3558523" y="2482430"/>
                  </a:cubicBezTo>
                  <a:cubicBezTo>
                    <a:pt x="3551012" y="2490298"/>
                    <a:pt x="3542786" y="2497451"/>
                    <a:pt x="3535454" y="2505498"/>
                  </a:cubicBezTo>
                  <a:cubicBezTo>
                    <a:pt x="3525798" y="2516138"/>
                    <a:pt x="3520254" y="2529729"/>
                    <a:pt x="3528838" y="2541173"/>
                  </a:cubicBezTo>
                  <a:cubicBezTo>
                    <a:pt x="3548687" y="2567728"/>
                    <a:pt x="3561562" y="2600900"/>
                    <a:pt x="3594376" y="2616011"/>
                  </a:cubicBezTo>
                  <a:cubicBezTo>
                    <a:pt x="3659021" y="2645874"/>
                    <a:pt x="3672969" y="2703276"/>
                    <a:pt x="3665727" y="2765865"/>
                  </a:cubicBezTo>
                  <a:cubicBezTo>
                    <a:pt x="3664028" y="2780528"/>
                    <a:pt x="3658932" y="2795549"/>
                    <a:pt x="3645431" y="2801361"/>
                  </a:cubicBezTo>
                  <a:cubicBezTo>
                    <a:pt x="3616729" y="2813700"/>
                    <a:pt x="3596701" y="2837304"/>
                    <a:pt x="3571219" y="2853488"/>
                  </a:cubicBezTo>
                  <a:cubicBezTo>
                    <a:pt x="3548419" y="2867883"/>
                    <a:pt x="3534113" y="2863770"/>
                    <a:pt x="3527765" y="2837662"/>
                  </a:cubicBezTo>
                  <a:cubicBezTo>
                    <a:pt x="3523205" y="2818796"/>
                    <a:pt x="3512118" y="2809408"/>
                    <a:pt x="3497097" y="2798679"/>
                  </a:cubicBezTo>
                  <a:cubicBezTo>
                    <a:pt x="3464998" y="2775789"/>
                    <a:pt x="3438801" y="2744585"/>
                    <a:pt x="3397224" y="2734302"/>
                  </a:cubicBezTo>
                  <a:cubicBezTo>
                    <a:pt x="3395078" y="2737253"/>
                    <a:pt x="3399906" y="2744853"/>
                    <a:pt x="3398297" y="2751738"/>
                  </a:cubicBezTo>
                  <a:cubicBezTo>
                    <a:pt x="3398118" y="2756655"/>
                    <a:pt x="3397313" y="2761483"/>
                    <a:pt x="3396151" y="2766312"/>
                  </a:cubicBezTo>
                  <a:cubicBezTo>
                    <a:pt x="3387389" y="2815130"/>
                    <a:pt x="3414212" y="2868867"/>
                    <a:pt x="3453017" y="2898730"/>
                  </a:cubicBezTo>
                  <a:cubicBezTo>
                    <a:pt x="3490302" y="2927431"/>
                    <a:pt x="3527586" y="2958994"/>
                    <a:pt x="3537421" y="3009869"/>
                  </a:cubicBezTo>
                  <a:cubicBezTo>
                    <a:pt x="3540014" y="3023370"/>
                    <a:pt x="3549850" y="3032579"/>
                    <a:pt x="3556734" y="3043577"/>
                  </a:cubicBezTo>
                  <a:cubicBezTo>
                    <a:pt x="3565050" y="3056810"/>
                    <a:pt x="3573454" y="3072010"/>
                    <a:pt x="3560847" y="3085511"/>
                  </a:cubicBezTo>
                  <a:cubicBezTo>
                    <a:pt x="3549403" y="3097671"/>
                    <a:pt x="3533935" y="3089803"/>
                    <a:pt x="3520880" y="3085064"/>
                  </a:cubicBezTo>
                  <a:cubicBezTo>
                    <a:pt x="3504428" y="3079073"/>
                    <a:pt x="3493699" y="3063247"/>
                    <a:pt x="3476621" y="3057972"/>
                  </a:cubicBezTo>
                  <a:cubicBezTo>
                    <a:pt x="3464193" y="3051713"/>
                    <a:pt x="3468753" y="3037318"/>
                    <a:pt x="3462405" y="3028109"/>
                  </a:cubicBezTo>
                  <a:cubicBezTo>
                    <a:pt x="3451586" y="3018273"/>
                    <a:pt x="3444434" y="3009064"/>
                    <a:pt x="3442645" y="2991629"/>
                  </a:cubicBezTo>
                  <a:cubicBezTo>
                    <a:pt x="3439694" y="2962570"/>
                    <a:pt x="3420650" y="2938518"/>
                    <a:pt x="3401337" y="2916255"/>
                  </a:cubicBezTo>
                  <a:cubicBezTo>
                    <a:pt x="3393648" y="2907314"/>
                    <a:pt x="3385958" y="2898373"/>
                    <a:pt x="3378269" y="2889431"/>
                  </a:cubicBezTo>
                  <a:cubicBezTo>
                    <a:pt x="3372457" y="2883441"/>
                    <a:pt x="3365483" y="2883351"/>
                    <a:pt x="3358062" y="2885587"/>
                  </a:cubicBezTo>
                  <a:cubicBezTo>
                    <a:pt x="3337944" y="2863234"/>
                    <a:pt x="3357257" y="2837572"/>
                    <a:pt x="3352876" y="2813253"/>
                  </a:cubicBezTo>
                  <a:cubicBezTo>
                    <a:pt x="3350462" y="2800020"/>
                    <a:pt x="3340001" y="2789112"/>
                    <a:pt x="3340716" y="2780170"/>
                  </a:cubicBezTo>
                  <a:cubicBezTo>
                    <a:pt x="3343220" y="2746641"/>
                    <a:pt x="3327573" y="2725451"/>
                    <a:pt x="3307097" y="2701309"/>
                  </a:cubicBezTo>
                  <a:cubicBezTo>
                    <a:pt x="3293238" y="2685036"/>
                    <a:pt x="3293060" y="2657230"/>
                    <a:pt x="3286711" y="2634519"/>
                  </a:cubicBezTo>
                  <a:cubicBezTo>
                    <a:pt x="3268919" y="2621465"/>
                    <a:pt x="3254523" y="2632284"/>
                    <a:pt x="3239770" y="2641046"/>
                  </a:cubicBezTo>
                  <a:lnTo>
                    <a:pt x="3238161" y="2642655"/>
                  </a:lnTo>
                  <a:lnTo>
                    <a:pt x="3238965" y="2644712"/>
                  </a:lnTo>
                  <a:cubicBezTo>
                    <a:pt x="3224481" y="2660627"/>
                    <a:pt x="3210622" y="2658839"/>
                    <a:pt x="3197121" y="2643460"/>
                  </a:cubicBezTo>
                  <a:cubicBezTo>
                    <a:pt x="3196137" y="2629422"/>
                    <a:pt x="3195780" y="2615385"/>
                    <a:pt x="3200787" y="2601794"/>
                  </a:cubicBezTo>
                  <a:cubicBezTo>
                    <a:pt x="3186391" y="2561470"/>
                    <a:pt x="3148213" y="2543677"/>
                    <a:pt x="3120138" y="2516317"/>
                  </a:cubicBezTo>
                  <a:cubicBezTo>
                    <a:pt x="3105832" y="2502369"/>
                    <a:pt x="3101003" y="2483145"/>
                    <a:pt x="3095728" y="2464458"/>
                  </a:cubicBezTo>
                  <a:cubicBezTo>
                    <a:pt x="3088575" y="2457931"/>
                    <a:pt x="3080886" y="2462849"/>
                    <a:pt x="3073376" y="2463296"/>
                  </a:cubicBezTo>
                  <a:cubicBezTo>
                    <a:pt x="3067296" y="2460166"/>
                    <a:pt x="3062110" y="2463832"/>
                    <a:pt x="3056656" y="2465531"/>
                  </a:cubicBezTo>
                  <a:cubicBezTo>
                    <a:pt x="3045837" y="2468839"/>
                    <a:pt x="3033766" y="2461955"/>
                    <a:pt x="3023394" y="2469287"/>
                  </a:cubicBezTo>
                  <a:cubicBezTo>
                    <a:pt x="2991117" y="2450242"/>
                    <a:pt x="2982444" y="2456232"/>
                    <a:pt x="2972788" y="2495663"/>
                  </a:cubicBezTo>
                  <a:cubicBezTo>
                    <a:pt x="2969568" y="2508985"/>
                    <a:pt x="2957587" y="2523470"/>
                    <a:pt x="2945517" y="2530623"/>
                  </a:cubicBezTo>
                  <a:cubicBezTo>
                    <a:pt x="2913329" y="2549757"/>
                    <a:pt x="2897592" y="2582660"/>
                    <a:pt x="2873809" y="2608679"/>
                  </a:cubicBezTo>
                  <a:cubicBezTo>
                    <a:pt x="2866298" y="2618872"/>
                    <a:pt x="2875239" y="2634698"/>
                    <a:pt x="2862096" y="2642924"/>
                  </a:cubicBezTo>
                  <a:cubicBezTo>
                    <a:pt x="2838223" y="2652938"/>
                    <a:pt x="2826331" y="2670820"/>
                    <a:pt x="2827136" y="2696839"/>
                  </a:cubicBezTo>
                  <a:cubicBezTo>
                    <a:pt x="2824186" y="2706406"/>
                    <a:pt x="2822218" y="2715973"/>
                    <a:pt x="2826957" y="2725540"/>
                  </a:cubicBezTo>
                  <a:cubicBezTo>
                    <a:pt x="2829371" y="2731084"/>
                    <a:pt x="2831785" y="2736538"/>
                    <a:pt x="2833574" y="2742349"/>
                  </a:cubicBezTo>
                  <a:cubicBezTo>
                    <a:pt x="2835987" y="2751738"/>
                    <a:pt x="2836166" y="2761126"/>
                    <a:pt x="2834557" y="2770603"/>
                  </a:cubicBezTo>
                  <a:cubicBezTo>
                    <a:pt x="2828924" y="2786072"/>
                    <a:pt x="2824722" y="2801450"/>
                    <a:pt x="2833663" y="2817455"/>
                  </a:cubicBezTo>
                  <a:cubicBezTo>
                    <a:pt x="2837686" y="2824697"/>
                    <a:pt x="2836166" y="2832119"/>
                    <a:pt x="2830623" y="2838556"/>
                  </a:cubicBezTo>
                  <a:cubicBezTo>
                    <a:pt x="2815870" y="2855902"/>
                    <a:pt x="2806303" y="2876735"/>
                    <a:pt x="2791729" y="2894349"/>
                  </a:cubicBezTo>
                  <a:cubicBezTo>
                    <a:pt x="2765621" y="2925732"/>
                    <a:pt x="2752120" y="2925017"/>
                    <a:pt x="2731644" y="2889610"/>
                  </a:cubicBezTo>
                  <a:cubicBezTo>
                    <a:pt x="2728962" y="2884871"/>
                    <a:pt x="2726906" y="2879864"/>
                    <a:pt x="2725743" y="2874589"/>
                  </a:cubicBezTo>
                  <a:cubicBezTo>
                    <a:pt x="2725207" y="2864575"/>
                    <a:pt x="2724849" y="2854382"/>
                    <a:pt x="2716266" y="2847140"/>
                  </a:cubicBezTo>
                  <a:cubicBezTo>
                    <a:pt x="2700261" y="2822373"/>
                    <a:pt x="2671291" y="2805653"/>
                    <a:pt x="2670129" y="2771944"/>
                  </a:cubicBezTo>
                  <a:cubicBezTo>
                    <a:pt x="2662619" y="2764613"/>
                    <a:pt x="2671560" y="2750486"/>
                    <a:pt x="2659042" y="2745210"/>
                  </a:cubicBezTo>
                  <a:cubicBezTo>
                    <a:pt x="2642769" y="2723573"/>
                    <a:pt x="2623278" y="2704081"/>
                    <a:pt x="2612727" y="2678510"/>
                  </a:cubicBezTo>
                  <a:cubicBezTo>
                    <a:pt x="2605574" y="2655084"/>
                    <a:pt x="2598510" y="2631658"/>
                    <a:pt x="2591358" y="2608232"/>
                  </a:cubicBezTo>
                  <a:cubicBezTo>
                    <a:pt x="2585993" y="2599202"/>
                    <a:pt x="2581969" y="2589634"/>
                    <a:pt x="2580181" y="2579263"/>
                  </a:cubicBezTo>
                  <a:cubicBezTo>
                    <a:pt x="2565607" y="2553870"/>
                    <a:pt x="2569988" y="2523291"/>
                    <a:pt x="2558007" y="2497183"/>
                  </a:cubicBezTo>
                  <a:cubicBezTo>
                    <a:pt x="2553894" y="2492981"/>
                    <a:pt x="2547904" y="2489941"/>
                    <a:pt x="2548977" y="2480731"/>
                  </a:cubicBezTo>
                  <a:cubicBezTo>
                    <a:pt x="2544238" y="2489046"/>
                    <a:pt x="2546741" y="2498703"/>
                    <a:pt x="2538426" y="2503084"/>
                  </a:cubicBezTo>
                  <a:cubicBezTo>
                    <a:pt x="2512408" y="2522039"/>
                    <a:pt x="2489697" y="2523202"/>
                    <a:pt x="2472351" y="2491460"/>
                  </a:cubicBezTo>
                  <a:cubicBezTo>
                    <a:pt x="2469311" y="2486006"/>
                    <a:pt x="2464483" y="2479479"/>
                    <a:pt x="2459118" y="2477602"/>
                  </a:cubicBezTo>
                  <a:cubicBezTo>
                    <a:pt x="2422817" y="2464905"/>
                    <a:pt x="2451786" y="2458289"/>
                    <a:pt x="2461353" y="2449884"/>
                  </a:cubicBezTo>
                  <a:cubicBezTo>
                    <a:pt x="2461112" y="2445834"/>
                    <a:pt x="2454674" y="2442168"/>
                    <a:pt x="2442040" y="2438886"/>
                  </a:cubicBezTo>
                  <a:cubicBezTo>
                    <a:pt x="2413607" y="2423865"/>
                    <a:pt x="2387768" y="2403122"/>
                    <a:pt x="2363180" y="2384435"/>
                  </a:cubicBezTo>
                  <a:cubicBezTo>
                    <a:pt x="2326879" y="2356896"/>
                    <a:pt x="2293617" y="2367089"/>
                    <a:pt x="2257763" y="2369145"/>
                  </a:cubicBezTo>
                  <a:cubicBezTo>
                    <a:pt x="2251504" y="2369503"/>
                    <a:pt x="2245246" y="2372096"/>
                    <a:pt x="2239076" y="2373616"/>
                  </a:cubicBezTo>
                  <a:cubicBezTo>
                    <a:pt x="2219495" y="2380232"/>
                    <a:pt x="2198305" y="2371023"/>
                    <a:pt x="2178902" y="2379785"/>
                  </a:cubicBezTo>
                  <a:cubicBezTo>
                    <a:pt x="2158516" y="2383630"/>
                    <a:pt x="2138488" y="2380322"/>
                    <a:pt x="2118371" y="2376656"/>
                  </a:cubicBezTo>
                  <a:cubicBezTo>
                    <a:pt x="2099326" y="2373080"/>
                    <a:pt x="2083679" y="2365390"/>
                    <a:pt x="2076705" y="2345988"/>
                  </a:cubicBezTo>
                  <a:cubicBezTo>
                    <a:pt x="2072413" y="2334007"/>
                    <a:pt x="2064902" y="2328553"/>
                    <a:pt x="2052116" y="2332844"/>
                  </a:cubicBezTo>
                  <a:cubicBezTo>
                    <a:pt x="2021895" y="2346793"/>
                    <a:pt x="1993731" y="2346256"/>
                    <a:pt x="1968159" y="2322204"/>
                  </a:cubicBezTo>
                  <a:cubicBezTo>
                    <a:pt x="1961900" y="2316303"/>
                    <a:pt x="1953585" y="2311743"/>
                    <a:pt x="1944912" y="2310938"/>
                  </a:cubicBezTo>
                  <a:cubicBezTo>
                    <a:pt x="1916032" y="2308167"/>
                    <a:pt x="1902084" y="2288586"/>
                    <a:pt x="1890282" y="2265338"/>
                  </a:cubicBezTo>
                  <a:cubicBezTo>
                    <a:pt x="1881608" y="2248261"/>
                    <a:pt x="1872220" y="2224030"/>
                    <a:pt x="1848348" y="2236012"/>
                  </a:cubicBezTo>
                  <a:cubicBezTo>
                    <a:pt x="1823223" y="2248619"/>
                    <a:pt x="1844771" y="2267753"/>
                    <a:pt x="1850136" y="2283758"/>
                  </a:cubicBezTo>
                  <a:cubicBezTo>
                    <a:pt x="1852192" y="2289927"/>
                    <a:pt x="1854159" y="2297974"/>
                    <a:pt x="1859435" y="2300656"/>
                  </a:cubicBezTo>
                  <a:cubicBezTo>
                    <a:pt x="1889119" y="2316303"/>
                    <a:pt x="1894126" y="2349028"/>
                    <a:pt x="1912188" y="2374599"/>
                  </a:cubicBezTo>
                  <a:cubicBezTo>
                    <a:pt x="1915317" y="2363244"/>
                    <a:pt x="1917463" y="2350369"/>
                    <a:pt x="1931590" y="2350995"/>
                  </a:cubicBezTo>
                  <a:cubicBezTo>
                    <a:pt x="1944912" y="2351621"/>
                    <a:pt x="1948041" y="2363334"/>
                    <a:pt x="1950992" y="2373974"/>
                  </a:cubicBezTo>
                  <a:cubicBezTo>
                    <a:pt x="1951528" y="2376030"/>
                    <a:pt x="1951350" y="2378355"/>
                    <a:pt x="1951886" y="2380411"/>
                  </a:cubicBezTo>
                  <a:cubicBezTo>
                    <a:pt x="1954747" y="2391767"/>
                    <a:pt x="1941157" y="2410811"/>
                    <a:pt x="1960559" y="2413404"/>
                  </a:cubicBezTo>
                  <a:cubicBezTo>
                    <a:pt x="1980051" y="2415997"/>
                    <a:pt x="2003209" y="2415908"/>
                    <a:pt x="2015815" y="2394807"/>
                  </a:cubicBezTo>
                  <a:cubicBezTo>
                    <a:pt x="2024846" y="2379785"/>
                    <a:pt x="2036738" y="2367000"/>
                    <a:pt x="2045590" y="2351978"/>
                  </a:cubicBezTo>
                  <a:cubicBezTo>
                    <a:pt x="2051133" y="2342590"/>
                    <a:pt x="2057034" y="2332308"/>
                    <a:pt x="2071072" y="2339461"/>
                  </a:cubicBezTo>
                  <a:cubicBezTo>
                    <a:pt x="2077599" y="2347597"/>
                    <a:pt x="2077063" y="2357611"/>
                    <a:pt x="2078046" y="2367089"/>
                  </a:cubicBezTo>
                  <a:cubicBezTo>
                    <a:pt x="2080371" y="2388369"/>
                    <a:pt x="2091011" y="2404731"/>
                    <a:pt x="2111128" y="2410632"/>
                  </a:cubicBezTo>
                  <a:cubicBezTo>
                    <a:pt x="2143674" y="2420110"/>
                    <a:pt x="2166206" y="2442820"/>
                    <a:pt x="2190168" y="2464279"/>
                  </a:cubicBezTo>
                  <a:cubicBezTo>
                    <a:pt x="2195354" y="2473757"/>
                    <a:pt x="2195175" y="2483682"/>
                    <a:pt x="2192850" y="2493785"/>
                  </a:cubicBezTo>
                  <a:cubicBezTo>
                    <a:pt x="2170945" y="2548952"/>
                    <a:pt x="2135895" y="2595267"/>
                    <a:pt x="2095213" y="2637738"/>
                  </a:cubicBezTo>
                  <a:cubicBezTo>
                    <a:pt x="2087703" y="2645606"/>
                    <a:pt x="2080281" y="2653742"/>
                    <a:pt x="2070357" y="2658749"/>
                  </a:cubicBezTo>
                  <a:cubicBezTo>
                    <a:pt x="2062041" y="2663041"/>
                    <a:pt x="2053458" y="2666707"/>
                    <a:pt x="2044874" y="2670284"/>
                  </a:cubicBezTo>
                  <a:cubicBezTo>
                    <a:pt x="2015011" y="2706048"/>
                    <a:pt x="1971914" y="2719549"/>
                    <a:pt x="1932931" y="2741187"/>
                  </a:cubicBezTo>
                  <a:cubicBezTo>
                    <a:pt x="1888762" y="2765686"/>
                    <a:pt x="1840032" y="2777130"/>
                    <a:pt x="1796042" y="2800914"/>
                  </a:cubicBezTo>
                  <a:cubicBezTo>
                    <a:pt x="1775656" y="2811911"/>
                    <a:pt x="1747134" y="2797069"/>
                    <a:pt x="1737120" y="2773375"/>
                  </a:cubicBezTo>
                  <a:cubicBezTo>
                    <a:pt x="1729967" y="2756387"/>
                    <a:pt x="1720042" y="2738594"/>
                    <a:pt x="1719237" y="2721159"/>
                  </a:cubicBezTo>
                  <a:cubicBezTo>
                    <a:pt x="1716823" y="2669121"/>
                    <a:pt x="1686960" y="2627813"/>
                    <a:pt x="1655755" y="2596072"/>
                  </a:cubicBezTo>
                  <a:cubicBezTo>
                    <a:pt x="1621600" y="2561380"/>
                    <a:pt x="1586908" y="2532858"/>
                    <a:pt x="1582348" y="2481178"/>
                  </a:cubicBezTo>
                  <a:cubicBezTo>
                    <a:pt x="1581812" y="2475277"/>
                    <a:pt x="1575821" y="2469644"/>
                    <a:pt x="1570546" y="2465889"/>
                  </a:cubicBezTo>
                  <a:cubicBezTo>
                    <a:pt x="1519402" y="2429856"/>
                    <a:pt x="1497765" y="2369414"/>
                    <a:pt x="1454937" y="2326585"/>
                  </a:cubicBezTo>
                  <a:cubicBezTo>
                    <a:pt x="1447248" y="2318896"/>
                    <a:pt x="1449661" y="2307183"/>
                    <a:pt x="1444028" y="2298957"/>
                  </a:cubicBezTo>
                  <a:cubicBezTo>
                    <a:pt x="1441078" y="2311654"/>
                    <a:pt x="1411483" y="2322741"/>
                    <a:pt x="1433746" y="2346614"/>
                  </a:cubicBezTo>
                  <a:cubicBezTo>
                    <a:pt x="1443939" y="2368609"/>
                    <a:pt x="1456636" y="2388637"/>
                    <a:pt x="1474965" y="2404910"/>
                  </a:cubicBezTo>
                  <a:cubicBezTo>
                    <a:pt x="1489271" y="2417607"/>
                    <a:pt x="1499553" y="2432091"/>
                    <a:pt x="1499910" y="2452477"/>
                  </a:cubicBezTo>
                  <a:cubicBezTo>
                    <a:pt x="1500089" y="2462402"/>
                    <a:pt x="1504560" y="2472595"/>
                    <a:pt x="1511981" y="2478675"/>
                  </a:cubicBezTo>
                  <a:cubicBezTo>
                    <a:pt x="1540772" y="2502637"/>
                    <a:pt x="1549445" y="2536256"/>
                    <a:pt x="1558118" y="2570053"/>
                  </a:cubicBezTo>
                  <a:cubicBezTo>
                    <a:pt x="1563929" y="2592585"/>
                    <a:pt x="1572424" y="2613060"/>
                    <a:pt x="1592005" y="2627992"/>
                  </a:cubicBezTo>
                  <a:cubicBezTo>
                    <a:pt x="1602466" y="2635950"/>
                    <a:pt x="1610066" y="2648110"/>
                    <a:pt x="1612837" y="2660627"/>
                  </a:cubicBezTo>
                  <a:cubicBezTo>
                    <a:pt x="1620348" y="2693888"/>
                    <a:pt x="1640645" y="2715526"/>
                    <a:pt x="1669256" y="2731799"/>
                  </a:cubicBezTo>
                  <a:cubicBezTo>
                    <a:pt x="1696616" y="2747356"/>
                    <a:pt x="1713604" y="2776415"/>
                    <a:pt x="1743825" y="2789022"/>
                  </a:cubicBezTo>
                  <a:cubicBezTo>
                    <a:pt x="1755896" y="2794029"/>
                    <a:pt x="1756075" y="2806815"/>
                    <a:pt x="1755806" y="2820048"/>
                  </a:cubicBezTo>
                  <a:cubicBezTo>
                    <a:pt x="1755181" y="2855992"/>
                    <a:pt x="1783792" y="2874768"/>
                    <a:pt x="1814550" y="2857333"/>
                  </a:cubicBezTo>
                  <a:cubicBezTo>
                    <a:pt x="1858272" y="2832476"/>
                    <a:pt x="1908342" y="2830688"/>
                    <a:pt x="1954390" y="2814594"/>
                  </a:cubicBezTo>
                  <a:cubicBezTo>
                    <a:pt x="1975491" y="2807262"/>
                    <a:pt x="1987561" y="2817008"/>
                    <a:pt x="1987293" y="2840791"/>
                  </a:cubicBezTo>
                  <a:cubicBezTo>
                    <a:pt x="1987115" y="2857154"/>
                    <a:pt x="1987561" y="2873516"/>
                    <a:pt x="1983001" y="2889431"/>
                  </a:cubicBezTo>
                  <a:cubicBezTo>
                    <a:pt x="1976832" y="2905704"/>
                    <a:pt x="1973881" y="2923139"/>
                    <a:pt x="1965745" y="2938786"/>
                  </a:cubicBezTo>
                  <a:cubicBezTo>
                    <a:pt x="1958860" y="2948085"/>
                    <a:pt x="1959844" y="2959351"/>
                    <a:pt x="1957608" y="2969902"/>
                  </a:cubicBezTo>
                  <a:cubicBezTo>
                    <a:pt x="1953048" y="2990466"/>
                    <a:pt x="1943571" y="3008617"/>
                    <a:pt x="1931769" y="3025784"/>
                  </a:cubicBezTo>
                  <a:cubicBezTo>
                    <a:pt x="1890908" y="3085064"/>
                    <a:pt x="1842715" y="3137727"/>
                    <a:pt x="1791303" y="3188155"/>
                  </a:cubicBezTo>
                  <a:cubicBezTo>
                    <a:pt x="1746508" y="3232146"/>
                    <a:pt x="1711190" y="3284452"/>
                    <a:pt x="1683920" y="3341586"/>
                  </a:cubicBezTo>
                  <a:cubicBezTo>
                    <a:pt x="1681595" y="3346503"/>
                    <a:pt x="1678823" y="3352404"/>
                    <a:pt x="1680790" y="3357322"/>
                  </a:cubicBezTo>
                  <a:cubicBezTo>
                    <a:pt x="1699835" y="3405694"/>
                    <a:pt x="1682042" y="3463811"/>
                    <a:pt x="1726569" y="3506639"/>
                  </a:cubicBezTo>
                  <a:cubicBezTo>
                    <a:pt x="1749548" y="3528724"/>
                    <a:pt x="1735957" y="3564936"/>
                    <a:pt x="1736136" y="3594799"/>
                  </a:cubicBezTo>
                  <a:cubicBezTo>
                    <a:pt x="1736136" y="3609820"/>
                    <a:pt x="1731308" y="3624752"/>
                    <a:pt x="1737656" y="3639773"/>
                  </a:cubicBezTo>
                  <a:cubicBezTo>
                    <a:pt x="1742574" y="3651397"/>
                    <a:pt x="1736583" y="3660874"/>
                    <a:pt x="1729072" y="3669369"/>
                  </a:cubicBezTo>
                  <a:cubicBezTo>
                    <a:pt x="1716734" y="3683227"/>
                    <a:pt x="1704037" y="3697354"/>
                    <a:pt x="1686781" y="3704596"/>
                  </a:cubicBezTo>
                  <a:cubicBezTo>
                    <a:pt x="1652626" y="3718902"/>
                    <a:pt x="1628395" y="3745637"/>
                    <a:pt x="1601214" y="3768883"/>
                  </a:cubicBezTo>
                  <a:cubicBezTo>
                    <a:pt x="1577609" y="3789090"/>
                    <a:pt x="1565718" y="3812069"/>
                    <a:pt x="1579934" y="3843363"/>
                  </a:cubicBezTo>
                  <a:cubicBezTo>
                    <a:pt x="1583868" y="3852126"/>
                    <a:pt x="1585388" y="3862140"/>
                    <a:pt x="1586461" y="3871886"/>
                  </a:cubicBezTo>
                  <a:cubicBezTo>
                    <a:pt x="1587266" y="3881900"/>
                    <a:pt x="1587266" y="3891824"/>
                    <a:pt x="1586550" y="3901839"/>
                  </a:cubicBezTo>
                  <a:cubicBezTo>
                    <a:pt x="1584226" y="3950568"/>
                    <a:pt x="1543812" y="3961655"/>
                    <a:pt x="1510104" y="3979358"/>
                  </a:cubicBezTo>
                  <a:cubicBezTo>
                    <a:pt x="1501252" y="3991250"/>
                    <a:pt x="1510283" y="4005198"/>
                    <a:pt x="1505812" y="4017537"/>
                  </a:cubicBezTo>
                  <a:cubicBezTo>
                    <a:pt x="1486678" y="4071721"/>
                    <a:pt x="1451897" y="4114638"/>
                    <a:pt x="1408711" y="4151386"/>
                  </a:cubicBezTo>
                  <a:cubicBezTo>
                    <a:pt x="1402989" y="4156304"/>
                    <a:pt x="1395210" y="4159523"/>
                    <a:pt x="1391276" y="4165781"/>
                  </a:cubicBezTo>
                  <a:cubicBezTo>
                    <a:pt x="1354975" y="4223631"/>
                    <a:pt x="1298467" y="4243301"/>
                    <a:pt x="1234806" y="4250275"/>
                  </a:cubicBezTo>
                  <a:cubicBezTo>
                    <a:pt x="1215314" y="4254746"/>
                    <a:pt x="1194928" y="4250007"/>
                    <a:pt x="1175526" y="4255551"/>
                  </a:cubicBezTo>
                  <a:cubicBezTo>
                    <a:pt x="1168194" y="4257160"/>
                    <a:pt x="1161041" y="4258144"/>
                    <a:pt x="1153977" y="4261720"/>
                  </a:cubicBezTo>
                  <a:cubicBezTo>
                    <a:pt x="1090406" y="4293819"/>
                    <a:pt x="1069305" y="4286219"/>
                    <a:pt x="1037474" y="4220412"/>
                  </a:cubicBezTo>
                  <a:cubicBezTo>
                    <a:pt x="1033540" y="4206911"/>
                    <a:pt x="1045074" y="4196807"/>
                    <a:pt x="1045342" y="4184290"/>
                  </a:cubicBezTo>
                  <a:cubicBezTo>
                    <a:pt x="1019771" y="4148346"/>
                    <a:pt x="1004928" y="4105786"/>
                    <a:pt x="974976" y="4072704"/>
                  </a:cubicBezTo>
                  <a:cubicBezTo>
                    <a:pt x="970594" y="4067876"/>
                    <a:pt x="965587" y="4062422"/>
                    <a:pt x="965229" y="4056074"/>
                  </a:cubicBezTo>
                  <a:cubicBezTo>
                    <a:pt x="962547" y="4012262"/>
                    <a:pt x="940820" y="3973010"/>
                    <a:pt x="935455" y="3929914"/>
                  </a:cubicBezTo>
                  <a:cubicBezTo>
                    <a:pt x="934561" y="3915965"/>
                    <a:pt x="938138" y="3901570"/>
                    <a:pt x="930270" y="3888516"/>
                  </a:cubicBezTo>
                  <a:cubicBezTo>
                    <a:pt x="901301" y="3860351"/>
                    <a:pt x="892627" y="3818596"/>
                    <a:pt x="864374" y="3789895"/>
                  </a:cubicBezTo>
                  <a:cubicBezTo>
                    <a:pt x="860618" y="3786051"/>
                    <a:pt x="857578" y="3778898"/>
                    <a:pt x="859724" y="3775053"/>
                  </a:cubicBezTo>
                  <a:cubicBezTo>
                    <a:pt x="870543" y="3756276"/>
                    <a:pt x="856058" y="3737947"/>
                    <a:pt x="859992" y="3719528"/>
                  </a:cubicBezTo>
                  <a:cubicBezTo>
                    <a:pt x="864462" y="3705222"/>
                    <a:pt x="863032" y="3690380"/>
                    <a:pt x="863569" y="3675627"/>
                  </a:cubicBezTo>
                  <a:cubicBezTo>
                    <a:pt x="866609" y="3644512"/>
                    <a:pt x="877249" y="3617241"/>
                    <a:pt x="903357" y="3597929"/>
                  </a:cubicBezTo>
                  <a:cubicBezTo>
                    <a:pt x="919004" y="3588451"/>
                    <a:pt x="916679" y="3573609"/>
                    <a:pt x="914623" y="3558945"/>
                  </a:cubicBezTo>
                  <a:cubicBezTo>
                    <a:pt x="909794" y="3538023"/>
                    <a:pt x="892359" y="3521571"/>
                    <a:pt x="893432" y="3498592"/>
                  </a:cubicBezTo>
                  <a:cubicBezTo>
                    <a:pt x="895846" y="3482588"/>
                    <a:pt x="900227" y="3466404"/>
                    <a:pt x="890839" y="3451025"/>
                  </a:cubicBezTo>
                  <a:cubicBezTo>
                    <a:pt x="883418" y="3440207"/>
                    <a:pt x="875997" y="3429477"/>
                    <a:pt x="870185" y="3417764"/>
                  </a:cubicBezTo>
                  <a:cubicBezTo>
                    <a:pt x="854001" y="3385397"/>
                    <a:pt x="834778" y="3355891"/>
                    <a:pt x="805183" y="3333091"/>
                  </a:cubicBezTo>
                  <a:cubicBezTo>
                    <a:pt x="789447" y="3321021"/>
                    <a:pt x="771296" y="3308146"/>
                    <a:pt x="768793" y="3284899"/>
                  </a:cubicBezTo>
                  <a:cubicBezTo>
                    <a:pt x="773263" y="3270772"/>
                    <a:pt x="759851" y="3256734"/>
                    <a:pt x="768614" y="3242518"/>
                  </a:cubicBezTo>
                  <a:cubicBezTo>
                    <a:pt x="780595" y="3211671"/>
                    <a:pt x="780505" y="3178052"/>
                    <a:pt x="791235" y="3147026"/>
                  </a:cubicBezTo>
                  <a:cubicBezTo>
                    <a:pt x="791235" y="3137101"/>
                    <a:pt x="793828" y="3126551"/>
                    <a:pt x="784350" y="3119040"/>
                  </a:cubicBezTo>
                  <a:cubicBezTo>
                    <a:pt x="763160" y="3102678"/>
                    <a:pt x="741880" y="3091412"/>
                    <a:pt x="713447" y="3103661"/>
                  </a:cubicBezTo>
                  <a:cubicBezTo>
                    <a:pt x="694402" y="3111798"/>
                    <a:pt x="678666" y="3102410"/>
                    <a:pt x="665880" y="3086226"/>
                  </a:cubicBezTo>
                  <a:cubicBezTo>
                    <a:pt x="657296" y="3075318"/>
                    <a:pt x="646120" y="3066466"/>
                    <a:pt x="638251" y="3054843"/>
                  </a:cubicBezTo>
                  <a:cubicBezTo>
                    <a:pt x="627790" y="3040537"/>
                    <a:pt x="614110" y="3041342"/>
                    <a:pt x="599447" y="3046706"/>
                  </a:cubicBezTo>
                  <a:cubicBezTo>
                    <a:pt x="559838" y="3058061"/>
                    <a:pt x="519603" y="3067807"/>
                    <a:pt x="484374" y="3090697"/>
                  </a:cubicBezTo>
                  <a:cubicBezTo>
                    <a:pt x="467565" y="3101605"/>
                    <a:pt x="449325" y="3101873"/>
                    <a:pt x="431174" y="3095614"/>
                  </a:cubicBezTo>
                  <a:cubicBezTo>
                    <a:pt x="405871" y="3086852"/>
                    <a:pt x="382177" y="3089445"/>
                    <a:pt x="359198" y="3102678"/>
                  </a:cubicBezTo>
                  <a:cubicBezTo>
                    <a:pt x="355443" y="3104824"/>
                    <a:pt x="351240" y="3105986"/>
                    <a:pt x="347217" y="3107685"/>
                  </a:cubicBezTo>
                  <a:cubicBezTo>
                    <a:pt x="277297" y="3136654"/>
                    <a:pt x="261739" y="3132810"/>
                    <a:pt x="213725" y="3074692"/>
                  </a:cubicBezTo>
                  <a:cubicBezTo>
                    <a:pt x="205768" y="3061817"/>
                    <a:pt x="198078" y="3048673"/>
                    <a:pt x="181627" y="3044829"/>
                  </a:cubicBezTo>
                  <a:cubicBezTo>
                    <a:pt x="149438" y="3035440"/>
                    <a:pt x="129679" y="3016127"/>
                    <a:pt x="116446" y="2983492"/>
                  </a:cubicBezTo>
                  <a:cubicBezTo>
                    <a:pt x="100173" y="2943525"/>
                    <a:pt x="66375" y="2913930"/>
                    <a:pt x="37138" y="2882547"/>
                  </a:cubicBezTo>
                  <a:cubicBezTo>
                    <a:pt x="26140" y="2870744"/>
                    <a:pt x="17646" y="2859210"/>
                    <a:pt x="16305" y="2843563"/>
                  </a:cubicBezTo>
                  <a:cubicBezTo>
                    <a:pt x="15053" y="2829257"/>
                    <a:pt x="12728" y="2815667"/>
                    <a:pt x="5307" y="2803149"/>
                  </a:cubicBezTo>
                  <a:cubicBezTo>
                    <a:pt x="1373" y="2796533"/>
                    <a:pt x="-3098" y="2786698"/>
                    <a:pt x="2982" y="2781869"/>
                  </a:cubicBezTo>
                  <a:cubicBezTo>
                    <a:pt x="30879" y="2760142"/>
                    <a:pt x="23279" y="2725898"/>
                    <a:pt x="30968" y="2698180"/>
                  </a:cubicBezTo>
                  <a:cubicBezTo>
                    <a:pt x="39373" y="2668048"/>
                    <a:pt x="23368" y="2636128"/>
                    <a:pt x="10940" y="2606623"/>
                  </a:cubicBezTo>
                  <a:cubicBezTo>
                    <a:pt x="5665" y="2595536"/>
                    <a:pt x="6380" y="2583733"/>
                    <a:pt x="6916" y="2571931"/>
                  </a:cubicBezTo>
                  <a:cubicBezTo>
                    <a:pt x="9509" y="2549757"/>
                    <a:pt x="23100" y="2532590"/>
                    <a:pt x="33025" y="2513724"/>
                  </a:cubicBezTo>
                  <a:cubicBezTo>
                    <a:pt x="40356" y="2504783"/>
                    <a:pt x="39105" y="2493159"/>
                    <a:pt x="42592" y="2483056"/>
                  </a:cubicBezTo>
                  <a:cubicBezTo>
                    <a:pt x="69683" y="2445235"/>
                    <a:pt x="82201" y="2398741"/>
                    <a:pt x="114032" y="2363781"/>
                  </a:cubicBezTo>
                  <a:cubicBezTo>
                    <a:pt x="121184" y="2352872"/>
                    <a:pt x="131735" y="2346524"/>
                    <a:pt x="143448" y="2341696"/>
                  </a:cubicBezTo>
                  <a:cubicBezTo>
                    <a:pt x="172417" y="2325334"/>
                    <a:pt x="199509" y="2306826"/>
                    <a:pt x="215514" y="2276157"/>
                  </a:cubicBezTo>
                  <a:cubicBezTo>
                    <a:pt x="216765" y="2263819"/>
                    <a:pt x="215603" y="2251838"/>
                    <a:pt x="211848" y="2240035"/>
                  </a:cubicBezTo>
                  <a:cubicBezTo>
                    <a:pt x="209344" y="2226981"/>
                    <a:pt x="208718" y="2214195"/>
                    <a:pt x="215692" y="2202125"/>
                  </a:cubicBezTo>
                  <a:cubicBezTo>
                    <a:pt x="222309" y="2193631"/>
                    <a:pt x="228121" y="2184600"/>
                    <a:pt x="231608" y="2174228"/>
                  </a:cubicBezTo>
                  <a:cubicBezTo>
                    <a:pt x="247523" y="2144096"/>
                    <a:pt x="277923" y="2130506"/>
                    <a:pt x="303226" y="2111104"/>
                  </a:cubicBezTo>
                  <a:cubicBezTo>
                    <a:pt x="304836" y="2106544"/>
                    <a:pt x="311452" y="2104308"/>
                    <a:pt x="309217" y="2098050"/>
                  </a:cubicBezTo>
                  <a:cubicBezTo>
                    <a:pt x="305462" y="2081061"/>
                    <a:pt x="313956" y="2072120"/>
                    <a:pt x="329245" y="2067739"/>
                  </a:cubicBezTo>
                  <a:cubicBezTo>
                    <a:pt x="360986" y="2080435"/>
                    <a:pt x="393800" y="2071226"/>
                    <a:pt x="425809" y="2070332"/>
                  </a:cubicBezTo>
                  <a:cubicBezTo>
                    <a:pt x="448341" y="2069706"/>
                    <a:pt x="464435" y="2048158"/>
                    <a:pt x="484374" y="2037518"/>
                  </a:cubicBezTo>
                  <a:cubicBezTo>
                    <a:pt x="497875" y="2030276"/>
                    <a:pt x="510661" y="2020083"/>
                    <a:pt x="525950" y="2019993"/>
                  </a:cubicBezTo>
                  <a:cubicBezTo>
                    <a:pt x="579150" y="2019725"/>
                    <a:pt x="631635" y="2010337"/>
                    <a:pt x="684656" y="2010247"/>
                  </a:cubicBezTo>
                  <a:cubicBezTo>
                    <a:pt x="697442" y="2010247"/>
                    <a:pt x="707545" y="2004972"/>
                    <a:pt x="718722" y="2001127"/>
                  </a:cubicBezTo>
                  <a:cubicBezTo>
                    <a:pt x="750195" y="1990398"/>
                    <a:pt x="773353" y="2005866"/>
                    <a:pt x="779164" y="2037428"/>
                  </a:cubicBezTo>
                  <a:cubicBezTo>
                    <a:pt x="783903" y="2063090"/>
                    <a:pt x="798745" y="2085800"/>
                    <a:pt x="787032" y="2115217"/>
                  </a:cubicBezTo>
                  <a:cubicBezTo>
                    <a:pt x="781936" y="2128002"/>
                    <a:pt x="803573" y="2138642"/>
                    <a:pt x="817521" y="2144454"/>
                  </a:cubicBezTo>
                  <a:cubicBezTo>
                    <a:pt x="832543" y="2150713"/>
                    <a:pt x="849084" y="2152412"/>
                    <a:pt x="865088" y="2155273"/>
                  </a:cubicBezTo>
                  <a:cubicBezTo>
                    <a:pt x="888157" y="2159386"/>
                    <a:pt x="906129" y="2167522"/>
                    <a:pt x="921150" y="2188892"/>
                  </a:cubicBezTo>
                  <a:cubicBezTo>
                    <a:pt x="940105" y="2215894"/>
                    <a:pt x="976495" y="2215000"/>
                    <a:pt x="1005197" y="2225997"/>
                  </a:cubicBezTo>
                  <a:cubicBezTo>
                    <a:pt x="1017714" y="2230826"/>
                    <a:pt x="1022006" y="2215626"/>
                    <a:pt x="1022095" y="2204002"/>
                  </a:cubicBezTo>
                  <a:cubicBezTo>
                    <a:pt x="1022095" y="2188087"/>
                    <a:pt x="1025672" y="2173781"/>
                    <a:pt x="1038994" y="2163409"/>
                  </a:cubicBezTo>
                  <a:cubicBezTo>
                    <a:pt x="1070467" y="2145170"/>
                    <a:pt x="1101403" y="2138106"/>
                    <a:pt x="1130462" y="2168238"/>
                  </a:cubicBezTo>
                  <a:cubicBezTo>
                    <a:pt x="1135737" y="2173781"/>
                    <a:pt x="1142622" y="2171099"/>
                    <a:pt x="1148970" y="2171188"/>
                  </a:cubicBezTo>
                  <a:cubicBezTo>
                    <a:pt x="1174006" y="2177447"/>
                    <a:pt x="1197521" y="2188445"/>
                    <a:pt x="1223629" y="2191663"/>
                  </a:cubicBezTo>
                  <a:cubicBezTo>
                    <a:pt x="1253671" y="2195419"/>
                    <a:pt x="1282820" y="2203913"/>
                    <a:pt x="1309732" y="2180219"/>
                  </a:cubicBezTo>
                  <a:cubicBezTo>
                    <a:pt x="1319568" y="2171546"/>
                    <a:pt x="1334410" y="2173871"/>
                    <a:pt x="1347374" y="2177089"/>
                  </a:cubicBezTo>
                  <a:cubicBezTo>
                    <a:pt x="1355779" y="2179414"/>
                    <a:pt x="1363200" y="2184242"/>
                    <a:pt x="1371426" y="2187103"/>
                  </a:cubicBezTo>
                  <a:cubicBezTo>
                    <a:pt x="1396909" y="2195955"/>
                    <a:pt x="1413003" y="2189696"/>
                    <a:pt x="1418367" y="2163767"/>
                  </a:cubicBezTo>
                  <a:cubicBezTo>
                    <a:pt x="1428381" y="2115306"/>
                    <a:pt x="1445191" y="2067560"/>
                    <a:pt x="1440273" y="2014539"/>
                  </a:cubicBezTo>
                  <a:cubicBezTo>
                    <a:pt x="1405760" y="2028934"/>
                    <a:pt x="1371695" y="2037876"/>
                    <a:pt x="1336377" y="2019189"/>
                  </a:cubicBezTo>
                  <a:cubicBezTo>
                    <a:pt x="1325826" y="2013645"/>
                    <a:pt x="1315097" y="2019010"/>
                    <a:pt x="1305619" y="2025000"/>
                  </a:cubicBezTo>
                  <a:cubicBezTo>
                    <a:pt x="1293013" y="2033047"/>
                    <a:pt x="1279332" y="2034299"/>
                    <a:pt x="1264848" y="2032511"/>
                  </a:cubicBezTo>
                  <a:cubicBezTo>
                    <a:pt x="1219426" y="2026967"/>
                    <a:pt x="1193408" y="2001843"/>
                    <a:pt x="1181337" y="1950878"/>
                  </a:cubicBezTo>
                  <a:cubicBezTo>
                    <a:pt x="1179817" y="1944530"/>
                    <a:pt x="1179907" y="1937913"/>
                    <a:pt x="1177940" y="1931655"/>
                  </a:cubicBezTo>
                  <a:cubicBezTo>
                    <a:pt x="1162471" y="1882299"/>
                    <a:pt x="1201902" y="1900539"/>
                    <a:pt x="1219605" y="1878723"/>
                  </a:cubicBezTo>
                  <a:cubicBezTo>
                    <a:pt x="1231587" y="1875951"/>
                    <a:pt x="1248128" y="1868709"/>
                    <a:pt x="1253403" y="1855029"/>
                  </a:cubicBezTo>
                  <a:cubicBezTo>
                    <a:pt x="1257873" y="1843316"/>
                    <a:pt x="1260824" y="1835805"/>
                    <a:pt x="1271822" y="1834732"/>
                  </a:cubicBezTo>
                  <a:cubicBezTo>
                    <a:pt x="1300433" y="1831782"/>
                    <a:pt x="1327167" y="1823735"/>
                    <a:pt x="1351398" y="1807730"/>
                  </a:cubicBezTo>
                  <a:cubicBezTo>
                    <a:pt x="1374377" y="1792530"/>
                    <a:pt x="1399055" y="1791457"/>
                    <a:pt x="1422570" y="1805137"/>
                  </a:cubicBezTo>
                  <a:cubicBezTo>
                    <a:pt x="1463252" y="1828831"/>
                    <a:pt x="1507242" y="1820605"/>
                    <a:pt x="1550249" y="1819980"/>
                  </a:cubicBezTo>
                  <a:cubicBezTo>
                    <a:pt x="1566791" y="1819711"/>
                    <a:pt x="1574123" y="1810770"/>
                    <a:pt x="1563661" y="1793782"/>
                  </a:cubicBezTo>
                  <a:cubicBezTo>
                    <a:pt x="1552127" y="1775006"/>
                    <a:pt x="1538536" y="1760253"/>
                    <a:pt x="1518240" y="1749076"/>
                  </a:cubicBezTo>
                  <a:cubicBezTo>
                    <a:pt x="1487572" y="1732177"/>
                    <a:pt x="1449751" y="1724041"/>
                    <a:pt x="1431511" y="1688813"/>
                  </a:cubicBezTo>
                  <a:cubicBezTo>
                    <a:pt x="1426682" y="1677994"/>
                    <a:pt x="1430259" y="1668248"/>
                    <a:pt x="1435445" y="1658771"/>
                  </a:cubicBezTo>
                  <a:cubicBezTo>
                    <a:pt x="1444207" y="1642676"/>
                    <a:pt x="1450824" y="1599938"/>
                    <a:pt x="1442061" y="1605392"/>
                  </a:cubicBezTo>
                  <a:cubicBezTo>
                    <a:pt x="1418993" y="1614959"/>
                    <a:pt x="1400127" y="1632036"/>
                    <a:pt x="1375539" y="1640083"/>
                  </a:cubicBezTo>
                  <a:cubicBezTo>
                    <a:pt x="1384033" y="1652154"/>
                    <a:pt x="1394494" y="1657698"/>
                    <a:pt x="1406207" y="1660291"/>
                  </a:cubicBezTo>
                  <a:cubicBezTo>
                    <a:pt x="1428024" y="1665029"/>
                    <a:pt x="1432941" y="1676295"/>
                    <a:pt x="1421139" y="1695161"/>
                  </a:cubicBezTo>
                  <a:cubicBezTo>
                    <a:pt x="1402989" y="1701867"/>
                    <a:pt x="1384123" y="1705533"/>
                    <a:pt x="1367760" y="1718050"/>
                  </a:cubicBezTo>
                  <a:cubicBezTo>
                    <a:pt x="1352918" y="1729406"/>
                    <a:pt x="1336824" y="1724577"/>
                    <a:pt x="1332085" y="1705801"/>
                  </a:cubicBezTo>
                  <a:cubicBezTo>
                    <a:pt x="1327436" y="1687472"/>
                    <a:pt x="1289972" y="1661989"/>
                    <a:pt x="1317153" y="1650098"/>
                  </a:cubicBezTo>
                  <a:cubicBezTo>
                    <a:pt x="1359624" y="1631500"/>
                    <a:pt x="1301685" y="1638563"/>
                    <a:pt x="1296589" y="1628102"/>
                  </a:cubicBezTo>
                  <a:cubicBezTo>
                    <a:pt x="1295337" y="1625599"/>
                    <a:pt x="1282194" y="1636060"/>
                    <a:pt x="1278617" y="1643481"/>
                  </a:cubicBezTo>
                  <a:cubicBezTo>
                    <a:pt x="1254834" y="1691406"/>
                    <a:pt x="1231408" y="1739688"/>
                    <a:pt x="1219605" y="1792262"/>
                  </a:cubicBezTo>
                  <a:cubicBezTo>
                    <a:pt x="1216565" y="1805853"/>
                    <a:pt x="1224881" y="1817476"/>
                    <a:pt x="1233554" y="1827579"/>
                  </a:cubicBezTo>
                  <a:cubicBezTo>
                    <a:pt x="1245088" y="1840902"/>
                    <a:pt x="1241869" y="1849217"/>
                    <a:pt x="1227116" y="1858337"/>
                  </a:cubicBezTo>
                  <a:cubicBezTo>
                    <a:pt x="1197074" y="1876935"/>
                    <a:pt x="1166138" y="1879438"/>
                    <a:pt x="1133323" y="1868798"/>
                  </a:cubicBezTo>
                  <a:cubicBezTo>
                    <a:pt x="1121700" y="1865043"/>
                    <a:pt x="1118928" y="1872196"/>
                    <a:pt x="1118034" y="1881495"/>
                  </a:cubicBezTo>
                  <a:cubicBezTo>
                    <a:pt x="1110523" y="1899109"/>
                    <a:pt x="1100241" y="1891151"/>
                    <a:pt x="1086740" y="1882657"/>
                  </a:cubicBezTo>
                  <a:cubicBezTo>
                    <a:pt x="1102655" y="1905457"/>
                    <a:pt x="1107752" y="1930224"/>
                    <a:pt x="1124471" y="1949269"/>
                  </a:cubicBezTo>
                  <a:cubicBezTo>
                    <a:pt x="1133592" y="1959551"/>
                    <a:pt x="1132429" y="1968939"/>
                    <a:pt x="1116603" y="1971890"/>
                  </a:cubicBezTo>
                  <a:cubicBezTo>
                    <a:pt x="1111954" y="1971711"/>
                    <a:pt x="1107752" y="1970102"/>
                    <a:pt x="1103817" y="1967777"/>
                  </a:cubicBezTo>
                  <a:cubicBezTo>
                    <a:pt x="1096307" y="1962323"/>
                    <a:pt x="1087366" y="1962233"/>
                    <a:pt x="1078693" y="1961339"/>
                  </a:cubicBezTo>
                  <a:cubicBezTo>
                    <a:pt x="1034702" y="1953113"/>
                    <a:pt x="994199" y="1908586"/>
                    <a:pt x="989281" y="1858516"/>
                  </a:cubicBezTo>
                  <a:cubicBezTo>
                    <a:pt x="986688" y="1832408"/>
                    <a:pt x="972293" y="1822841"/>
                    <a:pt x="952801" y="1807730"/>
                  </a:cubicBezTo>
                  <a:cubicBezTo>
                    <a:pt x="922669" y="1784215"/>
                    <a:pt x="877249" y="1778582"/>
                    <a:pt x="863122" y="1733161"/>
                  </a:cubicBezTo>
                  <a:cubicBezTo>
                    <a:pt x="857399" y="1714832"/>
                    <a:pt x="828609" y="1713580"/>
                    <a:pt x="816360" y="1696145"/>
                  </a:cubicBezTo>
                  <a:cubicBezTo>
                    <a:pt x="814213" y="1693105"/>
                    <a:pt x="808491" y="1697396"/>
                    <a:pt x="807239" y="1702135"/>
                  </a:cubicBezTo>
                  <a:cubicBezTo>
                    <a:pt x="805808" y="1707589"/>
                    <a:pt x="806256" y="1713669"/>
                    <a:pt x="808938" y="1718050"/>
                  </a:cubicBezTo>
                  <a:cubicBezTo>
                    <a:pt x="833079" y="1757034"/>
                    <a:pt x="852035" y="1799951"/>
                    <a:pt x="895220" y="1823824"/>
                  </a:cubicBezTo>
                  <a:cubicBezTo>
                    <a:pt x="918020" y="1836431"/>
                    <a:pt x="938495" y="1852883"/>
                    <a:pt x="957451" y="1870497"/>
                  </a:cubicBezTo>
                  <a:cubicBezTo>
                    <a:pt x="968448" y="1880779"/>
                    <a:pt x="975959" y="1896605"/>
                    <a:pt x="949672" y="1898572"/>
                  </a:cubicBezTo>
                  <a:cubicBezTo>
                    <a:pt x="933846" y="1899824"/>
                    <a:pt x="940105" y="1908855"/>
                    <a:pt x="941178" y="1916812"/>
                  </a:cubicBezTo>
                  <a:cubicBezTo>
                    <a:pt x="943860" y="1936036"/>
                    <a:pt x="940731" y="1953918"/>
                    <a:pt x="926693" y="1968224"/>
                  </a:cubicBezTo>
                  <a:cubicBezTo>
                    <a:pt x="919630" y="1975377"/>
                    <a:pt x="909973" y="1980384"/>
                    <a:pt x="900049" y="1975109"/>
                  </a:cubicBezTo>
                  <a:cubicBezTo>
                    <a:pt x="890839" y="1970102"/>
                    <a:pt x="893164" y="1960624"/>
                    <a:pt x="894326" y="1951683"/>
                  </a:cubicBezTo>
                  <a:cubicBezTo>
                    <a:pt x="898618" y="1917528"/>
                    <a:pt x="879037" y="1885876"/>
                    <a:pt x="847296" y="1871570"/>
                  </a:cubicBezTo>
                  <a:cubicBezTo>
                    <a:pt x="802053" y="1851184"/>
                    <a:pt x="763249" y="1823735"/>
                    <a:pt x="739823" y="1777330"/>
                  </a:cubicBezTo>
                  <a:cubicBezTo>
                    <a:pt x="724355" y="1746751"/>
                    <a:pt x="708708" y="1745768"/>
                    <a:pt x="685639" y="1769909"/>
                  </a:cubicBezTo>
                  <a:cubicBezTo>
                    <a:pt x="662572" y="1794050"/>
                    <a:pt x="637625" y="1804958"/>
                    <a:pt x="603828" y="1789490"/>
                  </a:cubicBezTo>
                  <a:cubicBezTo>
                    <a:pt x="581565" y="1779297"/>
                    <a:pt x="568868" y="1788060"/>
                    <a:pt x="571103" y="1812201"/>
                  </a:cubicBezTo>
                  <a:cubicBezTo>
                    <a:pt x="573875" y="1842869"/>
                    <a:pt x="559301" y="1859142"/>
                    <a:pt x="533998" y="1870050"/>
                  </a:cubicBezTo>
                  <a:cubicBezTo>
                    <a:pt x="499932" y="1884624"/>
                    <a:pt x="484463" y="1907961"/>
                    <a:pt x="488934" y="1947123"/>
                  </a:cubicBezTo>
                  <a:cubicBezTo>
                    <a:pt x="493226" y="1984139"/>
                    <a:pt x="449057" y="2035730"/>
                    <a:pt x="411951" y="2040200"/>
                  </a:cubicBezTo>
                  <a:cubicBezTo>
                    <a:pt x="382355" y="2043777"/>
                    <a:pt x="359109" y="2067113"/>
                    <a:pt x="328172" y="2064967"/>
                  </a:cubicBezTo>
                  <a:cubicBezTo>
                    <a:pt x="322629" y="2064967"/>
                    <a:pt x="316728" y="2064163"/>
                    <a:pt x="313241" y="2060050"/>
                  </a:cubicBezTo>
                  <a:cubicBezTo>
                    <a:pt x="295537" y="2039306"/>
                    <a:pt x="272201" y="2034657"/>
                    <a:pt x="246629" y="2035372"/>
                  </a:cubicBezTo>
                  <a:cubicBezTo>
                    <a:pt x="234648" y="2028040"/>
                    <a:pt x="236168" y="2015344"/>
                    <a:pt x="234201" y="2004078"/>
                  </a:cubicBezTo>
                  <a:cubicBezTo>
                    <a:pt x="219090" y="1978149"/>
                    <a:pt x="218464" y="1951593"/>
                    <a:pt x="227137" y="1923071"/>
                  </a:cubicBezTo>
                  <a:cubicBezTo>
                    <a:pt x="236704" y="1891419"/>
                    <a:pt x="229909" y="1858874"/>
                    <a:pt x="226690" y="1827043"/>
                  </a:cubicBezTo>
                  <a:cubicBezTo>
                    <a:pt x="222935" y="1790027"/>
                    <a:pt x="253156" y="1760521"/>
                    <a:pt x="290351" y="1767137"/>
                  </a:cubicBezTo>
                  <a:cubicBezTo>
                    <a:pt x="325579" y="1773396"/>
                    <a:pt x="361165" y="1775453"/>
                    <a:pt x="396930" y="1775900"/>
                  </a:cubicBezTo>
                  <a:cubicBezTo>
                    <a:pt x="418657" y="1776168"/>
                    <a:pt x="430638" y="1767316"/>
                    <a:pt x="437344" y="1746394"/>
                  </a:cubicBezTo>
                  <a:cubicBezTo>
                    <a:pt x="460144" y="1675669"/>
                    <a:pt x="443871" y="1638921"/>
                    <a:pt x="374040" y="1607180"/>
                  </a:cubicBezTo>
                  <a:cubicBezTo>
                    <a:pt x="368050" y="1604408"/>
                    <a:pt x="362327" y="1601458"/>
                    <a:pt x="358483" y="1595825"/>
                  </a:cubicBezTo>
                  <a:cubicBezTo>
                    <a:pt x="356158" y="1591444"/>
                    <a:pt x="355264" y="1586705"/>
                    <a:pt x="355711" y="1581787"/>
                  </a:cubicBezTo>
                  <a:cubicBezTo>
                    <a:pt x="358483" y="1562385"/>
                    <a:pt x="370375" y="1554070"/>
                    <a:pt x="389330" y="1553712"/>
                  </a:cubicBezTo>
                  <a:cubicBezTo>
                    <a:pt x="396930" y="1553622"/>
                    <a:pt x="410431" y="1554964"/>
                    <a:pt x="411057" y="1551477"/>
                  </a:cubicBezTo>
                  <a:cubicBezTo>
                    <a:pt x="419193" y="1507486"/>
                    <a:pt x="465240" y="1531091"/>
                    <a:pt x="485268" y="1508559"/>
                  </a:cubicBezTo>
                  <a:cubicBezTo>
                    <a:pt x="507353" y="1483524"/>
                    <a:pt x="529706" y="1458757"/>
                    <a:pt x="554205" y="1435957"/>
                  </a:cubicBezTo>
                  <a:cubicBezTo>
                    <a:pt x="568868" y="1422366"/>
                    <a:pt x="573428" y="1402338"/>
                    <a:pt x="580760" y="1384277"/>
                  </a:cubicBezTo>
                  <a:cubicBezTo>
                    <a:pt x="604544" y="1359868"/>
                    <a:pt x="640397" y="1362371"/>
                    <a:pt x="667847" y="1345562"/>
                  </a:cubicBezTo>
                  <a:cubicBezTo>
                    <a:pt x="677056" y="1339929"/>
                    <a:pt x="690199" y="1340197"/>
                    <a:pt x="680722" y="1324461"/>
                  </a:cubicBezTo>
                  <a:cubicBezTo>
                    <a:pt x="674374" y="1311943"/>
                    <a:pt x="668472" y="1299336"/>
                    <a:pt x="674284" y="1284851"/>
                  </a:cubicBezTo>
                  <a:cubicBezTo>
                    <a:pt x="676967" y="1278324"/>
                    <a:pt x="674195" y="1272066"/>
                    <a:pt x="673301" y="1265628"/>
                  </a:cubicBezTo>
                  <a:cubicBezTo>
                    <a:pt x="669545" y="1235943"/>
                    <a:pt x="696279" y="1205722"/>
                    <a:pt x="726054" y="1206795"/>
                  </a:cubicBezTo>
                  <a:cubicBezTo>
                    <a:pt x="740270" y="1207332"/>
                    <a:pt x="750642" y="1215557"/>
                    <a:pt x="756275" y="1228522"/>
                  </a:cubicBezTo>
                  <a:cubicBezTo>
                    <a:pt x="761461" y="1240414"/>
                    <a:pt x="755917" y="1249713"/>
                    <a:pt x="746708" y="1257044"/>
                  </a:cubicBezTo>
                  <a:cubicBezTo>
                    <a:pt x="734905" y="1266343"/>
                    <a:pt x="724534" y="1276357"/>
                    <a:pt x="734190" y="1292630"/>
                  </a:cubicBezTo>
                  <a:cubicBezTo>
                    <a:pt x="742773" y="1307204"/>
                    <a:pt x="753503" y="1319454"/>
                    <a:pt x="773353" y="1315162"/>
                  </a:cubicBezTo>
                  <a:cubicBezTo>
                    <a:pt x="782115" y="1313284"/>
                    <a:pt x="791413" y="1312748"/>
                    <a:pt x="799103" y="1316861"/>
                  </a:cubicBezTo>
                  <a:cubicBezTo>
                    <a:pt x="829413" y="1333134"/>
                    <a:pt x="854538" y="1324371"/>
                    <a:pt x="880288" y="1305148"/>
                  </a:cubicBezTo>
                  <a:cubicBezTo>
                    <a:pt x="902552" y="1288517"/>
                    <a:pt x="927588" y="1275731"/>
                    <a:pt x="954500" y="1298889"/>
                  </a:cubicBezTo>
                  <a:cubicBezTo>
                    <a:pt x="960759" y="1304254"/>
                    <a:pt x="967733" y="1302734"/>
                    <a:pt x="970683" y="1295581"/>
                  </a:cubicBezTo>
                  <a:cubicBezTo>
                    <a:pt x="978284" y="1276894"/>
                    <a:pt x="993573" y="1260084"/>
                    <a:pt x="986330" y="1237284"/>
                  </a:cubicBezTo>
                  <a:cubicBezTo>
                    <a:pt x="980966" y="1220296"/>
                    <a:pt x="986063" y="1205543"/>
                    <a:pt x="994825" y="1190701"/>
                  </a:cubicBezTo>
                  <a:cubicBezTo>
                    <a:pt x="1016552" y="1153953"/>
                    <a:pt x="1026834" y="1152165"/>
                    <a:pt x="1061436" y="1182922"/>
                  </a:cubicBezTo>
                  <a:cubicBezTo>
                    <a:pt x="1066801" y="1167365"/>
                    <a:pt x="1069931" y="1155205"/>
                    <a:pt x="1057055" y="1141793"/>
                  </a:cubicBezTo>
                  <a:cubicBezTo>
                    <a:pt x="1037564" y="1121675"/>
                    <a:pt x="1039709" y="1101826"/>
                    <a:pt x="1061257" y="1084301"/>
                  </a:cubicBezTo>
                  <a:cubicBezTo>
                    <a:pt x="1075564" y="1072678"/>
                    <a:pt x="1092641" y="1066419"/>
                    <a:pt x="1110076" y="1070532"/>
                  </a:cubicBezTo>
                  <a:cubicBezTo>
                    <a:pt x="1139403" y="1077327"/>
                    <a:pt x="1163455" y="1068118"/>
                    <a:pt x="1188401" y="1049699"/>
                  </a:cubicBezTo>
                  <a:cubicBezTo>
                    <a:pt x="1160683" y="1018673"/>
                    <a:pt x="1130820" y="1042546"/>
                    <a:pt x="1102745" y="1046212"/>
                  </a:cubicBezTo>
                  <a:cubicBezTo>
                    <a:pt x="1093446" y="1047374"/>
                    <a:pt x="1085578" y="1055332"/>
                    <a:pt x="1076457" y="1058998"/>
                  </a:cubicBezTo>
                  <a:cubicBezTo>
                    <a:pt x="1036133" y="1075271"/>
                    <a:pt x="994914" y="1049162"/>
                    <a:pt x="993394" y="1006066"/>
                  </a:cubicBezTo>
                  <a:cubicBezTo>
                    <a:pt x="993036" y="996231"/>
                    <a:pt x="991785" y="986574"/>
                    <a:pt x="989997" y="976918"/>
                  </a:cubicBezTo>
                  <a:cubicBezTo>
                    <a:pt x="982218" y="934537"/>
                    <a:pt x="987046" y="896984"/>
                    <a:pt x="1026387" y="869982"/>
                  </a:cubicBezTo>
                  <a:cubicBezTo>
                    <a:pt x="1041498" y="859520"/>
                    <a:pt x="1049724" y="841459"/>
                    <a:pt x="1063582" y="828852"/>
                  </a:cubicBezTo>
                  <a:cubicBezTo>
                    <a:pt x="1074759" y="818659"/>
                    <a:pt x="1069931" y="806499"/>
                    <a:pt x="1064566" y="795770"/>
                  </a:cubicBezTo>
                  <a:cubicBezTo>
                    <a:pt x="1058128" y="782895"/>
                    <a:pt x="1046952" y="785845"/>
                    <a:pt x="1036133" y="789422"/>
                  </a:cubicBezTo>
                  <a:cubicBezTo>
                    <a:pt x="1014227" y="796664"/>
                    <a:pt x="1002156" y="812043"/>
                    <a:pt x="998848" y="834575"/>
                  </a:cubicBezTo>
                  <a:cubicBezTo>
                    <a:pt x="993394" y="871233"/>
                    <a:pt x="976853" y="897610"/>
                    <a:pt x="941625" y="915582"/>
                  </a:cubicBezTo>
                  <a:cubicBezTo>
                    <a:pt x="896830" y="938471"/>
                    <a:pt x="891644" y="992028"/>
                    <a:pt x="926693" y="1027257"/>
                  </a:cubicBezTo>
                  <a:cubicBezTo>
                    <a:pt x="932863" y="1033515"/>
                    <a:pt x="938853" y="1039774"/>
                    <a:pt x="943056" y="1047553"/>
                  </a:cubicBezTo>
                  <a:cubicBezTo>
                    <a:pt x="958524" y="1076433"/>
                    <a:pt x="914801" y="1092974"/>
                    <a:pt x="916858" y="1093958"/>
                  </a:cubicBezTo>
                  <a:cubicBezTo>
                    <a:pt x="936081" y="1102899"/>
                    <a:pt x="930180" y="1115059"/>
                    <a:pt x="918378" y="1123553"/>
                  </a:cubicBezTo>
                  <a:cubicBezTo>
                    <a:pt x="899154" y="1137412"/>
                    <a:pt x="897992" y="1155294"/>
                    <a:pt x="901389" y="1175769"/>
                  </a:cubicBezTo>
                  <a:cubicBezTo>
                    <a:pt x="906844" y="1208852"/>
                    <a:pt x="893074" y="1233619"/>
                    <a:pt x="864731" y="1249087"/>
                  </a:cubicBezTo>
                  <a:cubicBezTo>
                    <a:pt x="853376" y="1255256"/>
                    <a:pt x="846223" y="1262588"/>
                    <a:pt x="840500" y="1273675"/>
                  </a:cubicBezTo>
                  <a:cubicBezTo>
                    <a:pt x="833616" y="1286908"/>
                    <a:pt x="820115" y="1289769"/>
                    <a:pt x="806613" y="1288428"/>
                  </a:cubicBezTo>
                  <a:cubicBezTo>
                    <a:pt x="792039" y="1286997"/>
                    <a:pt x="791145" y="1273764"/>
                    <a:pt x="790519" y="1263482"/>
                  </a:cubicBezTo>
                  <a:cubicBezTo>
                    <a:pt x="787301" y="1208494"/>
                    <a:pt x="749211" y="1166292"/>
                    <a:pt x="737856" y="1113539"/>
                  </a:cubicBezTo>
                  <a:cubicBezTo>
                    <a:pt x="680990" y="1175412"/>
                    <a:pt x="662661" y="1181134"/>
                    <a:pt x="614915" y="1152880"/>
                  </a:cubicBezTo>
                  <a:cubicBezTo>
                    <a:pt x="613037" y="1150376"/>
                    <a:pt x="611607" y="1147605"/>
                    <a:pt x="610623" y="1144654"/>
                  </a:cubicBezTo>
                  <a:cubicBezTo>
                    <a:pt x="601682" y="1130527"/>
                    <a:pt x="621710" y="1112645"/>
                    <a:pt x="604722" y="1099501"/>
                  </a:cubicBezTo>
                  <a:cubicBezTo>
                    <a:pt x="604096" y="1070532"/>
                    <a:pt x="576736" y="1044334"/>
                    <a:pt x="595602" y="1013308"/>
                  </a:cubicBezTo>
                  <a:cubicBezTo>
                    <a:pt x="578167" y="1006692"/>
                    <a:pt x="583710" y="995605"/>
                    <a:pt x="590059" y="984429"/>
                  </a:cubicBezTo>
                  <a:cubicBezTo>
                    <a:pt x="592294" y="982640"/>
                    <a:pt x="594797" y="981299"/>
                    <a:pt x="597390" y="980226"/>
                  </a:cubicBezTo>
                  <a:cubicBezTo>
                    <a:pt x="605080" y="978796"/>
                    <a:pt x="601772" y="972984"/>
                    <a:pt x="601861" y="968424"/>
                  </a:cubicBezTo>
                  <a:cubicBezTo>
                    <a:pt x="603292" y="965563"/>
                    <a:pt x="605616" y="961986"/>
                    <a:pt x="608209" y="962165"/>
                  </a:cubicBezTo>
                  <a:cubicBezTo>
                    <a:pt x="629310" y="963596"/>
                    <a:pt x="618670" y="948485"/>
                    <a:pt x="620191" y="939723"/>
                  </a:cubicBezTo>
                  <a:cubicBezTo>
                    <a:pt x="638430" y="921572"/>
                    <a:pt x="669992" y="916029"/>
                    <a:pt x="673301" y="883393"/>
                  </a:cubicBezTo>
                  <a:cubicBezTo>
                    <a:pt x="673658" y="879728"/>
                    <a:pt x="672317" y="880800"/>
                    <a:pt x="674910" y="881248"/>
                  </a:cubicBezTo>
                  <a:cubicBezTo>
                    <a:pt x="703433" y="886344"/>
                    <a:pt x="710586" y="851384"/>
                    <a:pt x="735174" y="849775"/>
                  </a:cubicBezTo>
                  <a:cubicBezTo>
                    <a:pt x="745367" y="852278"/>
                    <a:pt x="754129" y="853888"/>
                    <a:pt x="749658" y="852457"/>
                  </a:cubicBezTo>
                  <a:cubicBezTo>
                    <a:pt x="730793" y="841191"/>
                    <a:pt x="730882" y="825723"/>
                    <a:pt x="745188" y="812848"/>
                  </a:cubicBezTo>
                  <a:cubicBezTo>
                    <a:pt x="759851" y="799704"/>
                    <a:pt x="768345" y="782001"/>
                    <a:pt x="782651" y="769036"/>
                  </a:cubicBezTo>
                  <a:cubicBezTo>
                    <a:pt x="786227" y="766443"/>
                    <a:pt x="790161" y="765012"/>
                    <a:pt x="794364" y="764476"/>
                  </a:cubicBezTo>
                  <a:cubicBezTo>
                    <a:pt x="807150" y="764476"/>
                    <a:pt x="794990" y="757770"/>
                    <a:pt x="796778" y="754820"/>
                  </a:cubicBezTo>
                  <a:cubicBezTo>
                    <a:pt x="796242" y="746147"/>
                    <a:pt x="798298" y="738100"/>
                    <a:pt x="800980" y="730053"/>
                  </a:cubicBezTo>
                  <a:cubicBezTo>
                    <a:pt x="805004" y="720575"/>
                    <a:pt x="814750" y="716194"/>
                    <a:pt x="820383" y="708057"/>
                  </a:cubicBezTo>
                  <a:cubicBezTo>
                    <a:pt x="825032" y="703229"/>
                    <a:pt x="830218" y="698580"/>
                    <a:pt x="823959" y="691337"/>
                  </a:cubicBezTo>
                  <a:cubicBezTo>
                    <a:pt x="816448" y="674260"/>
                    <a:pt x="826821" y="666392"/>
                    <a:pt x="839964" y="659954"/>
                  </a:cubicBezTo>
                  <a:cubicBezTo>
                    <a:pt x="846759" y="657182"/>
                    <a:pt x="852661" y="652622"/>
                    <a:pt x="858830" y="648867"/>
                  </a:cubicBezTo>
                  <a:cubicBezTo>
                    <a:pt x="872152" y="608721"/>
                    <a:pt x="905503" y="589498"/>
                    <a:pt x="940015" y="571526"/>
                  </a:cubicBezTo>
                  <a:cubicBezTo>
                    <a:pt x="949046" y="574208"/>
                    <a:pt x="958166" y="583328"/>
                    <a:pt x="967018" y="571168"/>
                  </a:cubicBezTo>
                  <a:cubicBezTo>
                    <a:pt x="973634" y="568128"/>
                    <a:pt x="974707" y="562138"/>
                    <a:pt x="974976" y="555789"/>
                  </a:cubicBezTo>
                  <a:cubicBezTo>
                    <a:pt x="987135" y="542378"/>
                    <a:pt x="1002782" y="544524"/>
                    <a:pt x="1016284" y="549978"/>
                  </a:cubicBezTo>
                  <a:cubicBezTo>
                    <a:pt x="1028533" y="554985"/>
                    <a:pt x="1030947" y="548637"/>
                    <a:pt x="1034881" y="540947"/>
                  </a:cubicBezTo>
                  <a:cubicBezTo>
                    <a:pt x="1037295" y="539338"/>
                    <a:pt x="1039977" y="538533"/>
                    <a:pt x="1042749" y="538444"/>
                  </a:cubicBezTo>
                  <a:cubicBezTo>
                    <a:pt x="1059380" y="515286"/>
                    <a:pt x="1086651" y="528877"/>
                    <a:pt x="1107394" y="519667"/>
                  </a:cubicBezTo>
                  <a:cubicBezTo>
                    <a:pt x="1121968" y="515375"/>
                    <a:pt x="1136006" y="515822"/>
                    <a:pt x="1149060" y="524495"/>
                  </a:cubicBezTo>
                  <a:cubicBezTo>
                    <a:pt x="1163008" y="537460"/>
                    <a:pt x="1183483" y="527982"/>
                    <a:pt x="1198058" y="538801"/>
                  </a:cubicBezTo>
                  <a:cubicBezTo>
                    <a:pt x="1204852" y="553197"/>
                    <a:pt x="1190904" y="558561"/>
                    <a:pt x="1184020" y="567234"/>
                  </a:cubicBezTo>
                  <a:cubicBezTo>
                    <a:pt x="1197163" y="571973"/>
                    <a:pt x="1208876" y="569916"/>
                    <a:pt x="1220678" y="567949"/>
                  </a:cubicBezTo>
                  <a:cubicBezTo>
                    <a:pt x="1229352" y="566519"/>
                    <a:pt x="1241779" y="563568"/>
                    <a:pt x="1245714" y="570095"/>
                  </a:cubicBezTo>
                  <a:cubicBezTo>
                    <a:pt x="1259304" y="592448"/>
                    <a:pt x="1284250" y="589945"/>
                    <a:pt x="1303295" y="599959"/>
                  </a:cubicBezTo>
                  <a:cubicBezTo>
                    <a:pt x="1313845" y="603893"/>
                    <a:pt x="1324307" y="608542"/>
                    <a:pt x="1336020" y="605860"/>
                  </a:cubicBezTo>
                  <a:cubicBezTo>
                    <a:pt x="1344245" y="601926"/>
                    <a:pt x="1351398" y="606039"/>
                    <a:pt x="1358730" y="608900"/>
                  </a:cubicBezTo>
                  <a:cubicBezTo>
                    <a:pt x="1393064" y="632862"/>
                    <a:pt x="1438843" y="641177"/>
                    <a:pt x="1460033" y="683112"/>
                  </a:cubicBezTo>
                  <a:cubicBezTo>
                    <a:pt x="1465398" y="691963"/>
                    <a:pt x="1468170" y="701530"/>
                    <a:pt x="1467544" y="711902"/>
                  </a:cubicBezTo>
                  <a:cubicBezTo>
                    <a:pt x="1464861" y="728890"/>
                    <a:pt x="1461196" y="745342"/>
                    <a:pt x="1445012" y="755177"/>
                  </a:cubicBezTo>
                  <a:cubicBezTo>
                    <a:pt x="1378311" y="778067"/>
                    <a:pt x="1319210" y="752495"/>
                    <a:pt x="1261182" y="724509"/>
                  </a:cubicBezTo>
                  <a:cubicBezTo>
                    <a:pt x="1247323" y="717893"/>
                    <a:pt x="1246071" y="721648"/>
                    <a:pt x="1263775" y="731662"/>
                  </a:cubicBezTo>
                  <a:cubicBezTo>
                    <a:pt x="1297483" y="750796"/>
                    <a:pt x="1324485" y="773060"/>
                    <a:pt x="1322697" y="817050"/>
                  </a:cubicBezTo>
                  <a:cubicBezTo>
                    <a:pt x="1321982" y="834575"/>
                    <a:pt x="1339506" y="841191"/>
                    <a:pt x="1350951" y="850579"/>
                  </a:cubicBezTo>
                  <a:cubicBezTo>
                    <a:pt x="1359803" y="857822"/>
                    <a:pt x="1372499" y="862561"/>
                    <a:pt x="1380636" y="853351"/>
                  </a:cubicBezTo>
                  <a:cubicBezTo>
                    <a:pt x="1390381" y="842353"/>
                    <a:pt x="1374287" y="837883"/>
                    <a:pt x="1369638" y="830730"/>
                  </a:cubicBezTo>
                  <a:cubicBezTo>
                    <a:pt x="1364363" y="822594"/>
                    <a:pt x="1355243" y="814904"/>
                    <a:pt x="1361234" y="804711"/>
                  </a:cubicBezTo>
                  <a:cubicBezTo>
                    <a:pt x="1368028" y="793088"/>
                    <a:pt x="1379831" y="795949"/>
                    <a:pt x="1390560" y="799257"/>
                  </a:cubicBezTo>
                  <a:cubicBezTo>
                    <a:pt x="1397803" y="801492"/>
                    <a:pt x="1404151" y="806410"/>
                    <a:pt x="1411572" y="808288"/>
                  </a:cubicBezTo>
                  <a:cubicBezTo>
                    <a:pt x="1431600" y="813384"/>
                    <a:pt x="1440631" y="805874"/>
                    <a:pt x="1435087" y="785398"/>
                  </a:cubicBezTo>
                  <a:cubicBezTo>
                    <a:pt x="1430528" y="768768"/>
                    <a:pt x="1437501" y="760900"/>
                    <a:pt x="1449483" y="753568"/>
                  </a:cubicBezTo>
                  <a:cubicBezTo>
                    <a:pt x="1458602" y="747041"/>
                    <a:pt x="1464235" y="736848"/>
                    <a:pt x="1473623" y="730589"/>
                  </a:cubicBezTo>
                  <a:cubicBezTo>
                    <a:pt x="1486857" y="722006"/>
                    <a:pt x="1500983" y="720933"/>
                    <a:pt x="1515647" y="725582"/>
                  </a:cubicBezTo>
                  <a:cubicBezTo>
                    <a:pt x="1518061" y="723794"/>
                    <a:pt x="1525214" y="737027"/>
                    <a:pt x="1523515" y="723436"/>
                  </a:cubicBezTo>
                  <a:cubicBezTo>
                    <a:pt x="1522353" y="714137"/>
                    <a:pt x="1515200" y="706359"/>
                    <a:pt x="1513054" y="696970"/>
                  </a:cubicBezTo>
                  <a:cubicBezTo>
                    <a:pt x="1510283" y="685347"/>
                    <a:pt x="1512607" y="672740"/>
                    <a:pt x="1506169" y="661832"/>
                  </a:cubicBezTo>
                  <a:cubicBezTo>
                    <a:pt x="1501699" y="646989"/>
                    <a:pt x="1478810" y="635455"/>
                    <a:pt x="1488913" y="620166"/>
                  </a:cubicBezTo>
                  <a:cubicBezTo>
                    <a:pt x="1498748" y="605234"/>
                    <a:pt x="1518866" y="625978"/>
                    <a:pt x="1534245" y="618288"/>
                  </a:cubicBezTo>
                  <a:cubicBezTo>
                    <a:pt x="1543901" y="617483"/>
                    <a:pt x="1553468" y="617662"/>
                    <a:pt x="1562767" y="620434"/>
                  </a:cubicBezTo>
                  <a:cubicBezTo>
                    <a:pt x="1572334" y="623742"/>
                    <a:pt x="1580113" y="629465"/>
                    <a:pt x="1585209" y="638316"/>
                  </a:cubicBezTo>
                  <a:cubicBezTo>
                    <a:pt x="1593435" y="652712"/>
                    <a:pt x="1599605" y="666839"/>
                    <a:pt x="1575821" y="672829"/>
                  </a:cubicBezTo>
                  <a:cubicBezTo>
                    <a:pt x="1569741" y="674349"/>
                    <a:pt x="1561784" y="676048"/>
                    <a:pt x="1563840" y="684810"/>
                  </a:cubicBezTo>
                  <a:cubicBezTo>
                    <a:pt x="1565718" y="692679"/>
                    <a:pt x="1573049" y="696523"/>
                    <a:pt x="1580292" y="699384"/>
                  </a:cubicBezTo>
                  <a:cubicBezTo>
                    <a:pt x="1586998" y="702067"/>
                    <a:pt x="1593614" y="701620"/>
                    <a:pt x="1596922" y="694467"/>
                  </a:cubicBezTo>
                  <a:cubicBezTo>
                    <a:pt x="1601124" y="685704"/>
                    <a:pt x="1605059" y="676763"/>
                    <a:pt x="1609619" y="668090"/>
                  </a:cubicBezTo>
                  <a:cubicBezTo>
                    <a:pt x="1619096" y="649940"/>
                    <a:pt x="1632776" y="636796"/>
                    <a:pt x="1652000" y="629733"/>
                  </a:cubicBezTo>
                  <a:cubicBezTo>
                    <a:pt x="1682400" y="618556"/>
                    <a:pt x="1713962" y="609705"/>
                    <a:pt x="1738014" y="585742"/>
                  </a:cubicBezTo>
                  <a:cubicBezTo>
                    <a:pt x="1743379" y="580378"/>
                    <a:pt x="1751783" y="579662"/>
                    <a:pt x="1759562" y="580825"/>
                  </a:cubicBezTo>
                  <a:cubicBezTo>
                    <a:pt x="1762512" y="581540"/>
                    <a:pt x="1765284" y="582792"/>
                    <a:pt x="1767698" y="584669"/>
                  </a:cubicBezTo>
                  <a:cubicBezTo>
                    <a:pt x="1771990" y="600138"/>
                    <a:pt x="1767251" y="614175"/>
                    <a:pt x="1759652" y="634472"/>
                  </a:cubicBezTo>
                  <a:cubicBezTo>
                    <a:pt x="1769666" y="620970"/>
                    <a:pt x="1770202" y="607380"/>
                    <a:pt x="1781557" y="602373"/>
                  </a:cubicBezTo>
                  <a:cubicBezTo>
                    <a:pt x="1790141" y="598439"/>
                    <a:pt x="1799171" y="598439"/>
                    <a:pt x="1808291" y="599065"/>
                  </a:cubicBezTo>
                  <a:cubicBezTo>
                    <a:pt x="1811063" y="599243"/>
                    <a:pt x="1813924" y="599691"/>
                    <a:pt x="1816696" y="600227"/>
                  </a:cubicBezTo>
                  <a:cubicBezTo>
                    <a:pt x="1827783" y="603178"/>
                    <a:pt x="1833058" y="593163"/>
                    <a:pt x="1841016" y="589051"/>
                  </a:cubicBezTo>
                  <a:cubicBezTo>
                    <a:pt x="1843698" y="587799"/>
                    <a:pt x="1846470" y="586994"/>
                    <a:pt x="1849421" y="586458"/>
                  </a:cubicBezTo>
                  <a:cubicBezTo>
                    <a:pt x="1859882" y="585385"/>
                    <a:pt x="1870343" y="583865"/>
                    <a:pt x="1880894" y="583865"/>
                  </a:cubicBezTo>
                  <a:cubicBezTo>
                    <a:pt x="1888225" y="584848"/>
                    <a:pt x="1898597" y="594058"/>
                    <a:pt x="1898954" y="576980"/>
                  </a:cubicBezTo>
                  <a:cubicBezTo>
                    <a:pt x="1899312" y="556058"/>
                    <a:pt x="1915585" y="547564"/>
                    <a:pt x="1930964" y="545596"/>
                  </a:cubicBezTo>
                  <a:cubicBezTo>
                    <a:pt x="1960470" y="541841"/>
                    <a:pt x="1991406" y="536119"/>
                    <a:pt x="2018587" y="556684"/>
                  </a:cubicBezTo>
                  <a:cubicBezTo>
                    <a:pt x="2042371" y="574566"/>
                    <a:pt x="2074469" y="574476"/>
                    <a:pt x="2102992" y="599959"/>
                  </a:cubicBezTo>
                  <a:cubicBezTo>
                    <a:pt x="2099058" y="574566"/>
                    <a:pt x="2089312" y="562138"/>
                    <a:pt x="2075632" y="551945"/>
                  </a:cubicBezTo>
                  <a:cubicBezTo>
                    <a:pt x="2072144" y="549352"/>
                    <a:pt x="2068032" y="547832"/>
                    <a:pt x="2063919" y="546222"/>
                  </a:cubicBezTo>
                  <a:cubicBezTo>
                    <a:pt x="2051669" y="541573"/>
                    <a:pt x="2044338" y="527714"/>
                    <a:pt x="2050418" y="520651"/>
                  </a:cubicBezTo>
                  <a:cubicBezTo>
                    <a:pt x="2072502" y="494990"/>
                    <a:pt x="2015100" y="451625"/>
                    <a:pt x="2070535" y="435441"/>
                  </a:cubicBezTo>
                  <a:cubicBezTo>
                    <a:pt x="2089043" y="432938"/>
                    <a:pt x="2091458" y="419079"/>
                    <a:pt x="2092710" y="404416"/>
                  </a:cubicBezTo>
                  <a:cubicBezTo>
                    <a:pt x="2093871" y="390467"/>
                    <a:pt x="2091547" y="375983"/>
                    <a:pt x="2098790" y="362839"/>
                  </a:cubicBezTo>
                  <a:cubicBezTo>
                    <a:pt x="2114884" y="342900"/>
                    <a:pt x="2135359" y="357475"/>
                    <a:pt x="2153777" y="355686"/>
                  </a:cubicBezTo>
                  <a:cubicBezTo>
                    <a:pt x="2170587" y="357206"/>
                    <a:pt x="2185966" y="361766"/>
                    <a:pt x="2196606" y="376251"/>
                  </a:cubicBezTo>
                  <a:cubicBezTo>
                    <a:pt x="2202328" y="387427"/>
                    <a:pt x="2201970" y="399319"/>
                    <a:pt x="2200897" y="411300"/>
                  </a:cubicBezTo>
                  <a:cubicBezTo>
                    <a:pt x="2199109" y="423818"/>
                    <a:pt x="2191688" y="436961"/>
                    <a:pt x="2204832" y="447959"/>
                  </a:cubicBezTo>
                  <a:cubicBezTo>
                    <a:pt x="2209749" y="454039"/>
                    <a:pt x="2213504" y="461103"/>
                    <a:pt x="2213057" y="468881"/>
                  </a:cubicBezTo>
                  <a:cubicBezTo>
                    <a:pt x="2210732" y="508133"/>
                    <a:pt x="2216544" y="544166"/>
                    <a:pt x="2244798" y="575013"/>
                  </a:cubicBezTo>
                  <a:cubicBezTo>
                    <a:pt x="2257853" y="589229"/>
                    <a:pt x="2244351" y="606665"/>
                    <a:pt x="2241401" y="621865"/>
                  </a:cubicBezTo>
                  <a:cubicBezTo>
                    <a:pt x="2233711" y="661742"/>
                    <a:pt x="2200540" y="694288"/>
                    <a:pt x="2168530" y="697149"/>
                  </a:cubicBezTo>
                  <a:cubicBezTo>
                    <a:pt x="2224681" y="707789"/>
                    <a:pt x="2260445" y="678730"/>
                    <a:pt x="2259372" y="622043"/>
                  </a:cubicBezTo>
                  <a:cubicBezTo>
                    <a:pt x="2258925" y="597813"/>
                    <a:pt x="2265721" y="577338"/>
                    <a:pt x="2289504" y="569916"/>
                  </a:cubicBezTo>
                  <a:cubicBezTo>
                    <a:pt x="2313914" y="562316"/>
                    <a:pt x="2343509" y="599780"/>
                    <a:pt x="2339485" y="591554"/>
                  </a:cubicBezTo>
                  <a:cubicBezTo>
                    <a:pt x="2326342" y="572509"/>
                    <a:pt x="2310606" y="559455"/>
                    <a:pt x="2285123" y="564731"/>
                  </a:cubicBezTo>
                  <a:cubicBezTo>
                    <a:pt x="2239702" y="574119"/>
                    <a:pt x="2216634" y="556058"/>
                    <a:pt x="2229509" y="511888"/>
                  </a:cubicBezTo>
                  <a:cubicBezTo>
                    <a:pt x="2237914" y="482830"/>
                    <a:pt x="2228794" y="467719"/>
                    <a:pt x="2213504" y="449390"/>
                  </a:cubicBezTo>
                  <a:cubicBezTo>
                    <a:pt x="2207782" y="442505"/>
                    <a:pt x="2205725" y="433921"/>
                    <a:pt x="2206083" y="424891"/>
                  </a:cubicBezTo>
                  <a:cubicBezTo>
                    <a:pt x="2206262" y="400213"/>
                    <a:pt x="2237377" y="393686"/>
                    <a:pt x="2238361" y="369545"/>
                  </a:cubicBezTo>
                  <a:cubicBezTo>
                    <a:pt x="2240417" y="361140"/>
                    <a:pt x="2243725" y="353630"/>
                    <a:pt x="2251952" y="349338"/>
                  </a:cubicBezTo>
                  <a:cubicBezTo>
                    <a:pt x="2261250" y="347639"/>
                    <a:pt x="2268761" y="350948"/>
                    <a:pt x="2274930" y="357832"/>
                  </a:cubicBezTo>
                  <a:cubicBezTo>
                    <a:pt x="2280205" y="366952"/>
                    <a:pt x="2280205" y="376609"/>
                    <a:pt x="2277970" y="386533"/>
                  </a:cubicBezTo>
                  <a:cubicBezTo>
                    <a:pt x="2264022" y="407545"/>
                    <a:pt x="2258746" y="420152"/>
                    <a:pt x="2273232" y="397710"/>
                  </a:cubicBezTo>
                  <a:cubicBezTo>
                    <a:pt x="2276271" y="393954"/>
                    <a:pt x="2279312" y="390199"/>
                    <a:pt x="2283693" y="387875"/>
                  </a:cubicBezTo>
                  <a:cubicBezTo>
                    <a:pt x="2288074" y="385997"/>
                    <a:pt x="2292723" y="385639"/>
                    <a:pt x="2297462" y="386176"/>
                  </a:cubicBezTo>
                  <a:cubicBezTo>
                    <a:pt x="2307208" y="386355"/>
                    <a:pt x="2321693" y="394133"/>
                    <a:pt x="2318116" y="373122"/>
                  </a:cubicBezTo>
                  <a:cubicBezTo>
                    <a:pt x="2311499" y="348802"/>
                    <a:pt x="2328040" y="350769"/>
                    <a:pt x="2342078" y="353451"/>
                  </a:cubicBezTo>
                  <a:cubicBezTo>
                    <a:pt x="2360497" y="357028"/>
                    <a:pt x="2375339" y="368740"/>
                    <a:pt x="2389735" y="380185"/>
                  </a:cubicBezTo>
                  <a:cubicBezTo>
                    <a:pt x="2406633" y="393507"/>
                    <a:pt x="2424784" y="401107"/>
                    <a:pt x="2446600" y="397442"/>
                  </a:cubicBezTo>
                  <a:cubicBezTo>
                    <a:pt x="2465019" y="398872"/>
                    <a:pt x="2469848" y="410406"/>
                    <a:pt x="2462158" y="424533"/>
                  </a:cubicBezTo>
                  <a:cubicBezTo>
                    <a:pt x="2443739" y="458331"/>
                    <a:pt x="2451250" y="484797"/>
                    <a:pt x="2479415" y="505004"/>
                  </a:cubicBezTo>
                  <a:cubicBezTo>
                    <a:pt x="2469490" y="478985"/>
                    <a:pt x="2473424" y="448674"/>
                    <a:pt x="2470115" y="419794"/>
                  </a:cubicBezTo>
                  <a:cubicBezTo>
                    <a:pt x="2467791" y="399051"/>
                    <a:pt x="2460101" y="396726"/>
                    <a:pt x="2444723" y="396369"/>
                  </a:cubicBezTo>
                  <a:cubicBezTo>
                    <a:pt x="2416915" y="393239"/>
                    <a:pt x="2397871" y="380275"/>
                    <a:pt x="2387231" y="352825"/>
                  </a:cubicBezTo>
                  <a:cubicBezTo>
                    <a:pt x="2374534" y="320190"/>
                    <a:pt x="2379988" y="304722"/>
                    <a:pt x="2413965" y="291668"/>
                  </a:cubicBezTo>
                  <a:cubicBezTo>
                    <a:pt x="2425499" y="290148"/>
                    <a:pt x="2437391" y="290952"/>
                    <a:pt x="2448568" y="286929"/>
                  </a:cubicBezTo>
                  <a:cubicBezTo>
                    <a:pt x="2473782" y="288091"/>
                    <a:pt x="2493273" y="266811"/>
                    <a:pt x="2518755" y="268689"/>
                  </a:cubicBezTo>
                  <a:cubicBezTo>
                    <a:pt x="2528591" y="271729"/>
                    <a:pt x="2536906" y="276289"/>
                    <a:pt x="2537174" y="288359"/>
                  </a:cubicBezTo>
                  <a:cubicBezTo>
                    <a:pt x="2535833" y="293814"/>
                    <a:pt x="2531899" y="297301"/>
                    <a:pt x="2527607" y="300519"/>
                  </a:cubicBezTo>
                  <a:cubicBezTo>
                    <a:pt x="2532346" y="298374"/>
                    <a:pt x="2535744" y="294618"/>
                    <a:pt x="2538605" y="290505"/>
                  </a:cubicBezTo>
                  <a:cubicBezTo>
                    <a:pt x="2551480" y="276468"/>
                    <a:pt x="2534939" y="268957"/>
                    <a:pt x="2531452" y="258496"/>
                  </a:cubicBezTo>
                  <a:cubicBezTo>
                    <a:pt x="2517682" y="211376"/>
                    <a:pt x="2518129" y="209498"/>
                    <a:pt x="2547546" y="194388"/>
                  </a:cubicBezTo>
                  <a:cubicBezTo>
                    <a:pt x="2558723" y="193673"/>
                    <a:pt x="2566143" y="187414"/>
                    <a:pt x="2571150" y="177757"/>
                  </a:cubicBezTo>
                  <a:cubicBezTo>
                    <a:pt x="2586261" y="162200"/>
                    <a:pt x="2603339" y="156299"/>
                    <a:pt x="2626139" y="156746"/>
                  </a:cubicBezTo>
                  <a:cubicBezTo>
                    <a:pt x="2652336" y="157282"/>
                    <a:pt x="2672811" y="137254"/>
                    <a:pt x="2695522" y="125541"/>
                  </a:cubicBezTo>
                  <a:cubicBezTo>
                    <a:pt x="2699814" y="123395"/>
                    <a:pt x="2704284" y="122143"/>
                    <a:pt x="2708934" y="121339"/>
                  </a:cubicBezTo>
                  <a:cubicBezTo>
                    <a:pt x="2738440" y="111593"/>
                    <a:pt x="2766068" y="124826"/>
                    <a:pt x="2794501" y="128313"/>
                  </a:cubicBezTo>
                  <a:cubicBezTo>
                    <a:pt x="2807823" y="129922"/>
                    <a:pt x="2828656" y="137612"/>
                    <a:pt x="2819446" y="108106"/>
                  </a:cubicBezTo>
                  <a:cubicBezTo>
                    <a:pt x="2815512" y="95499"/>
                    <a:pt x="2826063" y="91028"/>
                    <a:pt x="2836524" y="89687"/>
                  </a:cubicBezTo>
                  <a:cubicBezTo>
                    <a:pt x="2852708" y="87630"/>
                    <a:pt x="2868980" y="87630"/>
                    <a:pt x="2889098" y="90939"/>
                  </a:cubicBezTo>
                  <a:cubicBezTo>
                    <a:pt x="2866477" y="65635"/>
                    <a:pt x="2873451" y="45875"/>
                    <a:pt x="2897235" y="29424"/>
                  </a:cubicBezTo>
                  <a:cubicBezTo>
                    <a:pt x="2899023" y="28172"/>
                    <a:pt x="2900543" y="26562"/>
                    <a:pt x="2902242" y="25221"/>
                  </a:cubicBezTo>
                  <a:cubicBezTo>
                    <a:pt x="2914848" y="14849"/>
                    <a:pt x="2922180" y="-6430"/>
                    <a:pt x="2944355" y="1885"/>
                  </a:cubicBezTo>
                  <a:cubicBezTo>
                    <a:pt x="2964204" y="9306"/>
                    <a:pt x="2961790" y="27188"/>
                    <a:pt x="2960717" y="43461"/>
                  </a:cubicBezTo>
                  <a:cubicBezTo>
                    <a:pt x="2959554" y="61612"/>
                    <a:pt x="2977526" y="52492"/>
                    <a:pt x="2983516" y="60181"/>
                  </a:cubicBezTo>
                  <a:cubicBezTo>
                    <a:pt x="2991206" y="57767"/>
                    <a:pt x="2983159" y="81819"/>
                    <a:pt x="2997465" y="68318"/>
                  </a:cubicBezTo>
                  <a:cubicBezTo>
                    <a:pt x="3009983" y="60986"/>
                    <a:pt x="3023841" y="58393"/>
                    <a:pt x="3037789" y="55979"/>
                  </a:cubicBezTo>
                  <a:cubicBezTo>
                    <a:pt x="3047714" y="55085"/>
                    <a:pt x="3057639" y="55174"/>
                    <a:pt x="3067474" y="56247"/>
                  </a:cubicBezTo>
                  <a:cubicBezTo>
                    <a:pt x="3070782" y="56515"/>
                    <a:pt x="3074001" y="57231"/>
                    <a:pt x="3077131" y="58035"/>
                  </a:cubicBezTo>
                  <a:cubicBezTo>
                    <a:pt x="3092867" y="63400"/>
                    <a:pt x="3108604" y="62595"/>
                    <a:pt x="3124340" y="57678"/>
                  </a:cubicBezTo>
                  <a:cubicBezTo>
                    <a:pt x="3143832" y="53028"/>
                    <a:pt x="3161535" y="57678"/>
                    <a:pt x="3178345" y="67602"/>
                  </a:cubicBezTo>
                  <a:cubicBezTo>
                    <a:pt x="3197210" y="77795"/>
                    <a:pt x="3221620" y="83070"/>
                    <a:pt x="3218580" y="112755"/>
                  </a:cubicBezTo>
                  <a:cubicBezTo>
                    <a:pt x="3213930" y="128402"/>
                    <a:pt x="3198194" y="126435"/>
                    <a:pt x="3187643" y="132336"/>
                  </a:cubicBezTo>
                  <a:cubicBezTo>
                    <a:pt x="3209728" y="155762"/>
                    <a:pt x="3209281" y="172750"/>
                    <a:pt x="3185855" y="189470"/>
                  </a:cubicBezTo>
                  <a:cubicBezTo>
                    <a:pt x="3167615" y="202524"/>
                    <a:pt x="3148749" y="214684"/>
                    <a:pt x="3126486" y="220228"/>
                  </a:cubicBezTo>
                  <a:cubicBezTo>
                    <a:pt x="3117723" y="222553"/>
                    <a:pt x="3110303" y="227381"/>
                    <a:pt x="3102881" y="232298"/>
                  </a:cubicBezTo>
                  <a:cubicBezTo>
                    <a:pt x="3077488" y="243654"/>
                    <a:pt x="3055851" y="262609"/>
                    <a:pt x="3028133" y="269047"/>
                  </a:cubicBezTo>
                  <a:cubicBezTo>
                    <a:pt x="3018656" y="271282"/>
                    <a:pt x="3016241" y="280759"/>
                    <a:pt x="3010519" y="286929"/>
                  </a:cubicBezTo>
                  <a:cubicBezTo>
                    <a:pt x="3008463" y="289969"/>
                    <a:pt x="3003545" y="292562"/>
                    <a:pt x="3004260" y="295512"/>
                  </a:cubicBezTo>
                  <a:cubicBezTo>
                    <a:pt x="3004975" y="298552"/>
                    <a:pt x="3008731" y="295065"/>
                    <a:pt x="3011145" y="294350"/>
                  </a:cubicBezTo>
                  <a:cubicBezTo>
                    <a:pt x="3021159" y="288002"/>
                    <a:pt x="3023931" y="272534"/>
                    <a:pt x="3038862" y="272534"/>
                  </a:cubicBezTo>
                  <a:cubicBezTo>
                    <a:pt x="3050397" y="270924"/>
                    <a:pt x="3062378" y="272712"/>
                    <a:pt x="3073286" y="267169"/>
                  </a:cubicBezTo>
                  <a:cubicBezTo>
                    <a:pt x="3080171" y="264039"/>
                    <a:pt x="3087234" y="261178"/>
                    <a:pt x="3095102" y="262341"/>
                  </a:cubicBezTo>
                  <a:cubicBezTo>
                    <a:pt x="3106815" y="267616"/>
                    <a:pt x="3119065" y="267437"/>
                    <a:pt x="3131314" y="265828"/>
                  </a:cubicBezTo>
                  <a:cubicBezTo>
                    <a:pt x="3133102" y="265649"/>
                    <a:pt x="3134265" y="264487"/>
                    <a:pt x="3134354" y="262698"/>
                  </a:cubicBezTo>
                  <a:cubicBezTo>
                    <a:pt x="3129705" y="264755"/>
                    <a:pt x="3125145" y="265917"/>
                    <a:pt x="3120227" y="266096"/>
                  </a:cubicBezTo>
                  <a:cubicBezTo>
                    <a:pt x="3111107" y="265917"/>
                    <a:pt x="3101898" y="265023"/>
                    <a:pt x="3100289" y="253936"/>
                  </a:cubicBezTo>
                  <a:cubicBezTo>
                    <a:pt x="3098858" y="244280"/>
                    <a:pt x="3104491" y="235249"/>
                    <a:pt x="3112538" y="232924"/>
                  </a:cubicBezTo>
                  <a:cubicBezTo>
                    <a:pt x="3148570" y="222553"/>
                    <a:pt x="3184961" y="219423"/>
                    <a:pt x="3220815" y="234444"/>
                  </a:cubicBezTo>
                  <a:cubicBezTo>
                    <a:pt x="3227610" y="243207"/>
                    <a:pt x="3225554" y="254294"/>
                    <a:pt x="3227342" y="266096"/>
                  </a:cubicBezTo>
                  <a:cubicBezTo>
                    <a:pt x="3235926" y="254830"/>
                    <a:pt x="3246297" y="250360"/>
                    <a:pt x="3257474" y="247409"/>
                  </a:cubicBezTo>
                  <a:cubicBezTo>
                    <a:pt x="3274104" y="243922"/>
                    <a:pt x="3290556" y="245084"/>
                    <a:pt x="3306829" y="249465"/>
                  </a:cubicBezTo>
                  <a:cubicBezTo>
                    <a:pt x="3319615" y="248482"/>
                    <a:pt x="3332311" y="247498"/>
                    <a:pt x="3345097" y="246604"/>
                  </a:cubicBezTo>
                  <a:cubicBezTo>
                    <a:pt x="3350462" y="243832"/>
                    <a:pt x="3358241" y="244548"/>
                    <a:pt x="3359671" y="248571"/>
                  </a:cubicBezTo>
                  <a:cubicBezTo>
                    <a:pt x="3371652" y="283621"/>
                    <a:pt x="3396777" y="269941"/>
                    <a:pt x="3419487" y="265470"/>
                  </a:cubicBezTo>
                  <a:cubicBezTo>
                    <a:pt x="3428339" y="264755"/>
                    <a:pt x="3437102" y="264487"/>
                    <a:pt x="3445774" y="265381"/>
                  </a:cubicBezTo>
                  <a:cubicBezTo>
                    <a:pt x="3454448" y="223894"/>
                    <a:pt x="3480824" y="200378"/>
                    <a:pt x="3520523" y="220317"/>
                  </a:cubicBezTo>
                  <a:cubicBezTo>
                    <a:pt x="3541445" y="230778"/>
                    <a:pt x="3568984" y="219423"/>
                    <a:pt x="3587224" y="239720"/>
                  </a:cubicBezTo>
                  <a:cubicBezTo>
                    <a:pt x="3591605" y="239898"/>
                    <a:pt x="3595986" y="239988"/>
                    <a:pt x="3600278" y="240167"/>
                  </a:cubicBezTo>
                  <a:cubicBezTo>
                    <a:pt x="3621826" y="233908"/>
                    <a:pt x="3637652" y="238378"/>
                    <a:pt x="3642927" y="262788"/>
                  </a:cubicBezTo>
                  <a:cubicBezTo>
                    <a:pt x="3626118" y="286482"/>
                    <a:pt x="3595360" y="290327"/>
                    <a:pt x="3574974" y="310444"/>
                  </a:cubicBezTo>
                  <a:cubicBezTo>
                    <a:pt x="3597953" y="294261"/>
                    <a:pt x="3615388" y="311875"/>
                    <a:pt x="3634433" y="318759"/>
                  </a:cubicBezTo>
                  <a:cubicBezTo>
                    <a:pt x="3652226" y="320369"/>
                    <a:pt x="3667336" y="324035"/>
                    <a:pt x="3674400" y="344599"/>
                  </a:cubicBezTo>
                  <a:cubicBezTo>
                    <a:pt x="3678960" y="357832"/>
                    <a:pt x="3695680" y="361945"/>
                    <a:pt x="3705426" y="372138"/>
                  </a:cubicBezTo>
                  <a:cubicBezTo>
                    <a:pt x="3711506" y="378397"/>
                    <a:pt x="3719553" y="383583"/>
                    <a:pt x="3728583" y="378486"/>
                  </a:cubicBezTo>
                  <a:cubicBezTo>
                    <a:pt x="3736630" y="373926"/>
                    <a:pt x="3733680" y="365253"/>
                    <a:pt x="3733501" y="357922"/>
                  </a:cubicBezTo>
                  <a:cubicBezTo>
                    <a:pt x="3733143" y="342811"/>
                    <a:pt x="3737077" y="328773"/>
                    <a:pt x="3752456" y="323945"/>
                  </a:cubicBezTo>
                  <a:cubicBezTo>
                    <a:pt x="3769265" y="318670"/>
                    <a:pt x="3772216" y="336999"/>
                    <a:pt x="3781426" y="344689"/>
                  </a:cubicBezTo>
                  <a:cubicBezTo>
                    <a:pt x="3797788" y="351216"/>
                    <a:pt x="3814329" y="356580"/>
                    <a:pt x="3832122" y="350769"/>
                  </a:cubicBezTo>
                  <a:cubicBezTo>
                    <a:pt x="3832301" y="346745"/>
                    <a:pt x="3833195" y="343169"/>
                    <a:pt x="3837039" y="341202"/>
                  </a:cubicBezTo>
                  <a:cubicBezTo>
                    <a:pt x="3847590" y="342364"/>
                    <a:pt x="3858051" y="343526"/>
                    <a:pt x="3868602" y="344689"/>
                  </a:cubicBezTo>
                  <a:cubicBezTo>
                    <a:pt x="3876112" y="341917"/>
                    <a:pt x="3882908" y="344689"/>
                    <a:pt x="3889792" y="347192"/>
                  </a:cubicBezTo>
                  <a:cubicBezTo>
                    <a:pt x="3897839" y="350322"/>
                    <a:pt x="3906602" y="351484"/>
                    <a:pt x="3914738" y="354613"/>
                  </a:cubicBezTo>
                  <a:cubicBezTo>
                    <a:pt x="3934766" y="364896"/>
                    <a:pt x="3946032" y="358190"/>
                    <a:pt x="3949787" y="336731"/>
                  </a:cubicBezTo>
                  <a:cubicBezTo>
                    <a:pt x="3950503" y="331009"/>
                    <a:pt x="3948804" y="326628"/>
                    <a:pt x="3944333" y="322425"/>
                  </a:cubicBezTo>
                  <a:cubicBezTo>
                    <a:pt x="3927077" y="306331"/>
                    <a:pt x="3939058" y="299178"/>
                    <a:pt x="3953811" y="293188"/>
                  </a:cubicBezTo>
                  <a:lnTo>
                    <a:pt x="3966776" y="287197"/>
                  </a:lnTo>
                  <a:cubicBezTo>
                    <a:pt x="3982512" y="260910"/>
                    <a:pt x="4008531" y="264308"/>
                    <a:pt x="4033208" y="264397"/>
                  </a:cubicBezTo>
                  <a:cubicBezTo>
                    <a:pt x="4067095" y="264487"/>
                    <a:pt x="4099284" y="272534"/>
                    <a:pt x="4130309" y="2859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7" name="Freeform: Shape 6">
              <a:extLst>
                <a:ext uri="{FF2B5EF4-FFF2-40B4-BE49-F238E27FC236}">
                  <a16:creationId xmlns:a16="http://schemas.microsoft.com/office/drawing/2014/main" id="{595AE41D-99E4-BC52-76B3-4851D08A879E}"/>
                </a:ext>
              </a:extLst>
            </p:cNvPr>
            <p:cNvSpPr/>
            <p:nvPr/>
          </p:nvSpPr>
          <p:spPr>
            <a:xfrm>
              <a:off x="1926769" y="2869636"/>
              <a:ext cx="5318054" cy="6807882"/>
            </a:xfrm>
            <a:custGeom>
              <a:avLst/>
              <a:gdLst>
                <a:gd name="connsiteX0" fmla="*/ 1937036 w 3647937"/>
                <a:gd name="connsiteY0" fmla="*/ 2465173 h 4669890"/>
                <a:gd name="connsiteX1" fmla="*/ 1878918 w 3647937"/>
                <a:gd name="connsiteY1" fmla="*/ 2465531 h 4669890"/>
                <a:gd name="connsiteX2" fmla="*/ 1852184 w 3647937"/>
                <a:gd name="connsiteY2" fmla="*/ 2452477 h 4669890"/>
                <a:gd name="connsiteX3" fmla="*/ 1818297 w 3647937"/>
                <a:gd name="connsiteY3" fmla="*/ 2447291 h 4669890"/>
                <a:gd name="connsiteX4" fmla="*/ 1779314 w 3647937"/>
                <a:gd name="connsiteY4" fmla="*/ 2416533 h 4669890"/>
                <a:gd name="connsiteX5" fmla="*/ 1750792 w 3647937"/>
                <a:gd name="connsiteY5" fmla="*/ 2407771 h 4669890"/>
                <a:gd name="connsiteX6" fmla="*/ 1671126 w 3647937"/>
                <a:gd name="connsiteY6" fmla="*/ 2287602 h 4669890"/>
                <a:gd name="connsiteX7" fmla="*/ 1662453 w 3647937"/>
                <a:gd name="connsiteY7" fmla="*/ 2249870 h 4669890"/>
                <a:gd name="connsiteX8" fmla="*/ 1649131 w 3647937"/>
                <a:gd name="connsiteY8" fmla="*/ 2221616 h 4669890"/>
                <a:gd name="connsiteX9" fmla="*/ 1606392 w 3647937"/>
                <a:gd name="connsiteY9" fmla="*/ 2177089 h 4669890"/>
                <a:gd name="connsiteX10" fmla="*/ 1576976 w 3647937"/>
                <a:gd name="connsiteY10" fmla="*/ 2122727 h 4669890"/>
                <a:gd name="connsiteX11" fmla="*/ 1559004 w 3647937"/>
                <a:gd name="connsiteY11" fmla="*/ 2096887 h 4669890"/>
                <a:gd name="connsiteX12" fmla="*/ 1498204 w 3647937"/>
                <a:gd name="connsiteY12" fmla="*/ 1994600 h 4669890"/>
                <a:gd name="connsiteX13" fmla="*/ 1497310 w 3647937"/>
                <a:gd name="connsiteY13" fmla="*/ 1967061 h 4669890"/>
                <a:gd name="connsiteX14" fmla="*/ 1466374 w 3647937"/>
                <a:gd name="connsiteY14" fmla="*/ 1930850 h 4669890"/>
                <a:gd name="connsiteX15" fmla="*/ 1459042 w 3647937"/>
                <a:gd name="connsiteY15" fmla="*/ 1942562 h 4669890"/>
                <a:gd name="connsiteX16" fmla="*/ 1470665 w 3647937"/>
                <a:gd name="connsiteY16" fmla="*/ 1983245 h 4669890"/>
                <a:gd name="connsiteX17" fmla="*/ 1476924 w 3647937"/>
                <a:gd name="connsiteY17" fmla="*/ 1994153 h 4669890"/>
                <a:gd name="connsiteX18" fmla="*/ 1485865 w 3647937"/>
                <a:gd name="connsiteY18" fmla="*/ 2008459 h 4669890"/>
                <a:gd name="connsiteX19" fmla="*/ 1499188 w 3647937"/>
                <a:gd name="connsiteY19" fmla="*/ 2036266 h 4669890"/>
                <a:gd name="connsiteX20" fmla="*/ 1548185 w 3647937"/>
                <a:gd name="connsiteY20" fmla="*/ 2168774 h 4669890"/>
                <a:gd name="connsiteX21" fmla="*/ 1583860 w 3647937"/>
                <a:gd name="connsiteY21" fmla="*/ 2212675 h 4669890"/>
                <a:gd name="connsiteX22" fmla="*/ 1574919 w 3647937"/>
                <a:gd name="connsiteY22" fmla="*/ 2244684 h 4669890"/>
                <a:gd name="connsiteX23" fmla="*/ 1495522 w 3647937"/>
                <a:gd name="connsiteY23" fmla="*/ 2177178 h 4669890"/>
                <a:gd name="connsiteX24" fmla="*/ 1454124 w 3647937"/>
                <a:gd name="connsiteY24" fmla="*/ 2111014 h 4669890"/>
                <a:gd name="connsiteX25" fmla="*/ 1440891 w 3647937"/>
                <a:gd name="connsiteY25" fmla="*/ 2097155 h 4669890"/>
                <a:gd name="connsiteX26" fmla="*/ 1448849 w 3647937"/>
                <a:gd name="connsiteY26" fmla="*/ 2060407 h 4669890"/>
                <a:gd name="connsiteX27" fmla="*/ 1416661 w 3647937"/>
                <a:gd name="connsiteY27" fmla="*/ 2005597 h 4669890"/>
                <a:gd name="connsiteX28" fmla="*/ 1379555 w 3647937"/>
                <a:gd name="connsiteY28" fmla="*/ 1905904 h 4669890"/>
                <a:gd name="connsiteX29" fmla="*/ 1374101 w 3647937"/>
                <a:gd name="connsiteY29" fmla="*/ 1879438 h 4669890"/>
                <a:gd name="connsiteX30" fmla="*/ 1342807 w 3647937"/>
                <a:gd name="connsiteY30" fmla="*/ 1847339 h 4669890"/>
                <a:gd name="connsiteX31" fmla="*/ 1262068 w 3647937"/>
                <a:gd name="connsiteY31" fmla="*/ 1733518 h 4669890"/>
                <a:gd name="connsiteX32" fmla="*/ 1258402 w 3647937"/>
                <a:gd name="connsiteY32" fmla="*/ 1704906 h 4669890"/>
                <a:gd name="connsiteX33" fmla="*/ 1223800 w 3647937"/>
                <a:gd name="connsiteY33" fmla="*/ 1510079 h 4669890"/>
                <a:gd name="connsiteX34" fmla="*/ 1228628 w 3647937"/>
                <a:gd name="connsiteY34" fmla="*/ 1454554 h 4669890"/>
                <a:gd name="connsiteX35" fmla="*/ 1260906 w 3647937"/>
                <a:gd name="connsiteY35" fmla="*/ 1365411 h 4669890"/>
                <a:gd name="connsiteX36" fmla="*/ 1273066 w 3647937"/>
                <a:gd name="connsiteY36" fmla="*/ 1327143 h 4669890"/>
                <a:gd name="connsiteX37" fmla="*/ 1269400 w 3647937"/>
                <a:gd name="connsiteY37" fmla="*/ 1304343 h 4669890"/>
                <a:gd name="connsiteX38" fmla="*/ 1264303 w 3647937"/>
                <a:gd name="connsiteY38" fmla="*/ 1255434 h 4669890"/>
                <a:gd name="connsiteX39" fmla="*/ 1271367 w 3647937"/>
                <a:gd name="connsiteY39" fmla="*/ 1227627 h 4669890"/>
                <a:gd name="connsiteX40" fmla="*/ 1318755 w 3647937"/>
                <a:gd name="connsiteY40" fmla="*/ 1227627 h 4669890"/>
                <a:gd name="connsiteX41" fmla="*/ 1299532 w 3647937"/>
                <a:gd name="connsiteY41" fmla="*/ 1188197 h 4669890"/>
                <a:gd name="connsiteX42" fmla="*/ 1267343 w 3647937"/>
                <a:gd name="connsiteY42" fmla="*/ 1150018 h 4669890"/>
                <a:gd name="connsiteX43" fmla="*/ 1198049 w 3647937"/>
                <a:gd name="connsiteY43" fmla="*/ 1120244 h 4669890"/>
                <a:gd name="connsiteX44" fmla="*/ 1165057 w 3647937"/>
                <a:gd name="connsiteY44" fmla="*/ 1006781 h 4669890"/>
                <a:gd name="connsiteX45" fmla="*/ 1136892 w 3647937"/>
                <a:gd name="connsiteY45" fmla="*/ 970301 h 4669890"/>
                <a:gd name="connsiteX46" fmla="*/ 1133047 w 3647937"/>
                <a:gd name="connsiteY46" fmla="*/ 961807 h 4669890"/>
                <a:gd name="connsiteX47" fmla="*/ 1113645 w 3647937"/>
                <a:gd name="connsiteY47" fmla="*/ 908518 h 4669890"/>
                <a:gd name="connsiteX48" fmla="*/ 1091918 w 3647937"/>
                <a:gd name="connsiteY48" fmla="*/ 839224 h 4669890"/>
                <a:gd name="connsiteX49" fmla="*/ 1061160 w 3647937"/>
                <a:gd name="connsiteY49" fmla="*/ 802744 h 4669890"/>
                <a:gd name="connsiteX50" fmla="*/ 1019942 w 3647937"/>
                <a:gd name="connsiteY50" fmla="*/ 741139 h 4669890"/>
                <a:gd name="connsiteX51" fmla="*/ 988469 w 3647937"/>
                <a:gd name="connsiteY51" fmla="*/ 742302 h 4669890"/>
                <a:gd name="connsiteX52" fmla="*/ 942154 w 3647937"/>
                <a:gd name="connsiteY52" fmla="*/ 730320 h 4669890"/>
                <a:gd name="connsiteX53" fmla="*/ 904511 w 3647937"/>
                <a:gd name="connsiteY53" fmla="*/ 700636 h 4669890"/>
                <a:gd name="connsiteX54" fmla="*/ 877867 w 3647937"/>
                <a:gd name="connsiteY54" fmla="*/ 689191 h 4669890"/>
                <a:gd name="connsiteX55" fmla="*/ 715048 w 3647937"/>
                <a:gd name="connsiteY55" fmla="*/ 660132 h 4669890"/>
                <a:gd name="connsiteX56" fmla="*/ 657020 w 3647937"/>
                <a:gd name="connsiteY56" fmla="*/ 646273 h 4669890"/>
                <a:gd name="connsiteX57" fmla="*/ 637350 w 3647937"/>
                <a:gd name="connsiteY57" fmla="*/ 672203 h 4669890"/>
                <a:gd name="connsiteX58" fmla="*/ 555717 w 3647937"/>
                <a:gd name="connsiteY58" fmla="*/ 720217 h 4669890"/>
                <a:gd name="connsiteX59" fmla="*/ 525317 w 3647937"/>
                <a:gd name="connsiteY59" fmla="*/ 717445 h 4669890"/>
                <a:gd name="connsiteX60" fmla="*/ 515392 w 3647937"/>
                <a:gd name="connsiteY60" fmla="*/ 659953 h 4669890"/>
                <a:gd name="connsiteX61" fmla="*/ 486602 w 3647937"/>
                <a:gd name="connsiteY61" fmla="*/ 699652 h 4669890"/>
                <a:gd name="connsiteX62" fmla="*/ 473726 w 3647937"/>
                <a:gd name="connsiteY62" fmla="*/ 749454 h 4669890"/>
                <a:gd name="connsiteX63" fmla="*/ 457275 w 3647937"/>
                <a:gd name="connsiteY63" fmla="*/ 780570 h 4669890"/>
                <a:gd name="connsiteX64" fmla="*/ 262983 w 3647937"/>
                <a:gd name="connsiteY64" fmla="*/ 920946 h 4669890"/>
                <a:gd name="connsiteX65" fmla="*/ 216668 w 3647937"/>
                <a:gd name="connsiteY65" fmla="*/ 944461 h 4669890"/>
                <a:gd name="connsiteX66" fmla="*/ 52866 w 3647937"/>
                <a:gd name="connsiteY66" fmla="*/ 1006423 h 4669890"/>
                <a:gd name="connsiteX67" fmla="*/ 46160 w 3647937"/>
                <a:gd name="connsiteY67" fmla="*/ 1012235 h 4669890"/>
                <a:gd name="connsiteX68" fmla="*/ 19426 w 3647937"/>
                <a:gd name="connsiteY68" fmla="*/ 1031995 h 4669890"/>
                <a:gd name="connsiteX69" fmla="*/ 5657 w 3647937"/>
                <a:gd name="connsiteY69" fmla="*/ 1021176 h 4669890"/>
                <a:gd name="connsiteX70" fmla="*/ 144781 w 3647937"/>
                <a:gd name="connsiteY70" fmla="*/ 929798 h 4669890"/>
                <a:gd name="connsiteX71" fmla="*/ 181976 w 3647937"/>
                <a:gd name="connsiteY71" fmla="*/ 905478 h 4669890"/>
                <a:gd name="connsiteX72" fmla="*/ 229186 w 3647937"/>
                <a:gd name="connsiteY72" fmla="*/ 871412 h 4669890"/>
                <a:gd name="connsiteX73" fmla="*/ 291684 w 3647937"/>
                <a:gd name="connsiteY73" fmla="*/ 796396 h 4669890"/>
                <a:gd name="connsiteX74" fmla="*/ 293294 w 3647937"/>
                <a:gd name="connsiteY74" fmla="*/ 778781 h 4669890"/>
                <a:gd name="connsiteX75" fmla="*/ 272640 w 3647937"/>
                <a:gd name="connsiteY75" fmla="*/ 781285 h 4669890"/>
                <a:gd name="connsiteX76" fmla="*/ 220602 w 3647937"/>
                <a:gd name="connsiteY76" fmla="*/ 791925 h 4669890"/>
                <a:gd name="connsiteX77" fmla="*/ 188414 w 3647937"/>
                <a:gd name="connsiteY77" fmla="*/ 787186 h 4669890"/>
                <a:gd name="connsiteX78" fmla="*/ 144602 w 3647937"/>
                <a:gd name="connsiteY78" fmla="*/ 745520 h 4669890"/>
                <a:gd name="connsiteX79" fmla="*/ 136466 w 3647937"/>
                <a:gd name="connsiteY79" fmla="*/ 710292 h 4669890"/>
                <a:gd name="connsiteX80" fmla="*/ 72805 w 3647937"/>
                <a:gd name="connsiteY80" fmla="*/ 716909 h 4669890"/>
                <a:gd name="connsiteX81" fmla="*/ 51346 w 3647937"/>
                <a:gd name="connsiteY81" fmla="*/ 678819 h 4669890"/>
                <a:gd name="connsiteX82" fmla="*/ 85412 w 3647937"/>
                <a:gd name="connsiteY82" fmla="*/ 662189 h 4669890"/>
                <a:gd name="connsiteX83" fmla="*/ 81478 w 3647937"/>
                <a:gd name="connsiteY83" fmla="*/ 658433 h 4669890"/>
                <a:gd name="connsiteX84" fmla="*/ 51436 w 3647937"/>
                <a:gd name="connsiteY84" fmla="*/ 575728 h 4669890"/>
                <a:gd name="connsiteX85" fmla="*/ 136108 w 3647937"/>
                <a:gd name="connsiteY85" fmla="*/ 510904 h 4669890"/>
                <a:gd name="connsiteX86" fmla="*/ 205760 w 3647937"/>
                <a:gd name="connsiteY86" fmla="*/ 483813 h 4669890"/>
                <a:gd name="connsiteX87" fmla="*/ 232136 w 3647937"/>
                <a:gd name="connsiteY87" fmla="*/ 432133 h 4669890"/>
                <a:gd name="connsiteX88" fmla="*/ 177595 w 3647937"/>
                <a:gd name="connsiteY88" fmla="*/ 453144 h 4669890"/>
                <a:gd name="connsiteX89" fmla="*/ 105977 w 3647937"/>
                <a:gd name="connsiteY89" fmla="*/ 457526 h 4669890"/>
                <a:gd name="connsiteX90" fmla="*/ 57784 w 3647937"/>
                <a:gd name="connsiteY90" fmla="*/ 441968 h 4669890"/>
                <a:gd name="connsiteX91" fmla="*/ 17727 w 3647937"/>
                <a:gd name="connsiteY91" fmla="*/ 408528 h 4669890"/>
                <a:gd name="connsiteX92" fmla="*/ 18890 w 3647937"/>
                <a:gd name="connsiteY92" fmla="*/ 369634 h 4669890"/>
                <a:gd name="connsiteX93" fmla="*/ 79958 w 3647937"/>
                <a:gd name="connsiteY93" fmla="*/ 341201 h 4669890"/>
                <a:gd name="connsiteX94" fmla="*/ 92565 w 3647937"/>
                <a:gd name="connsiteY94" fmla="*/ 334406 h 4669890"/>
                <a:gd name="connsiteX95" fmla="*/ 151755 w 3647937"/>
                <a:gd name="connsiteY95" fmla="*/ 309728 h 4669890"/>
                <a:gd name="connsiteX96" fmla="*/ 176701 w 3647937"/>
                <a:gd name="connsiteY96" fmla="*/ 324660 h 4669890"/>
                <a:gd name="connsiteX97" fmla="*/ 215416 w 3647937"/>
                <a:gd name="connsiteY97" fmla="*/ 316345 h 4669890"/>
                <a:gd name="connsiteX98" fmla="*/ 226772 w 3647937"/>
                <a:gd name="connsiteY98" fmla="*/ 306152 h 4669890"/>
                <a:gd name="connsiteX99" fmla="*/ 146480 w 3647937"/>
                <a:gd name="connsiteY99" fmla="*/ 267526 h 4669890"/>
                <a:gd name="connsiteX100" fmla="*/ 107944 w 3647937"/>
                <a:gd name="connsiteY100" fmla="*/ 244011 h 4669890"/>
                <a:gd name="connsiteX101" fmla="*/ 101059 w 3647937"/>
                <a:gd name="connsiteY101" fmla="*/ 199126 h 4669890"/>
                <a:gd name="connsiteX102" fmla="*/ 135482 w 3647937"/>
                <a:gd name="connsiteY102" fmla="*/ 182496 h 4669890"/>
                <a:gd name="connsiteX103" fmla="*/ 233120 w 3647937"/>
                <a:gd name="connsiteY103" fmla="*/ 124736 h 4669890"/>
                <a:gd name="connsiteX104" fmla="*/ 335585 w 3647937"/>
                <a:gd name="connsiteY104" fmla="*/ 79404 h 4669890"/>
                <a:gd name="connsiteX105" fmla="*/ 335049 w 3647937"/>
                <a:gd name="connsiteY105" fmla="*/ 79851 h 4669890"/>
                <a:gd name="connsiteX106" fmla="*/ 355703 w 3647937"/>
                <a:gd name="connsiteY106" fmla="*/ 73861 h 4669890"/>
                <a:gd name="connsiteX107" fmla="*/ 380291 w 3647937"/>
                <a:gd name="connsiteY107" fmla="*/ 58124 h 4669890"/>
                <a:gd name="connsiteX108" fmla="*/ 412390 w 3647937"/>
                <a:gd name="connsiteY108" fmla="*/ 41762 h 4669890"/>
                <a:gd name="connsiteX109" fmla="*/ 487585 w 3647937"/>
                <a:gd name="connsiteY109" fmla="*/ 27188 h 4669890"/>
                <a:gd name="connsiteX110" fmla="*/ 515213 w 3647937"/>
                <a:gd name="connsiteY110" fmla="*/ 27009 h 4669890"/>
                <a:gd name="connsiteX111" fmla="*/ 614102 w 3647937"/>
                <a:gd name="connsiteY111" fmla="*/ 41315 h 4669890"/>
                <a:gd name="connsiteX112" fmla="*/ 617232 w 3647937"/>
                <a:gd name="connsiteY112" fmla="*/ 41762 h 4669890"/>
                <a:gd name="connsiteX113" fmla="*/ 772629 w 3647937"/>
                <a:gd name="connsiteY113" fmla="*/ 57051 h 4669890"/>
                <a:gd name="connsiteX114" fmla="*/ 788723 w 3647937"/>
                <a:gd name="connsiteY114" fmla="*/ 58750 h 4669890"/>
                <a:gd name="connsiteX115" fmla="*/ 903707 w 3647937"/>
                <a:gd name="connsiteY115" fmla="*/ 84948 h 4669890"/>
                <a:gd name="connsiteX116" fmla="*/ 910412 w 3647937"/>
                <a:gd name="connsiteY116" fmla="*/ 84143 h 4669890"/>
                <a:gd name="connsiteX117" fmla="*/ 929278 w 3647937"/>
                <a:gd name="connsiteY117" fmla="*/ 82802 h 4669890"/>
                <a:gd name="connsiteX118" fmla="*/ 1031386 w 3647937"/>
                <a:gd name="connsiteY118" fmla="*/ 111414 h 4669890"/>
                <a:gd name="connsiteX119" fmla="*/ 1084318 w 3647937"/>
                <a:gd name="connsiteY119" fmla="*/ 135823 h 4669890"/>
                <a:gd name="connsiteX120" fmla="*/ 1129560 w 3647937"/>
                <a:gd name="connsiteY120" fmla="*/ 152990 h 4669890"/>
                <a:gd name="connsiteX121" fmla="*/ 1146191 w 3647937"/>
                <a:gd name="connsiteY121" fmla="*/ 147268 h 4669890"/>
                <a:gd name="connsiteX122" fmla="*/ 1193937 w 3647937"/>
                <a:gd name="connsiteY122" fmla="*/ 116868 h 4669890"/>
                <a:gd name="connsiteX123" fmla="*/ 1314463 w 3647937"/>
                <a:gd name="connsiteY123" fmla="*/ 79136 h 4669890"/>
                <a:gd name="connsiteX124" fmla="*/ 1341913 w 3647937"/>
                <a:gd name="connsiteY124" fmla="*/ 79583 h 4669890"/>
                <a:gd name="connsiteX125" fmla="*/ 1335028 w 3647937"/>
                <a:gd name="connsiteY125" fmla="*/ 100595 h 4669890"/>
                <a:gd name="connsiteX126" fmla="*/ 1334313 w 3647937"/>
                <a:gd name="connsiteY126" fmla="*/ 101936 h 4669890"/>
                <a:gd name="connsiteX127" fmla="*/ 1354788 w 3647937"/>
                <a:gd name="connsiteY127" fmla="*/ 93978 h 4669890"/>
                <a:gd name="connsiteX128" fmla="*/ 1407898 w 3647937"/>
                <a:gd name="connsiteY128" fmla="*/ 65545 h 4669890"/>
                <a:gd name="connsiteX129" fmla="*/ 1408167 w 3647937"/>
                <a:gd name="connsiteY129" fmla="*/ 61164 h 4669890"/>
                <a:gd name="connsiteX130" fmla="*/ 1439818 w 3647937"/>
                <a:gd name="connsiteY130" fmla="*/ 75470 h 4669890"/>
                <a:gd name="connsiteX131" fmla="*/ 1446256 w 3647937"/>
                <a:gd name="connsiteY131" fmla="*/ 103992 h 4669890"/>
                <a:gd name="connsiteX132" fmla="*/ 1471559 w 3647937"/>
                <a:gd name="connsiteY132" fmla="*/ 108552 h 4669890"/>
                <a:gd name="connsiteX133" fmla="*/ 1524223 w 3647937"/>
                <a:gd name="connsiteY133" fmla="*/ 115795 h 4669890"/>
                <a:gd name="connsiteX134" fmla="*/ 1607733 w 3647937"/>
                <a:gd name="connsiteY134" fmla="*/ 110698 h 4669890"/>
                <a:gd name="connsiteX135" fmla="*/ 1684091 w 3647937"/>
                <a:gd name="connsiteY135" fmla="*/ 147625 h 4669890"/>
                <a:gd name="connsiteX136" fmla="*/ 1725309 w 3647937"/>
                <a:gd name="connsiteY136" fmla="*/ 153795 h 4669890"/>
                <a:gd name="connsiteX137" fmla="*/ 1760090 w 3647937"/>
                <a:gd name="connsiteY137" fmla="*/ 158980 h 4669890"/>
                <a:gd name="connsiteX138" fmla="*/ 1759107 w 3647937"/>
                <a:gd name="connsiteY138" fmla="*/ 226754 h 4669890"/>
                <a:gd name="connsiteX139" fmla="*/ 1856566 w 3647937"/>
                <a:gd name="connsiteY139" fmla="*/ 223089 h 4669890"/>
                <a:gd name="connsiteX140" fmla="*/ 1947855 w 3647937"/>
                <a:gd name="connsiteY140" fmla="*/ 274232 h 4669890"/>
                <a:gd name="connsiteX141" fmla="*/ 1954471 w 3647937"/>
                <a:gd name="connsiteY141" fmla="*/ 222820 h 4669890"/>
                <a:gd name="connsiteX142" fmla="*/ 1972622 w 3647937"/>
                <a:gd name="connsiteY142" fmla="*/ 211197 h 4669890"/>
                <a:gd name="connsiteX143" fmla="*/ 1956975 w 3647937"/>
                <a:gd name="connsiteY143" fmla="*/ 202613 h 4669890"/>
                <a:gd name="connsiteX144" fmla="*/ 1964664 w 3647937"/>
                <a:gd name="connsiteY144" fmla="*/ 186162 h 4669890"/>
                <a:gd name="connsiteX145" fmla="*/ 2046833 w 3647937"/>
                <a:gd name="connsiteY145" fmla="*/ 193583 h 4669890"/>
                <a:gd name="connsiteX146" fmla="*/ 2138480 w 3647937"/>
                <a:gd name="connsiteY146" fmla="*/ 234354 h 4669890"/>
                <a:gd name="connsiteX147" fmla="*/ 2187120 w 3647937"/>
                <a:gd name="connsiteY147" fmla="*/ 231761 h 4669890"/>
                <a:gd name="connsiteX148" fmla="*/ 2207774 w 3647937"/>
                <a:gd name="connsiteY148" fmla="*/ 224698 h 4669890"/>
                <a:gd name="connsiteX149" fmla="*/ 2264461 w 3647937"/>
                <a:gd name="connsiteY149" fmla="*/ 210392 h 4669890"/>
                <a:gd name="connsiteX150" fmla="*/ 2283238 w 3647937"/>
                <a:gd name="connsiteY150" fmla="*/ 261357 h 4669890"/>
                <a:gd name="connsiteX151" fmla="*/ 2279214 w 3647937"/>
                <a:gd name="connsiteY151" fmla="*/ 275037 h 4669890"/>
                <a:gd name="connsiteX152" fmla="*/ 2286278 w 3647937"/>
                <a:gd name="connsiteY152" fmla="*/ 267884 h 4669890"/>
                <a:gd name="connsiteX153" fmla="*/ 2321595 w 3647937"/>
                <a:gd name="connsiteY153" fmla="*/ 211286 h 4669890"/>
                <a:gd name="connsiteX154" fmla="*/ 2315247 w 3647937"/>
                <a:gd name="connsiteY154" fmla="*/ 139936 h 4669890"/>
                <a:gd name="connsiteX155" fmla="*/ 2305143 w 3647937"/>
                <a:gd name="connsiteY155" fmla="*/ 38722 h 4669890"/>
                <a:gd name="connsiteX156" fmla="*/ 2331609 w 3647937"/>
                <a:gd name="connsiteY156" fmla="*/ 14491 h 4669890"/>
                <a:gd name="connsiteX157" fmla="*/ 2369609 w 3647937"/>
                <a:gd name="connsiteY157" fmla="*/ 2868 h 4669890"/>
                <a:gd name="connsiteX158" fmla="*/ 2408593 w 3647937"/>
                <a:gd name="connsiteY158" fmla="*/ 42567 h 4669890"/>
                <a:gd name="connsiteX159" fmla="*/ 2426296 w 3647937"/>
                <a:gd name="connsiteY159" fmla="*/ 93084 h 4669890"/>
                <a:gd name="connsiteX160" fmla="*/ 2430856 w 3647937"/>
                <a:gd name="connsiteY160" fmla="*/ 101578 h 4669890"/>
                <a:gd name="connsiteX161" fmla="*/ 2435952 w 3647937"/>
                <a:gd name="connsiteY161" fmla="*/ 145837 h 4669890"/>
                <a:gd name="connsiteX162" fmla="*/ 2443552 w 3647937"/>
                <a:gd name="connsiteY162" fmla="*/ 193851 h 4669890"/>
                <a:gd name="connsiteX163" fmla="*/ 2453030 w 3647937"/>
                <a:gd name="connsiteY163" fmla="*/ 179366 h 4669890"/>
                <a:gd name="connsiteX164" fmla="*/ 2484145 w 3647937"/>
                <a:gd name="connsiteY164" fmla="*/ 166759 h 4669890"/>
                <a:gd name="connsiteX165" fmla="*/ 2506767 w 3647937"/>
                <a:gd name="connsiteY165" fmla="*/ 195997 h 4669890"/>
                <a:gd name="connsiteX166" fmla="*/ 2501134 w 3647937"/>
                <a:gd name="connsiteY166" fmla="*/ 224340 h 4669890"/>
                <a:gd name="connsiteX167" fmla="*/ 2508912 w 3647937"/>
                <a:gd name="connsiteY167" fmla="*/ 246425 h 4669890"/>
                <a:gd name="connsiteX168" fmla="*/ 2522592 w 3647937"/>
                <a:gd name="connsiteY168" fmla="*/ 236411 h 4669890"/>
                <a:gd name="connsiteX169" fmla="*/ 2580978 w 3647937"/>
                <a:gd name="connsiteY169" fmla="*/ 141545 h 4669890"/>
                <a:gd name="connsiteX170" fmla="*/ 2609411 w 3647937"/>
                <a:gd name="connsiteY170" fmla="*/ 126613 h 4669890"/>
                <a:gd name="connsiteX171" fmla="*/ 2678705 w 3647937"/>
                <a:gd name="connsiteY171" fmla="*/ 172660 h 4669890"/>
                <a:gd name="connsiteX172" fmla="*/ 2676023 w 3647937"/>
                <a:gd name="connsiteY172" fmla="*/ 212091 h 4669890"/>
                <a:gd name="connsiteX173" fmla="*/ 2663415 w 3647937"/>
                <a:gd name="connsiteY173" fmla="*/ 236947 h 4669890"/>
                <a:gd name="connsiteX174" fmla="*/ 2664936 w 3647937"/>
                <a:gd name="connsiteY174" fmla="*/ 250538 h 4669890"/>
                <a:gd name="connsiteX175" fmla="*/ 2624700 w 3647937"/>
                <a:gd name="connsiteY175" fmla="*/ 320815 h 4669890"/>
                <a:gd name="connsiteX176" fmla="*/ 2584554 w 3647937"/>
                <a:gd name="connsiteY176" fmla="*/ 312053 h 4669890"/>
                <a:gd name="connsiteX177" fmla="*/ 2568460 w 3647937"/>
                <a:gd name="connsiteY177" fmla="*/ 341112 h 4669890"/>
                <a:gd name="connsiteX178" fmla="*/ 2536183 w 3647937"/>
                <a:gd name="connsiteY178" fmla="*/ 339055 h 4669890"/>
                <a:gd name="connsiteX179" fmla="*/ 2513472 w 3647937"/>
                <a:gd name="connsiteY179" fmla="*/ 350142 h 4669890"/>
                <a:gd name="connsiteX180" fmla="*/ 2470644 w 3647937"/>
                <a:gd name="connsiteY180" fmla="*/ 379380 h 4669890"/>
                <a:gd name="connsiteX181" fmla="*/ 2471181 w 3647937"/>
                <a:gd name="connsiteY181" fmla="*/ 383135 h 4669890"/>
                <a:gd name="connsiteX182" fmla="*/ 2444894 w 3647937"/>
                <a:gd name="connsiteY182" fmla="*/ 448406 h 4669890"/>
                <a:gd name="connsiteX183" fmla="*/ 2371666 w 3647937"/>
                <a:gd name="connsiteY183" fmla="*/ 474693 h 4669890"/>
                <a:gd name="connsiteX184" fmla="*/ 2356287 w 3647937"/>
                <a:gd name="connsiteY184" fmla="*/ 471116 h 4669890"/>
                <a:gd name="connsiteX185" fmla="*/ 2347972 w 3647937"/>
                <a:gd name="connsiteY185" fmla="*/ 466556 h 4669890"/>
                <a:gd name="connsiteX186" fmla="*/ 2345289 w 3647937"/>
                <a:gd name="connsiteY186" fmla="*/ 507507 h 4669890"/>
                <a:gd name="connsiteX187" fmla="*/ 2313280 w 3647937"/>
                <a:gd name="connsiteY187" fmla="*/ 539427 h 4669890"/>
                <a:gd name="connsiteX188" fmla="*/ 2240052 w 3647937"/>
                <a:gd name="connsiteY188" fmla="*/ 631342 h 4669890"/>
                <a:gd name="connsiteX189" fmla="*/ 2236565 w 3647937"/>
                <a:gd name="connsiteY189" fmla="*/ 687760 h 4669890"/>
                <a:gd name="connsiteX190" fmla="*/ 2239158 w 3647937"/>
                <a:gd name="connsiteY190" fmla="*/ 700189 h 4669890"/>
                <a:gd name="connsiteX191" fmla="*/ 2274654 w 3647937"/>
                <a:gd name="connsiteY191" fmla="*/ 765101 h 4669890"/>
                <a:gd name="connsiteX192" fmla="*/ 2296918 w 3647937"/>
                <a:gd name="connsiteY192" fmla="*/ 784146 h 4669890"/>
                <a:gd name="connsiteX193" fmla="*/ 2433181 w 3647937"/>
                <a:gd name="connsiteY193" fmla="*/ 853082 h 4669890"/>
                <a:gd name="connsiteX194" fmla="*/ 2482983 w 3647937"/>
                <a:gd name="connsiteY194" fmla="*/ 870697 h 4669890"/>
                <a:gd name="connsiteX195" fmla="*/ 2527152 w 3647937"/>
                <a:gd name="connsiteY195" fmla="*/ 912094 h 4669890"/>
                <a:gd name="connsiteX196" fmla="*/ 2531265 w 3647937"/>
                <a:gd name="connsiteY196" fmla="*/ 1015364 h 4669890"/>
                <a:gd name="connsiteX197" fmla="*/ 2550399 w 3647937"/>
                <a:gd name="connsiteY197" fmla="*/ 1043976 h 4669890"/>
                <a:gd name="connsiteX198" fmla="*/ 2581067 w 3647937"/>
                <a:gd name="connsiteY198" fmla="*/ 1011252 h 4669890"/>
                <a:gd name="connsiteX199" fmla="*/ 2587863 w 3647937"/>
                <a:gd name="connsiteY199" fmla="*/ 917638 h 4669890"/>
                <a:gd name="connsiteX200" fmla="*/ 2608606 w 3647937"/>
                <a:gd name="connsiteY200" fmla="*/ 893496 h 4669890"/>
                <a:gd name="connsiteX201" fmla="*/ 2679867 w 3647937"/>
                <a:gd name="connsiteY201" fmla="*/ 805694 h 4669890"/>
                <a:gd name="connsiteX202" fmla="*/ 2655905 w 3647937"/>
                <a:gd name="connsiteY202" fmla="*/ 736758 h 4669890"/>
                <a:gd name="connsiteX203" fmla="*/ 2653223 w 3647937"/>
                <a:gd name="connsiteY203" fmla="*/ 696076 h 4669890"/>
                <a:gd name="connsiteX204" fmla="*/ 2696856 w 3647937"/>
                <a:gd name="connsiteY204" fmla="*/ 574297 h 4669890"/>
                <a:gd name="connsiteX205" fmla="*/ 2755599 w 3647937"/>
                <a:gd name="connsiteY205" fmla="*/ 530307 h 4669890"/>
                <a:gd name="connsiteX206" fmla="*/ 2774733 w 3647937"/>
                <a:gd name="connsiteY206" fmla="*/ 533973 h 4669890"/>
                <a:gd name="connsiteX207" fmla="*/ 2874248 w 3647937"/>
                <a:gd name="connsiteY207" fmla="*/ 587888 h 4669890"/>
                <a:gd name="connsiteX208" fmla="*/ 2889448 w 3647937"/>
                <a:gd name="connsiteY208" fmla="*/ 597812 h 4669890"/>
                <a:gd name="connsiteX209" fmla="*/ 2907777 w 3647937"/>
                <a:gd name="connsiteY209" fmla="*/ 637958 h 4669890"/>
                <a:gd name="connsiteX210" fmla="*/ 2901697 w 3647937"/>
                <a:gd name="connsiteY210" fmla="*/ 692499 h 4669890"/>
                <a:gd name="connsiteX211" fmla="*/ 2929415 w 3647937"/>
                <a:gd name="connsiteY211" fmla="*/ 719949 h 4669890"/>
                <a:gd name="connsiteX212" fmla="*/ 2973942 w 3647937"/>
                <a:gd name="connsiteY212" fmla="*/ 710560 h 4669890"/>
                <a:gd name="connsiteX213" fmla="*/ 3006398 w 3647937"/>
                <a:gd name="connsiteY213" fmla="*/ 661742 h 4669890"/>
                <a:gd name="connsiteX214" fmla="*/ 3042699 w 3647937"/>
                <a:gd name="connsiteY214" fmla="*/ 642697 h 4669890"/>
                <a:gd name="connsiteX215" fmla="*/ 3059151 w 3647937"/>
                <a:gd name="connsiteY215" fmla="*/ 680518 h 4669890"/>
                <a:gd name="connsiteX216" fmla="*/ 3080878 w 3647937"/>
                <a:gd name="connsiteY216" fmla="*/ 754461 h 4669890"/>
                <a:gd name="connsiteX217" fmla="*/ 3093932 w 3647937"/>
                <a:gd name="connsiteY217" fmla="*/ 817318 h 4669890"/>
                <a:gd name="connsiteX218" fmla="*/ 3130770 w 3647937"/>
                <a:gd name="connsiteY218" fmla="*/ 882320 h 4669890"/>
                <a:gd name="connsiteX219" fmla="*/ 3150530 w 3647937"/>
                <a:gd name="connsiteY219" fmla="*/ 893675 h 4669890"/>
                <a:gd name="connsiteX220" fmla="*/ 3175654 w 3647937"/>
                <a:gd name="connsiteY220" fmla="*/ 924343 h 4669890"/>
                <a:gd name="connsiteX221" fmla="*/ 3161438 w 3647937"/>
                <a:gd name="connsiteY221" fmla="*/ 936056 h 4669890"/>
                <a:gd name="connsiteX222" fmla="*/ 3212760 w 3647937"/>
                <a:gd name="connsiteY222" fmla="*/ 990240 h 4669890"/>
                <a:gd name="connsiteX223" fmla="*/ 3206412 w 3647937"/>
                <a:gd name="connsiteY223" fmla="*/ 1025110 h 4669890"/>
                <a:gd name="connsiteX224" fmla="*/ 3202478 w 3647937"/>
                <a:gd name="connsiteY224" fmla="*/ 1034320 h 4669890"/>
                <a:gd name="connsiteX225" fmla="*/ 3165998 w 3647937"/>
                <a:gd name="connsiteY225" fmla="*/ 1059355 h 4669890"/>
                <a:gd name="connsiteX226" fmla="*/ 3094737 w 3647937"/>
                <a:gd name="connsiteY226" fmla="*/ 1101557 h 4669890"/>
                <a:gd name="connsiteX227" fmla="*/ 3006130 w 3647937"/>
                <a:gd name="connsiteY227" fmla="*/ 1108621 h 4669890"/>
                <a:gd name="connsiteX228" fmla="*/ 2956954 w 3647937"/>
                <a:gd name="connsiteY228" fmla="*/ 1107905 h 4669890"/>
                <a:gd name="connsiteX229" fmla="*/ 2910013 w 3647937"/>
                <a:gd name="connsiteY229" fmla="*/ 1129096 h 4669890"/>
                <a:gd name="connsiteX230" fmla="*/ 2915288 w 3647937"/>
                <a:gd name="connsiteY230" fmla="*/ 1139199 h 4669890"/>
                <a:gd name="connsiteX231" fmla="*/ 2931292 w 3647937"/>
                <a:gd name="connsiteY231" fmla="*/ 1138037 h 4669890"/>
                <a:gd name="connsiteX232" fmla="*/ 2965537 w 3647937"/>
                <a:gd name="connsiteY232" fmla="*/ 1163519 h 4669890"/>
                <a:gd name="connsiteX233" fmla="*/ 2944347 w 3647937"/>
                <a:gd name="connsiteY233" fmla="*/ 1202860 h 4669890"/>
                <a:gd name="connsiteX234" fmla="*/ 2936210 w 3647937"/>
                <a:gd name="connsiteY234" fmla="*/ 1213322 h 4669890"/>
                <a:gd name="connsiteX235" fmla="*/ 2977697 w 3647937"/>
                <a:gd name="connsiteY235" fmla="*/ 1281185 h 4669890"/>
                <a:gd name="connsiteX236" fmla="*/ 3005862 w 3647937"/>
                <a:gd name="connsiteY236" fmla="*/ 1285298 h 4669890"/>
                <a:gd name="connsiteX237" fmla="*/ 3025980 w 3647937"/>
                <a:gd name="connsiteY237" fmla="*/ 1296206 h 4669890"/>
                <a:gd name="connsiteX238" fmla="*/ 3027768 w 3647937"/>
                <a:gd name="connsiteY238" fmla="*/ 1315519 h 4669890"/>
                <a:gd name="connsiteX239" fmla="*/ 2985118 w 3647937"/>
                <a:gd name="connsiteY239" fmla="*/ 1341985 h 4669890"/>
                <a:gd name="connsiteX240" fmla="*/ 2924050 w 3647937"/>
                <a:gd name="connsiteY240" fmla="*/ 1380700 h 4669890"/>
                <a:gd name="connsiteX241" fmla="*/ 2880060 w 3647937"/>
                <a:gd name="connsiteY241" fmla="*/ 1381505 h 4669890"/>
                <a:gd name="connsiteX242" fmla="*/ 2878093 w 3647937"/>
                <a:gd name="connsiteY242" fmla="*/ 1351373 h 4669890"/>
                <a:gd name="connsiteX243" fmla="*/ 2880417 w 3647937"/>
                <a:gd name="connsiteY243" fmla="*/ 1341717 h 4669890"/>
                <a:gd name="connsiteX244" fmla="*/ 2873622 w 3647937"/>
                <a:gd name="connsiteY244" fmla="*/ 1331524 h 4669890"/>
                <a:gd name="connsiteX245" fmla="*/ 2868079 w 3647937"/>
                <a:gd name="connsiteY245" fmla="*/ 1337157 h 4669890"/>
                <a:gd name="connsiteX246" fmla="*/ 2844385 w 3647937"/>
                <a:gd name="connsiteY246" fmla="*/ 1360493 h 4669890"/>
                <a:gd name="connsiteX247" fmla="*/ 2777862 w 3647937"/>
                <a:gd name="connsiteY247" fmla="*/ 1400102 h 4669890"/>
                <a:gd name="connsiteX248" fmla="*/ 2770441 w 3647937"/>
                <a:gd name="connsiteY248" fmla="*/ 1449100 h 4669890"/>
                <a:gd name="connsiteX249" fmla="*/ 2770888 w 3647937"/>
                <a:gd name="connsiteY249" fmla="*/ 1466356 h 4669890"/>
                <a:gd name="connsiteX250" fmla="*/ 2734945 w 3647937"/>
                <a:gd name="connsiteY250" fmla="*/ 1478785 h 4669890"/>
                <a:gd name="connsiteX251" fmla="*/ 2662611 w 3647937"/>
                <a:gd name="connsiteY251" fmla="*/ 1500601 h 4669890"/>
                <a:gd name="connsiteX252" fmla="*/ 2657157 w 3647937"/>
                <a:gd name="connsiteY252" fmla="*/ 1503641 h 4669890"/>
                <a:gd name="connsiteX253" fmla="*/ 2615223 w 3647937"/>
                <a:gd name="connsiteY253" fmla="*/ 1597344 h 4669890"/>
                <a:gd name="connsiteX254" fmla="*/ 2585985 w 3647937"/>
                <a:gd name="connsiteY254" fmla="*/ 1641424 h 4669890"/>
                <a:gd name="connsiteX255" fmla="*/ 2577223 w 3647937"/>
                <a:gd name="connsiteY255" fmla="*/ 1656535 h 4669890"/>
                <a:gd name="connsiteX256" fmla="*/ 2573110 w 3647937"/>
                <a:gd name="connsiteY256" fmla="*/ 1705443 h 4669890"/>
                <a:gd name="connsiteX257" fmla="*/ 2560145 w 3647937"/>
                <a:gd name="connsiteY257" fmla="*/ 1729137 h 4669890"/>
                <a:gd name="connsiteX258" fmla="*/ 2483073 w 3647937"/>
                <a:gd name="connsiteY258" fmla="*/ 1786271 h 4669890"/>
                <a:gd name="connsiteX259" fmla="*/ 2407877 w 3647937"/>
                <a:gd name="connsiteY259" fmla="*/ 1909480 h 4669890"/>
                <a:gd name="connsiteX260" fmla="*/ 2417087 w 3647937"/>
                <a:gd name="connsiteY260" fmla="*/ 2042614 h 4669890"/>
                <a:gd name="connsiteX261" fmla="*/ 2411990 w 3647937"/>
                <a:gd name="connsiteY261" fmla="*/ 2090628 h 4669890"/>
                <a:gd name="connsiteX262" fmla="*/ 2391515 w 3647937"/>
                <a:gd name="connsiteY262" fmla="*/ 2103324 h 4669890"/>
                <a:gd name="connsiteX263" fmla="*/ 2373275 w 3647937"/>
                <a:gd name="connsiteY263" fmla="*/ 2087320 h 4669890"/>
                <a:gd name="connsiteX264" fmla="*/ 2351459 w 3647937"/>
                <a:gd name="connsiteY264" fmla="*/ 2030990 h 4669890"/>
                <a:gd name="connsiteX265" fmla="*/ 2351101 w 3647937"/>
                <a:gd name="connsiteY265" fmla="*/ 2002736 h 4669890"/>
                <a:gd name="connsiteX266" fmla="*/ 2335275 w 3647937"/>
                <a:gd name="connsiteY266" fmla="*/ 1930581 h 4669890"/>
                <a:gd name="connsiteX267" fmla="*/ 2309435 w 3647937"/>
                <a:gd name="connsiteY267" fmla="*/ 1933085 h 4669890"/>
                <a:gd name="connsiteX268" fmla="*/ 2276979 w 3647937"/>
                <a:gd name="connsiteY268" fmla="*/ 1928167 h 4669890"/>
                <a:gd name="connsiteX269" fmla="*/ 2199280 w 3647937"/>
                <a:gd name="connsiteY269" fmla="*/ 1919852 h 4669890"/>
                <a:gd name="connsiteX270" fmla="*/ 2172814 w 3647937"/>
                <a:gd name="connsiteY270" fmla="*/ 1937645 h 4669890"/>
                <a:gd name="connsiteX271" fmla="*/ 2136871 w 3647937"/>
                <a:gd name="connsiteY271" fmla="*/ 1970727 h 4669890"/>
                <a:gd name="connsiteX272" fmla="*/ 2122386 w 3647937"/>
                <a:gd name="connsiteY272" fmla="*/ 1972962 h 4669890"/>
                <a:gd name="connsiteX273" fmla="*/ 2068292 w 3647937"/>
                <a:gd name="connsiteY273" fmla="*/ 1955706 h 4669890"/>
                <a:gd name="connsiteX274" fmla="*/ 2013572 w 3647937"/>
                <a:gd name="connsiteY274" fmla="*/ 1979132 h 4669890"/>
                <a:gd name="connsiteX275" fmla="*/ 1984514 w 3647937"/>
                <a:gd name="connsiteY275" fmla="*/ 1999071 h 4669890"/>
                <a:gd name="connsiteX276" fmla="*/ 1933549 w 3647937"/>
                <a:gd name="connsiteY276" fmla="*/ 2077127 h 4669890"/>
                <a:gd name="connsiteX277" fmla="*/ 1917365 w 3647937"/>
                <a:gd name="connsiteY277" fmla="*/ 2199799 h 4669890"/>
                <a:gd name="connsiteX278" fmla="*/ 1914683 w 3647937"/>
                <a:gd name="connsiteY278" fmla="*/ 2209009 h 4669890"/>
                <a:gd name="connsiteX279" fmla="*/ 1931045 w 3647937"/>
                <a:gd name="connsiteY279" fmla="*/ 2305126 h 4669890"/>
                <a:gd name="connsiteX280" fmla="*/ 1940791 w 3647937"/>
                <a:gd name="connsiteY280" fmla="*/ 2317465 h 4669890"/>
                <a:gd name="connsiteX281" fmla="*/ 1995869 w 3647937"/>
                <a:gd name="connsiteY281" fmla="*/ 2375672 h 4669890"/>
                <a:gd name="connsiteX282" fmla="*/ 2014645 w 3647937"/>
                <a:gd name="connsiteY282" fmla="*/ 2376477 h 4669890"/>
                <a:gd name="connsiteX283" fmla="*/ 2077591 w 3647937"/>
                <a:gd name="connsiteY283" fmla="*/ 2351084 h 4669890"/>
                <a:gd name="connsiteX284" fmla="*/ 2100302 w 3647937"/>
                <a:gd name="connsiteY284" fmla="*/ 2311385 h 4669890"/>
                <a:gd name="connsiteX285" fmla="*/ 2112104 w 3647937"/>
                <a:gd name="connsiteY285" fmla="*/ 2266679 h 4669890"/>
                <a:gd name="connsiteX286" fmla="*/ 2197939 w 3647937"/>
                <a:gd name="connsiteY286" fmla="*/ 2244595 h 4669890"/>
                <a:gd name="connsiteX287" fmla="*/ 2204198 w 3647937"/>
                <a:gd name="connsiteY287" fmla="*/ 2276515 h 4669890"/>
                <a:gd name="connsiteX288" fmla="*/ 2167450 w 3647937"/>
                <a:gd name="connsiteY288" fmla="*/ 2393733 h 4669890"/>
                <a:gd name="connsiteX289" fmla="*/ 2150998 w 3647937"/>
                <a:gd name="connsiteY289" fmla="*/ 2425295 h 4669890"/>
                <a:gd name="connsiteX290" fmla="*/ 2163337 w 3647937"/>
                <a:gd name="connsiteY290" fmla="*/ 2449526 h 4669890"/>
                <a:gd name="connsiteX291" fmla="*/ 2214838 w 3647937"/>
                <a:gd name="connsiteY291" fmla="*/ 2442284 h 4669890"/>
                <a:gd name="connsiteX292" fmla="*/ 2277783 w 3647937"/>
                <a:gd name="connsiteY292" fmla="*/ 2455695 h 4669890"/>
                <a:gd name="connsiteX293" fmla="*/ 2284132 w 3647937"/>
                <a:gd name="connsiteY293" fmla="*/ 2494053 h 4669890"/>
                <a:gd name="connsiteX294" fmla="*/ 2267233 w 3647937"/>
                <a:gd name="connsiteY294" fmla="*/ 2600453 h 4669890"/>
                <a:gd name="connsiteX295" fmla="*/ 2307826 w 3647937"/>
                <a:gd name="connsiteY295" fmla="*/ 2661789 h 4669890"/>
                <a:gd name="connsiteX296" fmla="*/ 2368894 w 3647937"/>
                <a:gd name="connsiteY296" fmla="*/ 2653653 h 4669890"/>
                <a:gd name="connsiteX297" fmla="*/ 2387492 w 3647937"/>
                <a:gd name="connsiteY297" fmla="*/ 2630942 h 4669890"/>
                <a:gd name="connsiteX298" fmla="*/ 2440066 w 3647937"/>
                <a:gd name="connsiteY298" fmla="*/ 2651328 h 4669890"/>
                <a:gd name="connsiteX299" fmla="*/ 2460094 w 3647937"/>
                <a:gd name="connsiteY299" fmla="*/ 2673144 h 4669890"/>
                <a:gd name="connsiteX300" fmla="*/ 2532159 w 3647937"/>
                <a:gd name="connsiteY300" fmla="*/ 2578368 h 4669890"/>
                <a:gd name="connsiteX301" fmla="*/ 2608338 w 3647937"/>
                <a:gd name="connsiteY301" fmla="*/ 2527046 h 4669890"/>
                <a:gd name="connsiteX302" fmla="*/ 2623270 w 3647937"/>
                <a:gd name="connsiteY302" fmla="*/ 2526331 h 4669890"/>
                <a:gd name="connsiteX303" fmla="*/ 2620319 w 3647937"/>
                <a:gd name="connsiteY303" fmla="*/ 2542693 h 4669890"/>
                <a:gd name="connsiteX304" fmla="*/ 2603152 w 3647937"/>
                <a:gd name="connsiteY304" fmla="*/ 2612345 h 4669890"/>
                <a:gd name="connsiteX305" fmla="*/ 2622912 w 3647937"/>
                <a:gd name="connsiteY305" fmla="*/ 2629601 h 4669890"/>
                <a:gd name="connsiteX306" fmla="*/ 2629528 w 3647937"/>
                <a:gd name="connsiteY306" fmla="*/ 2609483 h 4669890"/>
                <a:gd name="connsiteX307" fmla="*/ 2648841 w 3647937"/>
                <a:gd name="connsiteY307" fmla="*/ 2558340 h 4669890"/>
                <a:gd name="connsiteX308" fmla="*/ 2662253 w 3647937"/>
                <a:gd name="connsiteY308" fmla="*/ 2529639 h 4669890"/>
                <a:gd name="connsiteX309" fmla="*/ 2707943 w 3647937"/>
                <a:gd name="connsiteY309" fmla="*/ 2575328 h 4669890"/>
                <a:gd name="connsiteX310" fmla="*/ 2717510 w 3647937"/>
                <a:gd name="connsiteY310" fmla="*/ 2582034 h 4669890"/>
                <a:gd name="connsiteX311" fmla="*/ 2833834 w 3647937"/>
                <a:gd name="connsiteY311" fmla="*/ 2573093 h 4669890"/>
                <a:gd name="connsiteX312" fmla="*/ 2852789 w 3647937"/>
                <a:gd name="connsiteY312" fmla="*/ 2570410 h 4669890"/>
                <a:gd name="connsiteX313" fmla="*/ 2871297 w 3647937"/>
                <a:gd name="connsiteY313" fmla="*/ 2567460 h 4669890"/>
                <a:gd name="connsiteX314" fmla="*/ 2884799 w 3647937"/>
                <a:gd name="connsiteY314" fmla="*/ 2572467 h 4669890"/>
                <a:gd name="connsiteX315" fmla="*/ 2872638 w 3647937"/>
                <a:gd name="connsiteY315" fmla="*/ 2583822 h 4669890"/>
                <a:gd name="connsiteX316" fmla="*/ 2954987 w 3647937"/>
                <a:gd name="connsiteY316" fmla="*/ 2651060 h 4669890"/>
                <a:gd name="connsiteX317" fmla="*/ 2976714 w 3647937"/>
                <a:gd name="connsiteY317" fmla="*/ 2681281 h 4669890"/>
                <a:gd name="connsiteX318" fmla="*/ 3002822 w 3647937"/>
                <a:gd name="connsiteY318" fmla="*/ 2696302 h 4669890"/>
                <a:gd name="connsiteX319" fmla="*/ 3015250 w 3647937"/>
                <a:gd name="connsiteY319" fmla="*/ 2701935 h 4669890"/>
                <a:gd name="connsiteX320" fmla="*/ 3042342 w 3647937"/>
                <a:gd name="connsiteY320" fmla="*/ 2720622 h 4669890"/>
                <a:gd name="connsiteX321" fmla="*/ 3178158 w 3647937"/>
                <a:gd name="connsiteY321" fmla="*/ 2767295 h 4669890"/>
                <a:gd name="connsiteX322" fmla="*/ 3198812 w 3647937"/>
                <a:gd name="connsiteY322" fmla="*/ 2876824 h 4669890"/>
                <a:gd name="connsiteX323" fmla="*/ 3182539 w 3647937"/>
                <a:gd name="connsiteY323" fmla="*/ 2908297 h 4669890"/>
                <a:gd name="connsiteX324" fmla="*/ 3212313 w 3647937"/>
                <a:gd name="connsiteY324" fmla="*/ 2897120 h 4669890"/>
                <a:gd name="connsiteX325" fmla="*/ 3250581 w 3647937"/>
                <a:gd name="connsiteY325" fmla="*/ 2898193 h 4669890"/>
                <a:gd name="connsiteX326" fmla="*/ 3249419 w 3647937"/>
                <a:gd name="connsiteY326" fmla="*/ 2928951 h 4669890"/>
                <a:gd name="connsiteX327" fmla="*/ 3248703 w 3647937"/>
                <a:gd name="connsiteY327" fmla="*/ 2931633 h 4669890"/>
                <a:gd name="connsiteX328" fmla="*/ 3265960 w 3647937"/>
                <a:gd name="connsiteY328" fmla="*/ 2918132 h 4669890"/>
                <a:gd name="connsiteX329" fmla="*/ 3369856 w 3647937"/>
                <a:gd name="connsiteY329" fmla="*/ 2963285 h 4669890"/>
                <a:gd name="connsiteX330" fmla="*/ 3428063 w 3647937"/>
                <a:gd name="connsiteY330" fmla="*/ 2968739 h 4669890"/>
                <a:gd name="connsiteX331" fmla="*/ 3519531 w 3647937"/>
                <a:gd name="connsiteY331" fmla="*/ 2977322 h 4669890"/>
                <a:gd name="connsiteX332" fmla="*/ 3545460 w 3647937"/>
                <a:gd name="connsiteY332" fmla="*/ 2997529 h 4669890"/>
                <a:gd name="connsiteX333" fmla="*/ 3604472 w 3647937"/>
                <a:gd name="connsiteY333" fmla="*/ 3023816 h 4669890"/>
                <a:gd name="connsiteX334" fmla="*/ 3638270 w 3647937"/>
                <a:gd name="connsiteY334" fmla="*/ 3049657 h 4669890"/>
                <a:gd name="connsiteX335" fmla="*/ 3644886 w 3647937"/>
                <a:gd name="connsiteY335" fmla="*/ 3074602 h 4669890"/>
                <a:gd name="connsiteX336" fmla="*/ 3644886 w 3647937"/>
                <a:gd name="connsiteY336" fmla="*/ 3133346 h 4669890"/>
                <a:gd name="connsiteX337" fmla="*/ 3545550 w 3647937"/>
                <a:gd name="connsiteY337" fmla="*/ 3248061 h 4669890"/>
                <a:gd name="connsiteX338" fmla="*/ 3525879 w 3647937"/>
                <a:gd name="connsiteY338" fmla="*/ 3268894 h 4669890"/>
                <a:gd name="connsiteX339" fmla="*/ 3519710 w 3647937"/>
                <a:gd name="connsiteY339" fmla="*/ 3284541 h 4669890"/>
                <a:gd name="connsiteX340" fmla="*/ 3514077 w 3647937"/>
                <a:gd name="connsiteY340" fmla="*/ 3400060 h 4669890"/>
                <a:gd name="connsiteX341" fmla="*/ 3499682 w 3647937"/>
                <a:gd name="connsiteY341" fmla="*/ 3451293 h 4669890"/>
                <a:gd name="connsiteX342" fmla="*/ 3492797 w 3647937"/>
                <a:gd name="connsiteY342" fmla="*/ 3486432 h 4669890"/>
                <a:gd name="connsiteX343" fmla="*/ 3450863 w 3647937"/>
                <a:gd name="connsiteY343" fmla="*/ 3548394 h 4669890"/>
                <a:gd name="connsiteX344" fmla="*/ 3435037 w 3647937"/>
                <a:gd name="connsiteY344" fmla="*/ 3579867 h 4669890"/>
                <a:gd name="connsiteX345" fmla="*/ 3410896 w 3647937"/>
                <a:gd name="connsiteY345" fmla="*/ 3594888 h 4669890"/>
                <a:gd name="connsiteX346" fmla="*/ 3366727 w 3647937"/>
                <a:gd name="connsiteY346" fmla="*/ 3597213 h 4669890"/>
                <a:gd name="connsiteX347" fmla="*/ 3252101 w 3647937"/>
                <a:gd name="connsiteY347" fmla="*/ 3672855 h 4669890"/>
                <a:gd name="connsiteX348" fmla="*/ 3239315 w 3647937"/>
                <a:gd name="connsiteY348" fmla="*/ 3702629 h 4669890"/>
                <a:gd name="connsiteX349" fmla="*/ 3239137 w 3647937"/>
                <a:gd name="connsiteY349" fmla="*/ 3741702 h 4669890"/>
                <a:gd name="connsiteX350" fmla="*/ 3180125 w 3647937"/>
                <a:gd name="connsiteY350" fmla="*/ 3852036 h 4669890"/>
                <a:gd name="connsiteX351" fmla="*/ 3176459 w 3647937"/>
                <a:gd name="connsiteY351" fmla="*/ 3837640 h 4669890"/>
                <a:gd name="connsiteX352" fmla="*/ 3171988 w 3647937"/>
                <a:gd name="connsiteY352" fmla="*/ 3850873 h 4669890"/>
                <a:gd name="connsiteX353" fmla="*/ 3160365 w 3647937"/>
                <a:gd name="connsiteY353" fmla="*/ 3866073 h 4669890"/>
                <a:gd name="connsiteX354" fmla="*/ 3130770 w 3647937"/>
                <a:gd name="connsiteY354" fmla="*/ 3924906 h 4669890"/>
                <a:gd name="connsiteX355" fmla="*/ 3042520 w 3647937"/>
                <a:gd name="connsiteY355" fmla="*/ 3990176 h 4669890"/>
                <a:gd name="connsiteX356" fmla="*/ 2999335 w 3647937"/>
                <a:gd name="connsiteY356" fmla="*/ 3997687 h 4669890"/>
                <a:gd name="connsiteX357" fmla="*/ 2987890 w 3647937"/>
                <a:gd name="connsiteY357" fmla="*/ 3995005 h 4669890"/>
                <a:gd name="connsiteX358" fmla="*/ 2985029 w 3647937"/>
                <a:gd name="connsiteY358" fmla="*/ 3995542 h 4669890"/>
                <a:gd name="connsiteX359" fmla="*/ 2986638 w 3647937"/>
                <a:gd name="connsiteY359" fmla="*/ 3997866 h 4669890"/>
                <a:gd name="connsiteX360" fmla="*/ 3017396 w 3647937"/>
                <a:gd name="connsiteY360" fmla="*/ 4043734 h 4669890"/>
                <a:gd name="connsiteX361" fmla="*/ 3011495 w 3647937"/>
                <a:gd name="connsiteY361" fmla="*/ 4079678 h 4669890"/>
                <a:gd name="connsiteX362" fmla="*/ 2909297 w 3647937"/>
                <a:gd name="connsiteY362" fmla="*/ 4141998 h 4669890"/>
                <a:gd name="connsiteX363" fmla="*/ 2867542 w 3647937"/>
                <a:gd name="connsiteY363" fmla="*/ 4184826 h 4669890"/>
                <a:gd name="connsiteX364" fmla="*/ 2820422 w 3647937"/>
                <a:gd name="connsiteY364" fmla="*/ 4221127 h 4669890"/>
                <a:gd name="connsiteX365" fmla="*/ 2793688 w 3647937"/>
                <a:gd name="connsiteY365" fmla="*/ 4228101 h 4669890"/>
                <a:gd name="connsiteX366" fmla="*/ 2810140 w 3647937"/>
                <a:gd name="connsiteY366" fmla="*/ 4248129 h 4669890"/>
                <a:gd name="connsiteX367" fmla="*/ 2809425 w 3647937"/>
                <a:gd name="connsiteY367" fmla="*/ 4275131 h 4669890"/>
                <a:gd name="connsiteX368" fmla="*/ 2777773 w 3647937"/>
                <a:gd name="connsiteY368" fmla="*/ 4333517 h 4669890"/>
                <a:gd name="connsiteX369" fmla="*/ 2753811 w 3647937"/>
                <a:gd name="connsiteY369" fmla="*/ 4367047 h 4669890"/>
                <a:gd name="connsiteX370" fmla="*/ 2753185 w 3647937"/>
                <a:gd name="connsiteY370" fmla="*/ 4407818 h 4669890"/>
                <a:gd name="connsiteX371" fmla="*/ 2767133 w 3647937"/>
                <a:gd name="connsiteY371" fmla="*/ 4428830 h 4669890"/>
                <a:gd name="connsiteX372" fmla="*/ 2766865 w 3647937"/>
                <a:gd name="connsiteY372" fmla="*/ 4434195 h 4669890"/>
                <a:gd name="connsiteX373" fmla="*/ 2742902 w 3647937"/>
                <a:gd name="connsiteY373" fmla="*/ 4467366 h 4669890"/>
                <a:gd name="connsiteX374" fmla="*/ 2716794 w 3647937"/>
                <a:gd name="connsiteY374" fmla="*/ 4507154 h 4669890"/>
                <a:gd name="connsiteX375" fmla="*/ 2703293 w 3647937"/>
                <a:gd name="connsiteY375" fmla="*/ 4528255 h 4669890"/>
                <a:gd name="connsiteX376" fmla="*/ 2680404 w 3647937"/>
                <a:gd name="connsiteY376" fmla="*/ 4591201 h 4669890"/>
                <a:gd name="connsiteX377" fmla="*/ 2671910 w 3647937"/>
                <a:gd name="connsiteY377" fmla="*/ 4607563 h 4669890"/>
                <a:gd name="connsiteX378" fmla="*/ 2647768 w 3647937"/>
                <a:gd name="connsiteY378" fmla="*/ 4620975 h 4669890"/>
                <a:gd name="connsiteX379" fmla="*/ 2633642 w 3647937"/>
                <a:gd name="connsiteY379" fmla="*/ 4649945 h 4669890"/>
                <a:gd name="connsiteX380" fmla="*/ 2604493 w 3647937"/>
                <a:gd name="connsiteY380" fmla="*/ 4669168 h 4669890"/>
                <a:gd name="connsiteX381" fmla="*/ 2593764 w 3647937"/>
                <a:gd name="connsiteY381" fmla="*/ 4655667 h 4669890"/>
                <a:gd name="connsiteX382" fmla="*/ 2569802 w 3647937"/>
                <a:gd name="connsiteY382" fmla="*/ 4645116 h 4669890"/>
                <a:gd name="connsiteX383" fmla="*/ 2526705 w 3647937"/>
                <a:gd name="connsiteY383" fmla="*/ 4599606 h 4669890"/>
                <a:gd name="connsiteX384" fmla="*/ 2513562 w 3647937"/>
                <a:gd name="connsiteY384" fmla="*/ 4596119 h 4669890"/>
                <a:gd name="connsiteX385" fmla="*/ 2511774 w 3647937"/>
                <a:gd name="connsiteY385" fmla="*/ 4568849 h 4669890"/>
                <a:gd name="connsiteX386" fmla="*/ 2516781 w 3647937"/>
                <a:gd name="connsiteY386" fmla="*/ 4561517 h 4669890"/>
                <a:gd name="connsiteX387" fmla="*/ 2514724 w 3647937"/>
                <a:gd name="connsiteY387" fmla="*/ 4524769 h 4669890"/>
                <a:gd name="connsiteX388" fmla="*/ 2510879 w 3647937"/>
                <a:gd name="connsiteY388" fmla="*/ 4482030 h 4669890"/>
                <a:gd name="connsiteX389" fmla="*/ 2513919 w 3647937"/>
                <a:gd name="connsiteY389" fmla="*/ 4463521 h 4669890"/>
                <a:gd name="connsiteX390" fmla="*/ 2514814 w 3647937"/>
                <a:gd name="connsiteY390" fmla="*/ 4456190 h 4669890"/>
                <a:gd name="connsiteX391" fmla="*/ 2500865 w 3647937"/>
                <a:gd name="connsiteY391" fmla="*/ 4449573 h 4669890"/>
                <a:gd name="connsiteX392" fmla="*/ 2474042 w 3647937"/>
                <a:gd name="connsiteY392" fmla="*/ 4433926 h 4669890"/>
                <a:gd name="connsiteX393" fmla="*/ 2497110 w 3647937"/>
                <a:gd name="connsiteY393" fmla="*/ 4396463 h 4669890"/>
                <a:gd name="connsiteX394" fmla="*/ 2522324 w 3647937"/>
                <a:gd name="connsiteY394" fmla="*/ 4400844 h 4669890"/>
                <a:gd name="connsiteX395" fmla="*/ 2535736 w 3647937"/>
                <a:gd name="connsiteY395" fmla="*/ 4403527 h 4669890"/>
                <a:gd name="connsiteX396" fmla="*/ 2542084 w 3647937"/>
                <a:gd name="connsiteY396" fmla="*/ 4388505 h 4669890"/>
                <a:gd name="connsiteX397" fmla="*/ 2546823 w 3647937"/>
                <a:gd name="connsiteY397" fmla="*/ 4360162 h 4669890"/>
                <a:gd name="connsiteX398" fmla="*/ 2546376 w 3647937"/>
                <a:gd name="connsiteY398" fmla="*/ 4310538 h 4669890"/>
                <a:gd name="connsiteX399" fmla="*/ 2552366 w 3647937"/>
                <a:gd name="connsiteY399" fmla="*/ 4292120 h 4669890"/>
                <a:gd name="connsiteX400" fmla="*/ 2535646 w 3647937"/>
                <a:gd name="connsiteY400" fmla="*/ 4269409 h 4669890"/>
                <a:gd name="connsiteX401" fmla="*/ 2520983 w 3647937"/>
                <a:gd name="connsiteY401" fmla="*/ 4246251 h 4669890"/>
                <a:gd name="connsiteX402" fmla="*/ 2524112 w 3647937"/>
                <a:gd name="connsiteY402" fmla="*/ 4212096 h 4669890"/>
                <a:gd name="connsiteX403" fmla="*/ 2527689 w 3647937"/>
                <a:gd name="connsiteY403" fmla="*/ 4124204 h 4669890"/>
                <a:gd name="connsiteX404" fmla="*/ 2545124 w 3647937"/>
                <a:gd name="connsiteY404" fmla="*/ 4095325 h 4669890"/>
                <a:gd name="connsiteX405" fmla="*/ 2547359 w 3647937"/>
                <a:gd name="connsiteY405" fmla="*/ 4086473 h 4669890"/>
                <a:gd name="connsiteX406" fmla="*/ 2558536 w 3647937"/>
                <a:gd name="connsiteY406" fmla="*/ 4050351 h 4669890"/>
                <a:gd name="connsiteX407" fmla="*/ 2576865 w 3647937"/>
                <a:gd name="connsiteY407" fmla="*/ 3871617 h 4669890"/>
                <a:gd name="connsiteX408" fmla="*/ 2604672 w 3647937"/>
                <a:gd name="connsiteY408" fmla="*/ 3690469 h 4669890"/>
                <a:gd name="connsiteX409" fmla="*/ 2610752 w 3647937"/>
                <a:gd name="connsiteY409" fmla="*/ 3682958 h 4669890"/>
                <a:gd name="connsiteX410" fmla="*/ 2616922 w 3647937"/>
                <a:gd name="connsiteY410" fmla="*/ 3637090 h 4669890"/>
                <a:gd name="connsiteX411" fmla="*/ 2612004 w 3647937"/>
                <a:gd name="connsiteY411" fmla="*/ 3571284 h 4669890"/>
                <a:gd name="connsiteX412" fmla="*/ 2611110 w 3647937"/>
                <a:gd name="connsiteY412" fmla="*/ 3532479 h 4669890"/>
                <a:gd name="connsiteX413" fmla="*/ 2515171 w 3647937"/>
                <a:gd name="connsiteY413" fmla="*/ 3472215 h 4669890"/>
                <a:gd name="connsiteX414" fmla="*/ 2441675 w 3647937"/>
                <a:gd name="connsiteY414" fmla="*/ 3403011 h 4669890"/>
                <a:gd name="connsiteX415" fmla="*/ 2434075 w 3647937"/>
                <a:gd name="connsiteY415" fmla="*/ 3371717 h 4669890"/>
                <a:gd name="connsiteX416" fmla="*/ 2394376 w 3647937"/>
                <a:gd name="connsiteY416" fmla="*/ 3308503 h 4669890"/>
                <a:gd name="connsiteX417" fmla="*/ 2385703 w 3647937"/>
                <a:gd name="connsiteY417" fmla="*/ 3294912 h 4669890"/>
                <a:gd name="connsiteX418" fmla="*/ 2318019 w 3647937"/>
                <a:gd name="connsiteY418" fmla="*/ 3160884 h 4669890"/>
                <a:gd name="connsiteX419" fmla="*/ 2311402 w 3647937"/>
                <a:gd name="connsiteY419" fmla="*/ 3128339 h 4669890"/>
                <a:gd name="connsiteX420" fmla="*/ 2309435 w 3647937"/>
                <a:gd name="connsiteY420" fmla="*/ 3118950 h 4669890"/>
                <a:gd name="connsiteX421" fmla="*/ 2308988 w 3647937"/>
                <a:gd name="connsiteY421" fmla="*/ 3095256 h 4669890"/>
                <a:gd name="connsiteX422" fmla="*/ 2310776 w 3647937"/>
                <a:gd name="connsiteY422" fmla="*/ 3085689 h 4669890"/>
                <a:gd name="connsiteX423" fmla="*/ 2319539 w 3647937"/>
                <a:gd name="connsiteY423" fmla="*/ 3019078 h 4669890"/>
                <a:gd name="connsiteX424" fmla="*/ 2341623 w 3647937"/>
                <a:gd name="connsiteY424" fmla="*/ 2948353 h 4669890"/>
                <a:gd name="connsiteX425" fmla="*/ 2352263 w 3647937"/>
                <a:gd name="connsiteY425" fmla="*/ 2933600 h 4669890"/>
                <a:gd name="connsiteX426" fmla="*/ 2400903 w 3647937"/>
                <a:gd name="connsiteY426" fmla="*/ 2872890 h 4669890"/>
                <a:gd name="connsiteX427" fmla="*/ 2406447 w 3647937"/>
                <a:gd name="connsiteY427" fmla="*/ 2865826 h 4669890"/>
                <a:gd name="connsiteX428" fmla="*/ 2428442 w 3647937"/>
                <a:gd name="connsiteY428" fmla="*/ 2802433 h 4669890"/>
                <a:gd name="connsiteX429" fmla="*/ 2430498 w 3647937"/>
                <a:gd name="connsiteY429" fmla="*/ 2793582 h 4669890"/>
                <a:gd name="connsiteX430" fmla="*/ 2415477 w 3647937"/>
                <a:gd name="connsiteY430" fmla="*/ 2689685 h 4669890"/>
                <a:gd name="connsiteX431" fmla="*/ 2400099 w 3647937"/>
                <a:gd name="connsiteY431" fmla="*/ 2670909 h 4669890"/>
                <a:gd name="connsiteX432" fmla="*/ 2376136 w 3647937"/>
                <a:gd name="connsiteY432" fmla="*/ 2685036 h 4669890"/>
                <a:gd name="connsiteX433" fmla="*/ 2339835 w 3647937"/>
                <a:gd name="connsiteY433" fmla="*/ 2719459 h 4669890"/>
                <a:gd name="connsiteX434" fmla="*/ 2254089 w 3647937"/>
                <a:gd name="connsiteY434" fmla="*/ 2690937 h 4669890"/>
                <a:gd name="connsiteX435" fmla="*/ 2199370 w 3647937"/>
                <a:gd name="connsiteY435" fmla="*/ 2648288 h 4669890"/>
                <a:gd name="connsiteX436" fmla="*/ 2197849 w 3647937"/>
                <a:gd name="connsiteY436" fmla="*/ 2629601 h 4669890"/>
                <a:gd name="connsiteX437" fmla="*/ 2194452 w 3647937"/>
                <a:gd name="connsiteY437" fmla="*/ 2596072 h 4669890"/>
                <a:gd name="connsiteX438" fmla="*/ 2186673 w 3647937"/>
                <a:gd name="connsiteY438" fmla="*/ 2583554 h 4669890"/>
                <a:gd name="connsiteX439" fmla="*/ 2159850 w 3647937"/>
                <a:gd name="connsiteY439" fmla="*/ 2560665 h 4669890"/>
                <a:gd name="connsiteX440" fmla="*/ 2128734 w 3647937"/>
                <a:gd name="connsiteY440" fmla="*/ 2546180 h 4669890"/>
                <a:gd name="connsiteX441" fmla="*/ 2098066 w 3647937"/>
                <a:gd name="connsiteY441" fmla="*/ 2535719 h 4669890"/>
                <a:gd name="connsiteX442" fmla="*/ 2058367 w 3647937"/>
                <a:gd name="connsiteY442" fmla="*/ 2528208 h 4669890"/>
                <a:gd name="connsiteX443" fmla="*/ 2016344 w 3647937"/>
                <a:gd name="connsiteY443" fmla="*/ 2501653 h 4669890"/>
                <a:gd name="connsiteX444" fmla="*/ 1936857 w 3647937"/>
                <a:gd name="connsiteY444" fmla="*/ 2464994 h 466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Lst>
              <a:rect l="l" t="t" r="r" b="b"/>
              <a:pathLst>
                <a:path w="3647937" h="4669890">
                  <a:moveTo>
                    <a:pt x="1937036" y="2465173"/>
                  </a:moveTo>
                  <a:cubicBezTo>
                    <a:pt x="1917723" y="2477154"/>
                    <a:pt x="1898321" y="2475992"/>
                    <a:pt x="1878918" y="2465531"/>
                  </a:cubicBezTo>
                  <a:cubicBezTo>
                    <a:pt x="1868010" y="2465262"/>
                    <a:pt x="1860768" y="2457484"/>
                    <a:pt x="1852184" y="2452477"/>
                  </a:cubicBezTo>
                  <a:cubicBezTo>
                    <a:pt x="1841634" y="2446039"/>
                    <a:pt x="1829563" y="2449258"/>
                    <a:pt x="1818297" y="2447291"/>
                  </a:cubicBezTo>
                  <a:cubicBezTo>
                    <a:pt x="1799521" y="2444340"/>
                    <a:pt x="1789417" y="2430481"/>
                    <a:pt x="1779314" y="2416533"/>
                  </a:cubicBezTo>
                  <a:cubicBezTo>
                    <a:pt x="1771893" y="2406877"/>
                    <a:pt x="1760538" y="2409917"/>
                    <a:pt x="1750792" y="2407771"/>
                  </a:cubicBezTo>
                  <a:cubicBezTo>
                    <a:pt x="1690975" y="2383183"/>
                    <a:pt x="1670858" y="2352961"/>
                    <a:pt x="1671126" y="2287602"/>
                  </a:cubicBezTo>
                  <a:cubicBezTo>
                    <a:pt x="1671126" y="2274190"/>
                    <a:pt x="1665225" y="2262477"/>
                    <a:pt x="1662453" y="2249870"/>
                  </a:cubicBezTo>
                  <a:cubicBezTo>
                    <a:pt x="1660575" y="2239230"/>
                    <a:pt x="1657178" y="2229395"/>
                    <a:pt x="1649131" y="2221616"/>
                  </a:cubicBezTo>
                  <a:cubicBezTo>
                    <a:pt x="1635987" y="2205701"/>
                    <a:pt x="1620519" y="2192021"/>
                    <a:pt x="1606392" y="2177089"/>
                  </a:cubicBezTo>
                  <a:cubicBezTo>
                    <a:pt x="1591550" y="2161353"/>
                    <a:pt x="1574025" y="2148656"/>
                    <a:pt x="1576976" y="2122727"/>
                  </a:cubicBezTo>
                  <a:cubicBezTo>
                    <a:pt x="1578227" y="2111372"/>
                    <a:pt x="1565799" y="2105202"/>
                    <a:pt x="1559004" y="2096887"/>
                  </a:cubicBezTo>
                  <a:cubicBezTo>
                    <a:pt x="1533700" y="2065861"/>
                    <a:pt x="1509380" y="2034120"/>
                    <a:pt x="1498204" y="1994600"/>
                  </a:cubicBezTo>
                  <a:cubicBezTo>
                    <a:pt x="1497221" y="1985391"/>
                    <a:pt x="1497578" y="1976181"/>
                    <a:pt x="1497310" y="1967061"/>
                  </a:cubicBezTo>
                  <a:cubicBezTo>
                    <a:pt x="1498025" y="1945513"/>
                    <a:pt x="1477103" y="1942383"/>
                    <a:pt x="1466374" y="1930850"/>
                  </a:cubicBezTo>
                  <a:cubicBezTo>
                    <a:pt x="1455197" y="1929240"/>
                    <a:pt x="1461813" y="1938986"/>
                    <a:pt x="1459042" y="1942562"/>
                  </a:cubicBezTo>
                  <a:cubicBezTo>
                    <a:pt x="1458952" y="1957315"/>
                    <a:pt x="1466910" y="1969744"/>
                    <a:pt x="1470665" y="1983245"/>
                  </a:cubicBezTo>
                  <a:cubicBezTo>
                    <a:pt x="1472632" y="1986910"/>
                    <a:pt x="1474778" y="1990576"/>
                    <a:pt x="1476924" y="1994153"/>
                  </a:cubicBezTo>
                  <a:cubicBezTo>
                    <a:pt x="1479875" y="1998981"/>
                    <a:pt x="1482736" y="2003720"/>
                    <a:pt x="1485865" y="2008459"/>
                  </a:cubicBezTo>
                  <a:cubicBezTo>
                    <a:pt x="1491588" y="2017132"/>
                    <a:pt x="1494538" y="2027056"/>
                    <a:pt x="1499188" y="2036266"/>
                  </a:cubicBezTo>
                  <a:cubicBezTo>
                    <a:pt x="1507771" y="2083296"/>
                    <a:pt x="1542105" y="2120581"/>
                    <a:pt x="1548185" y="2168774"/>
                  </a:cubicBezTo>
                  <a:cubicBezTo>
                    <a:pt x="1550867" y="2189696"/>
                    <a:pt x="1579747" y="2191574"/>
                    <a:pt x="1583860" y="2212675"/>
                  </a:cubicBezTo>
                  <a:cubicBezTo>
                    <a:pt x="1586006" y="2224835"/>
                    <a:pt x="1584754" y="2235922"/>
                    <a:pt x="1574919" y="2244684"/>
                  </a:cubicBezTo>
                  <a:cubicBezTo>
                    <a:pt x="1549884" y="2244147"/>
                    <a:pt x="1494806" y="2200783"/>
                    <a:pt x="1495522" y="2177178"/>
                  </a:cubicBezTo>
                  <a:cubicBezTo>
                    <a:pt x="1496505" y="2144007"/>
                    <a:pt x="1480054" y="2125498"/>
                    <a:pt x="1454124" y="2111014"/>
                  </a:cubicBezTo>
                  <a:cubicBezTo>
                    <a:pt x="1448491" y="2107795"/>
                    <a:pt x="1444289" y="2102788"/>
                    <a:pt x="1440891" y="2097155"/>
                  </a:cubicBezTo>
                  <a:cubicBezTo>
                    <a:pt x="1430698" y="2082134"/>
                    <a:pt x="1441517" y="2071673"/>
                    <a:pt x="1448849" y="2060407"/>
                  </a:cubicBezTo>
                  <a:cubicBezTo>
                    <a:pt x="1446524" y="2037160"/>
                    <a:pt x="1431235" y="2020708"/>
                    <a:pt x="1416661" y="2005597"/>
                  </a:cubicBezTo>
                  <a:cubicBezTo>
                    <a:pt x="1389211" y="1977165"/>
                    <a:pt x="1377230" y="1944619"/>
                    <a:pt x="1379555" y="1905904"/>
                  </a:cubicBezTo>
                  <a:cubicBezTo>
                    <a:pt x="1379555" y="1896694"/>
                    <a:pt x="1379555" y="1887574"/>
                    <a:pt x="1374101" y="1879438"/>
                  </a:cubicBezTo>
                  <a:cubicBezTo>
                    <a:pt x="1366322" y="1866115"/>
                    <a:pt x="1357560" y="1853598"/>
                    <a:pt x="1342807" y="1847339"/>
                  </a:cubicBezTo>
                  <a:cubicBezTo>
                    <a:pt x="1292468" y="1825970"/>
                    <a:pt x="1276284" y="1780459"/>
                    <a:pt x="1262068" y="1733518"/>
                  </a:cubicBezTo>
                  <a:cubicBezTo>
                    <a:pt x="1261174" y="1723951"/>
                    <a:pt x="1262694" y="1714026"/>
                    <a:pt x="1258402" y="1704906"/>
                  </a:cubicBezTo>
                  <a:cubicBezTo>
                    <a:pt x="1210209" y="1646431"/>
                    <a:pt x="1199391" y="1581429"/>
                    <a:pt x="1223800" y="1510079"/>
                  </a:cubicBezTo>
                  <a:cubicBezTo>
                    <a:pt x="1231847" y="1492107"/>
                    <a:pt x="1227823" y="1473152"/>
                    <a:pt x="1228628" y="1454554"/>
                  </a:cubicBezTo>
                  <a:cubicBezTo>
                    <a:pt x="1227108" y="1420399"/>
                    <a:pt x="1243292" y="1392681"/>
                    <a:pt x="1260906" y="1365411"/>
                  </a:cubicBezTo>
                  <a:cubicBezTo>
                    <a:pt x="1270473" y="1354413"/>
                    <a:pt x="1269847" y="1340197"/>
                    <a:pt x="1273066" y="1327143"/>
                  </a:cubicBezTo>
                  <a:cubicBezTo>
                    <a:pt x="1273066" y="1319364"/>
                    <a:pt x="1270383" y="1311943"/>
                    <a:pt x="1269400" y="1304343"/>
                  </a:cubicBezTo>
                  <a:cubicBezTo>
                    <a:pt x="1267254" y="1288070"/>
                    <a:pt x="1269579" y="1271350"/>
                    <a:pt x="1264303" y="1255434"/>
                  </a:cubicBezTo>
                  <a:cubicBezTo>
                    <a:pt x="1262873" y="1245242"/>
                    <a:pt x="1262873" y="1235317"/>
                    <a:pt x="1271367" y="1227627"/>
                  </a:cubicBezTo>
                  <a:cubicBezTo>
                    <a:pt x="1286835" y="1218507"/>
                    <a:pt x="1302661" y="1223336"/>
                    <a:pt x="1318755" y="1227627"/>
                  </a:cubicBezTo>
                  <a:cubicBezTo>
                    <a:pt x="1322600" y="1208941"/>
                    <a:pt x="1308562" y="1199820"/>
                    <a:pt x="1299532" y="1188197"/>
                  </a:cubicBezTo>
                  <a:cubicBezTo>
                    <a:pt x="1293005" y="1172013"/>
                    <a:pt x="1290501" y="1152343"/>
                    <a:pt x="1267343" y="1150018"/>
                  </a:cubicBezTo>
                  <a:cubicBezTo>
                    <a:pt x="1250266" y="1126056"/>
                    <a:pt x="1218882" y="1135444"/>
                    <a:pt x="1198049" y="1120244"/>
                  </a:cubicBezTo>
                  <a:cubicBezTo>
                    <a:pt x="1191075" y="1081261"/>
                    <a:pt x="1184012" y="1042277"/>
                    <a:pt x="1165057" y="1006781"/>
                  </a:cubicBezTo>
                  <a:cubicBezTo>
                    <a:pt x="1168633" y="984696"/>
                    <a:pt x="1147353" y="981656"/>
                    <a:pt x="1136892" y="970301"/>
                  </a:cubicBezTo>
                  <a:cubicBezTo>
                    <a:pt x="1135193" y="967619"/>
                    <a:pt x="1133941" y="964758"/>
                    <a:pt x="1133047" y="961807"/>
                  </a:cubicBezTo>
                  <a:cubicBezTo>
                    <a:pt x="1129203" y="943120"/>
                    <a:pt x="1136177" y="920499"/>
                    <a:pt x="1113645" y="908518"/>
                  </a:cubicBezTo>
                  <a:cubicBezTo>
                    <a:pt x="1090040" y="890456"/>
                    <a:pt x="1092365" y="864438"/>
                    <a:pt x="1091918" y="839224"/>
                  </a:cubicBezTo>
                  <a:cubicBezTo>
                    <a:pt x="1079669" y="828673"/>
                    <a:pt x="1065720" y="819642"/>
                    <a:pt x="1061160" y="802744"/>
                  </a:cubicBezTo>
                  <a:cubicBezTo>
                    <a:pt x="1045692" y="783431"/>
                    <a:pt x="1038807" y="758932"/>
                    <a:pt x="1019942" y="741139"/>
                  </a:cubicBezTo>
                  <a:cubicBezTo>
                    <a:pt x="1006619" y="728622"/>
                    <a:pt x="998572" y="727191"/>
                    <a:pt x="988469" y="742302"/>
                  </a:cubicBezTo>
                  <a:cubicBezTo>
                    <a:pt x="969782" y="750706"/>
                    <a:pt x="954761" y="743017"/>
                    <a:pt x="942154" y="730320"/>
                  </a:cubicBezTo>
                  <a:cubicBezTo>
                    <a:pt x="930709" y="718786"/>
                    <a:pt x="917476" y="710024"/>
                    <a:pt x="904511" y="700636"/>
                  </a:cubicBezTo>
                  <a:cubicBezTo>
                    <a:pt x="896822" y="694198"/>
                    <a:pt x="891725" y="681680"/>
                    <a:pt x="877867" y="689191"/>
                  </a:cubicBezTo>
                  <a:cubicBezTo>
                    <a:pt x="820196" y="698311"/>
                    <a:pt x="764314" y="698847"/>
                    <a:pt x="715048" y="660132"/>
                  </a:cubicBezTo>
                  <a:cubicBezTo>
                    <a:pt x="698060" y="646810"/>
                    <a:pt x="680893" y="631610"/>
                    <a:pt x="657020" y="646273"/>
                  </a:cubicBezTo>
                  <a:cubicBezTo>
                    <a:pt x="648079" y="653069"/>
                    <a:pt x="645844" y="665050"/>
                    <a:pt x="637350" y="672203"/>
                  </a:cubicBezTo>
                  <a:cubicBezTo>
                    <a:pt x="608022" y="684542"/>
                    <a:pt x="592018" y="719591"/>
                    <a:pt x="555717" y="720217"/>
                  </a:cubicBezTo>
                  <a:cubicBezTo>
                    <a:pt x="545345" y="721647"/>
                    <a:pt x="535152" y="721737"/>
                    <a:pt x="525317" y="717445"/>
                  </a:cubicBezTo>
                  <a:cubicBezTo>
                    <a:pt x="508060" y="702335"/>
                    <a:pt x="527284" y="644664"/>
                    <a:pt x="515392" y="659953"/>
                  </a:cubicBezTo>
                  <a:cubicBezTo>
                    <a:pt x="504931" y="672560"/>
                    <a:pt x="497778" y="687492"/>
                    <a:pt x="486602" y="699652"/>
                  </a:cubicBezTo>
                  <a:cubicBezTo>
                    <a:pt x="473726" y="713600"/>
                    <a:pt x="446992" y="722363"/>
                    <a:pt x="473726" y="749454"/>
                  </a:cubicBezTo>
                  <a:cubicBezTo>
                    <a:pt x="482667" y="758485"/>
                    <a:pt x="468719" y="772701"/>
                    <a:pt x="457275" y="780570"/>
                  </a:cubicBezTo>
                  <a:cubicBezTo>
                    <a:pt x="391378" y="825812"/>
                    <a:pt x="321727" y="865689"/>
                    <a:pt x="262983" y="920946"/>
                  </a:cubicBezTo>
                  <a:cubicBezTo>
                    <a:pt x="250197" y="933016"/>
                    <a:pt x="232673" y="939901"/>
                    <a:pt x="216668" y="944461"/>
                  </a:cubicBezTo>
                  <a:cubicBezTo>
                    <a:pt x="160071" y="960287"/>
                    <a:pt x="109464" y="991313"/>
                    <a:pt x="52866" y="1006423"/>
                  </a:cubicBezTo>
                  <a:cubicBezTo>
                    <a:pt x="50631" y="1008390"/>
                    <a:pt x="48396" y="1010268"/>
                    <a:pt x="46160" y="1012235"/>
                  </a:cubicBezTo>
                  <a:cubicBezTo>
                    <a:pt x="40080" y="1022696"/>
                    <a:pt x="32301" y="1030833"/>
                    <a:pt x="19426" y="1031995"/>
                  </a:cubicBezTo>
                  <a:cubicBezTo>
                    <a:pt x="12363" y="1031548"/>
                    <a:pt x="6551" y="1029491"/>
                    <a:pt x="5657" y="1021176"/>
                  </a:cubicBezTo>
                  <a:cubicBezTo>
                    <a:pt x="39991" y="972447"/>
                    <a:pt x="92118" y="950183"/>
                    <a:pt x="144781" y="929798"/>
                  </a:cubicBezTo>
                  <a:cubicBezTo>
                    <a:pt x="159534" y="924075"/>
                    <a:pt x="172678" y="918532"/>
                    <a:pt x="181976" y="905478"/>
                  </a:cubicBezTo>
                  <a:cubicBezTo>
                    <a:pt x="193779" y="888936"/>
                    <a:pt x="211482" y="879995"/>
                    <a:pt x="229186" y="871412"/>
                  </a:cubicBezTo>
                  <a:cubicBezTo>
                    <a:pt x="261374" y="855854"/>
                    <a:pt x="283459" y="831892"/>
                    <a:pt x="291684" y="796396"/>
                  </a:cubicBezTo>
                  <a:cubicBezTo>
                    <a:pt x="293026" y="790494"/>
                    <a:pt x="300179" y="783699"/>
                    <a:pt x="293294" y="778781"/>
                  </a:cubicBezTo>
                  <a:cubicBezTo>
                    <a:pt x="287124" y="774311"/>
                    <a:pt x="277379" y="773864"/>
                    <a:pt x="272640" y="781285"/>
                  </a:cubicBezTo>
                  <a:cubicBezTo>
                    <a:pt x="258602" y="803280"/>
                    <a:pt x="239915" y="798184"/>
                    <a:pt x="220602" y="791925"/>
                  </a:cubicBezTo>
                  <a:cubicBezTo>
                    <a:pt x="210141" y="788527"/>
                    <a:pt x="199412" y="787365"/>
                    <a:pt x="188414" y="787186"/>
                  </a:cubicBezTo>
                  <a:cubicBezTo>
                    <a:pt x="154885" y="786739"/>
                    <a:pt x="146033" y="778334"/>
                    <a:pt x="144602" y="745520"/>
                  </a:cubicBezTo>
                  <a:cubicBezTo>
                    <a:pt x="144066" y="733807"/>
                    <a:pt x="146927" y="721558"/>
                    <a:pt x="136466" y="710292"/>
                  </a:cubicBezTo>
                  <a:cubicBezTo>
                    <a:pt x="116795" y="725313"/>
                    <a:pt x="95337" y="736669"/>
                    <a:pt x="72805" y="716909"/>
                  </a:cubicBezTo>
                  <a:cubicBezTo>
                    <a:pt x="61628" y="707073"/>
                    <a:pt x="48038" y="695360"/>
                    <a:pt x="51346" y="678819"/>
                  </a:cubicBezTo>
                  <a:cubicBezTo>
                    <a:pt x="54744" y="661563"/>
                    <a:pt x="71195" y="662099"/>
                    <a:pt x="85412" y="662189"/>
                  </a:cubicBezTo>
                  <a:cubicBezTo>
                    <a:pt x="85591" y="659864"/>
                    <a:pt x="83981" y="659328"/>
                    <a:pt x="81478" y="658433"/>
                  </a:cubicBezTo>
                  <a:cubicBezTo>
                    <a:pt x="21840" y="637601"/>
                    <a:pt x="18711" y="629464"/>
                    <a:pt x="51436" y="575728"/>
                  </a:cubicBezTo>
                  <a:cubicBezTo>
                    <a:pt x="71106" y="543450"/>
                    <a:pt x="94174" y="516448"/>
                    <a:pt x="136108" y="510904"/>
                  </a:cubicBezTo>
                  <a:cubicBezTo>
                    <a:pt x="160607" y="507686"/>
                    <a:pt x="182334" y="492486"/>
                    <a:pt x="205760" y="483813"/>
                  </a:cubicBezTo>
                  <a:cubicBezTo>
                    <a:pt x="226503" y="476123"/>
                    <a:pt x="226414" y="453055"/>
                    <a:pt x="232136" y="432133"/>
                  </a:cubicBezTo>
                  <a:cubicBezTo>
                    <a:pt x="216042" y="449032"/>
                    <a:pt x="197892" y="453502"/>
                    <a:pt x="177595" y="453144"/>
                  </a:cubicBezTo>
                  <a:cubicBezTo>
                    <a:pt x="153633" y="452697"/>
                    <a:pt x="129671" y="452340"/>
                    <a:pt x="105977" y="457526"/>
                  </a:cubicBezTo>
                  <a:cubicBezTo>
                    <a:pt x="87290" y="461549"/>
                    <a:pt x="72179" y="452608"/>
                    <a:pt x="57784" y="441968"/>
                  </a:cubicBezTo>
                  <a:cubicBezTo>
                    <a:pt x="43746" y="431596"/>
                    <a:pt x="32123" y="418542"/>
                    <a:pt x="17727" y="408528"/>
                  </a:cubicBezTo>
                  <a:cubicBezTo>
                    <a:pt x="-5967" y="391987"/>
                    <a:pt x="-6235" y="381794"/>
                    <a:pt x="18890" y="369634"/>
                  </a:cubicBezTo>
                  <a:cubicBezTo>
                    <a:pt x="39097" y="359978"/>
                    <a:pt x="54476" y="339413"/>
                    <a:pt x="79958" y="341201"/>
                  </a:cubicBezTo>
                  <a:cubicBezTo>
                    <a:pt x="84160" y="338966"/>
                    <a:pt x="88363" y="336641"/>
                    <a:pt x="92565" y="334406"/>
                  </a:cubicBezTo>
                  <a:cubicBezTo>
                    <a:pt x="108927" y="318044"/>
                    <a:pt x="131101" y="315540"/>
                    <a:pt x="151755" y="309728"/>
                  </a:cubicBezTo>
                  <a:cubicBezTo>
                    <a:pt x="164362" y="306152"/>
                    <a:pt x="172409" y="313037"/>
                    <a:pt x="176701" y="324660"/>
                  </a:cubicBezTo>
                  <a:cubicBezTo>
                    <a:pt x="191812" y="332171"/>
                    <a:pt x="206565" y="344956"/>
                    <a:pt x="215416" y="316345"/>
                  </a:cubicBezTo>
                  <a:cubicBezTo>
                    <a:pt x="219619" y="302844"/>
                    <a:pt x="232852" y="308208"/>
                    <a:pt x="226772" y="306152"/>
                  </a:cubicBezTo>
                  <a:cubicBezTo>
                    <a:pt x="194762" y="304274"/>
                    <a:pt x="164809" y="300251"/>
                    <a:pt x="146480" y="267526"/>
                  </a:cubicBezTo>
                  <a:cubicBezTo>
                    <a:pt x="139238" y="254561"/>
                    <a:pt x="121802" y="250538"/>
                    <a:pt x="107944" y="244011"/>
                  </a:cubicBezTo>
                  <a:cubicBezTo>
                    <a:pt x="79868" y="230778"/>
                    <a:pt x="78617" y="220853"/>
                    <a:pt x="101059" y="199126"/>
                  </a:cubicBezTo>
                  <a:cubicBezTo>
                    <a:pt x="110805" y="189738"/>
                    <a:pt x="121892" y="184999"/>
                    <a:pt x="135482" y="182496"/>
                  </a:cubicBezTo>
                  <a:cubicBezTo>
                    <a:pt x="174734" y="175253"/>
                    <a:pt x="207369" y="160322"/>
                    <a:pt x="233120" y="124736"/>
                  </a:cubicBezTo>
                  <a:cubicBezTo>
                    <a:pt x="255830" y="93263"/>
                    <a:pt x="293741" y="77169"/>
                    <a:pt x="335585" y="79404"/>
                  </a:cubicBezTo>
                  <a:lnTo>
                    <a:pt x="335049" y="79851"/>
                  </a:lnTo>
                  <a:cubicBezTo>
                    <a:pt x="340682" y="73592"/>
                    <a:pt x="348997" y="72788"/>
                    <a:pt x="355703" y="73861"/>
                  </a:cubicBezTo>
                  <a:cubicBezTo>
                    <a:pt x="369651" y="76185"/>
                    <a:pt x="377341" y="76454"/>
                    <a:pt x="380291" y="58124"/>
                  </a:cubicBezTo>
                  <a:cubicBezTo>
                    <a:pt x="382437" y="44981"/>
                    <a:pt x="399515" y="40599"/>
                    <a:pt x="412390" y="41762"/>
                  </a:cubicBezTo>
                  <a:cubicBezTo>
                    <a:pt x="439213" y="44265"/>
                    <a:pt x="462908" y="33983"/>
                    <a:pt x="487585" y="27188"/>
                  </a:cubicBezTo>
                  <a:cubicBezTo>
                    <a:pt x="496795" y="27188"/>
                    <a:pt x="506004" y="27098"/>
                    <a:pt x="515213" y="27009"/>
                  </a:cubicBezTo>
                  <a:cubicBezTo>
                    <a:pt x="546150" y="46143"/>
                    <a:pt x="580394" y="41672"/>
                    <a:pt x="614102" y="41315"/>
                  </a:cubicBezTo>
                  <a:cubicBezTo>
                    <a:pt x="618484" y="41315"/>
                    <a:pt x="613924" y="39527"/>
                    <a:pt x="617232" y="41762"/>
                  </a:cubicBezTo>
                  <a:cubicBezTo>
                    <a:pt x="666408" y="74039"/>
                    <a:pt x="721218" y="48468"/>
                    <a:pt x="772629" y="57051"/>
                  </a:cubicBezTo>
                  <a:cubicBezTo>
                    <a:pt x="777994" y="57945"/>
                    <a:pt x="784342" y="56247"/>
                    <a:pt x="788723" y="58750"/>
                  </a:cubicBezTo>
                  <a:cubicBezTo>
                    <a:pt x="824577" y="78868"/>
                    <a:pt x="863650" y="83607"/>
                    <a:pt x="903707" y="84948"/>
                  </a:cubicBezTo>
                  <a:cubicBezTo>
                    <a:pt x="905942" y="84679"/>
                    <a:pt x="908177" y="84411"/>
                    <a:pt x="910412" y="84143"/>
                  </a:cubicBezTo>
                  <a:cubicBezTo>
                    <a:pt x="916582" y="81371"/>
                    <a:pt x="924450" y="79136"/>
                    <a:pt x="929278" y="82802"/>
                  </a:cubicBezTo>
                  <a:cubicBezTo>
                    <a:pt x="959768" y="105691"/>
                    <a:pt x="995085" y="108910"/>
                    <a:pt x="1031386" y="111414"/>
                  </a:cubicBezTo>
                  <a:cubicBezTo>
                    <a:pt x="1051146" y="112755"/>
                    <a:pt x="1068403" y="124021"/>
                    <a:pt x="1084318" y="135823"/>
                  </a:cubicBezTo>
                  <a:cubicBezTo>
                    <a:pt x="1097998" y="145926"/>
                    <a:pt x="1113108" y="150933"/>
                    <a:pt x="1129560" y="152990"/>
                  </a:cubicBezTo>
                  <a:cubicBezTo>
                    <a:pt x="1135998" y="153795"/>
                    <a:pt x="1145118" y="155046"/>
                    <a:pt x="1146191" y="147268"/>
                  </a:cubicBezTo>
                  <a:cubicBezTo>
                    <a:pt x="1150393" y="118119"/>
                    <a:pt x="1176054" y="119192"/>
                    <a:pt x="1193937" y="116868"/>
                  </a:cubicBezTo>
                  <a:cubicBezTo>
                    <a:pt x="1236675" y="111235"/>
                    <a:pt x="1275748" y="96392"/>
                    <a:pt x="1314463" y="79136"/>
                  </a:cubicBezTo>
                  <a:cubicBezTo>
                    <a:pt x="1323494" y="75112"/>
                    <a:pt x="1334402" y="71447"/>
                    <a:pt x="1341913" y="79583"/>
                  </a:cubicBezTo>
                  <a:cubicBezTo>
                    <a:pt x="1349870" y="88166"/>
                    <a:pt x="1342807" y="95319"/>
                    <a:pt x="1335028" y="100595"/>
                  </a:cubicBezTo>
                  <a:lnTo>
                    <a:pt x="1334313" y="101936"/>
                  </a:lnTo>
                  <a:cubicBezTo>
                    <a:pt x="1340929" y="98628"/>
                    <a:pt x="1347188" y="93174"/>
                    <a:pt x="1354788" y="93978"/>
                  </a:cubicBezTo>
                  <a:cubicBezTo>
                    <a:pt x="1379197" y="96661"/>
                    <a:pt x="1394576" y="83249"/>
                    <a:pt x="1407898" y="65545"/>
                  </a:cubicBezTo>
                  <a:cubicBezTo>
                    <a:pt x="1409597" y="64204"/>
                    <a:pt x="1409687" y="62684"/>
                    <a:pt x="1408167" y="61164"/>
                  </a:cubicBezTo>
                  <a:cubicBezTo>
                    <a:pt x="1429089" y="54458"/>
                    <a:pt x="1434006" y="56515"/>
                    <a:pt x="1439818" y="75470"/>
                  </a:cubicBezTo>
                  <a:cubicBezTo>
                    <a:pt x="1442679" y="84769"/>
                    <a:pt x="1440981" y="95498"/>
                    <a:pt x="1446256" y="103992"/>
                  </a:cubicBezTo>
                  <a:cubicBezTo>
                    <a:pt x="1452515" y="114185"/>
                    <a:pt x="1459757" y="121428"/>
                    <a:pt x="1471559" y="108552"/>
                  </a:cubicBezTo>
                  <a:cubicBezTo>
                    <a:pt x="1499277" y="78421"/>
                    <a:pt x="1503479" y="79046"/>
                    <a:pt x="1524223" y="115795"/>
                  </a:cubicBezTo>
                  <a:cubicBezTo>
                    <a:pt x="1550420" y="89418"/>
                    <a:pt x="1578943" y="94604"/>
                    <a:pt x="1607733" y="110698"/>
                  </a:cubicBezTo>
                  <a:cubicBezTo>
                    <a:pt x="1632411" y="124468"/>
                    <a:pt x="1660397" y="131352"/>
                    <a:pt x="1684091" y="147625"/>
                  </a:cubicBezTo>
                  <a:cubicBezTo>
                    <a:pt x="1696161" y="155940"/>
                    <a:pt x="1711004" y="155940"/>
                    <a:pt x="1725309" y="153795"/>
                  </a:cubicBezTo>
                  <a:cubicBezTo>
                    <a:pt x="1737469" y="152006"/>
                    <a:pt x="1749003" y="152453"/>
                    <a:pt x="1760090" y="158980"/>
                  </a:cubicBezTo>
                  <a:cubicBezTo>
                    <a:pt x="1788702" y="175969"/>
                    <a:pt x="1789775" y="197606"/>
                    <a:pt x="1759107" y="226754"/>
                  </a:cubicBezTo>
                  <a:cubicBezTo>
                    <a:pt x="1794156" y="235249"/>
                    <a:pt x="1825897" y="228185"/>
                    <a:pt x="1856566" y="223089"/>
                  </a:cubicBezTo>
                  <a:cubicBezTo>
                    <a:pt x="1902255" y="215489"/>
                    <a:pt x="1926307" y="226397"/>
                    <a:pt x="1947855" y="274232"/>
                  </a:cubicBezTo>
                  <a:cubicBezTo>
                    <a:pt x="1952057" y="255008"/>
                    <a:pt x="1939092" y="236232"/>
                    <a:pt x="1954471" y="222820"/>
                  </a:cubicBezTo>
                  <a:cubicBezTo>
                    <a:pt x="1967436" y="211465"/>
                    <a:pt x="1979059" y="209856"/>
                    <a:pt x="1972622" y="211197"/>
                  </a:cubicBezTo>
                  <a:cubicBezTo>
                    <a:pt x="1965290" y="212627"/>
                    <a:pt x="1959478" y="209587"/>
                    <a:pt x="1956975" y="202613"/>
                  </a:cubicBezTo>
                  <a:cubicBezTo>
                    <a:pt x="1954382" y="195192"/>
                    <a:pt x="1959657" y="190543"/>
                    <a:pt x="1964664" y="186162"/>
                  </a:cubicBezTo>
                  <a:cubicBezTo>
                    <a:pt x="1987911" y="165865"/>
                    <a:pt x="2025464" y="169978"/>
                    <a:pt x="2046833" y="193583"/>
                  </a:cubicBezTo>
                  <a:cubicBezTo>
                    <a:pt x="2071064" y="220317"/>
                    <a:pt x="2104772" y="229884"/>
                    <a:pt x="2138480" y="234354"/>
                  </a:cubicBezTo>
                  <a:cubicBezTo>
                    <a:pt x="2153770" y="236411"/>
                    <a:pt x="2170937" y="233997"/>
                    <a:pt x="2187120" y="231761"/>
                  </a:cubicBezTo>
                  <a:cubicBezTo>
                    <a:pt x="2194452" y="230778"/>
                    <a:pt x="2204555" y="232656"/>
                    <a:pt x="2207774" y="224698"/>
                  </a:cubicBezTo>
                  <a:cubicBezTo>
                    <a:pt x="2220471" y="193136"/>
                    <a:pt x="2242019" y="201809"/>
                    <a:pt x="2264461" y="210392"/>
                  </a:cubicBezTo>
                  <a:cubicBezTo>
                    <a:pt x="2290480" y="220406"/>
                    <a:pt x="2289854" y="239630"/>
                    <a:pt x="2283238" y="261357"/>
                  </a:cubicBezTo>
                  <a:cubicBezTo>
                    <a:pt x="2282790" y="266185"/>
                    <a:pt x="2281897" y="270834"/>
                    <a:pt x="2279214" y="275037"/>
                  </a:cubicBezTo>
                  <a:cubicBezTo>
                    <a:pt x="2284489" y="275573"/>
                    <a:pt x="2283864" y="270298"/>
                    <a:pt x="2286278" y="267884"/>
                  </a:cubicBezTo>
                  <a:cubicBezTo>
                    <a:pt x="2289675" y="243653"/>
                    <a:pt x="2302997" y="226486"/>
                    <a:pt x="2321595" y="211286"/>
                  </a:cubicBezTo>
                  <a:cubicBezTo>
                    <a:pt x="2343948" y="193046"/>
                    <a:pt x="2339656" y="155225"/>
                    <a:pt x="2315247" y="139936"/>
                  </a:cubicBezTo>
                  <a:cubicBezTo>
                    <a:pt x="2283327" y="120086"/>
                    <a:pt x="2277783" y="66797"/>
                    <a:pt x="2305143" y="38722"/>
                  </a:cubicBezTo>
                  <a:cubicBezTo>
                    <a:pt x="2313459" y="30138"/>
                    <a:pt x="2323026" y="22896"/>
                    <a:pt x="2331609" y="14491"/>
                  </a:cubicBezTo>
                  <a:cubicBezTo>
                    <a:pt x="2342160" y="4030"/>
                    <a:pt x="2355929" y="-4732"/>
                    <a:pt x="2369609" y="2868"/>
                  </a:cubicBezTo>
                  <a:cubicBezTo>
                    <a:pt x="2385882" y="11898"/>
                    <a:pt x="2407698" y="19320"/>
                    <a:pt x="2408593" y="42567"/>
                  </a:cubicBezTo>
                  <a:cubicBezTo>
                    <a:pt x="2409308" y="61879"/>
                    <a:pt x="2412080" y="79046"/>
                    <a:pt x="2426296" y="93084"/>
                  </a:cubicBezTo>
                  <a:cubicBezTo>
                    <a:pt x="2428531" y="95319"/>
                    <a:pt x="2428710" y="99701"/>
                    <a:pt x="2430856" y="101578"/>
                  </a:cubicBezTo>
                  <a:cubicBezTo>
                    <a:pt x="2445609" y="114543"/>
                    <a:pt x="2405553" y="131710"/>
                    <a:pt x="2435952" y="145837"/>
                  </a:cubicBezTo>
                  <a:cubicBezTo>
                    <a:pt x="2456517" y="155404"/>
                    <a:pt x="2435416" y="178293"/>
                    <a:pt x="2443552" y="193851"/>
                  </a:cubicBezTo>
                  <a:cubicBezTo>
                    <a:pt x="2449454" y="192331"/>
                    <a:pt x="2448917" y="184105"/>
                    <a:pt x="2453030" y="179366"/>
                  </a:cubicBezTo>
                  <a:cubicBezTo>
                    <a:pt x="2461435" y="169620"/>
                    <a:pt x="2470823" y="162557"/>
                    <a:pt x="2484145" y="166759"/>
                  </a:cubicBezTo>
                  <a:cubicBezTo>
                    <a:pt x="2497915" y="171140"/>
                    <a:pt x="2504889" y="181870"/>
                    <a:pt x="2506767" y="195997"/>
                  </a:cubicBezTo>
                  <a:cubicBezTo>
                    <a:pt x="2508108" y="206100"/>
                    <a:pt x="2505604" y="215220"/>
                    <a:pt x="2501134" y="224340"/>
                  </a:cubicBezTo>
                  <a:cubicBezTo>
                    <a:pt x="2496484" y="233818"/>
                    <a:pt x="2500687" y="242223"/>
                    <a:pt x="2508912" y="246425"/>
                  </a:cubicBezTo>
                  <a:cubicBezTo>
                    <a:pt x="2517407" y="250806"/>
                    <a:pt x="2518748" y="240881"/>
                    <a:pt x="2522592" y="236411"/>
                  </a:cubicBezTo>
                  <a:cubicBezTo>
                    <a:pt x="2547359" y="208157"/>
                    <a:pt x="2577402" y="183658"/>
                    <a:pt x="2580978" y="141545"/>
                  </a:cubicBezTo>
                  <a:cubicBezTo>
                    <a:pt x="2582051" y="128581"/>
                    <a:pt x="2595910" y="123752"/>
                    <a:pt x="2609411" y="126613"/>
                  </a:cubicBezTo>
                  <a:cubicBezTo>
                    <a:pt x="2638559" y="132693"/>
                    <a:pt x="2660465" y="151112"/>
                    <a:pt x="2678705" y="172660"/>
                  </a:cubicBezTo>
                  <a:cubicBezTo>
                    <a:pt x="2688361" y="184016"/>
                    <a:pt x="2685768" y="199573"/>
                    <a:pt x="2676023" y="212091"/>
                  </a:cubicBezTo>
                  <a:cubicBezTo>
                    <a:pt x="2670121" y="219601"/>
                    <a:pt x="2660822" y="225234"/>
                    <a:pt x="2663415" y="236947"/>
                  </a:cubicBezTo>
                  <a:cubicBezTo>
                    <a:pt x="2664131" y="241507"/>
                    <a:pt x="2664578" y="245978"/>
                    <a:pt x="2664936" y="250538"/>
                  </a:cubicBezTo>
                  <a:cubicBezTo>
                    <a:pt x="2673430" y="286392"/>
                    <a:pt x="2649199" y="304632"/>
                    <a:pt x="2624700" y="320815"/>
                  </a:cubicBezTo>
                  <a:cubicBezTo>
                    <a:pt x="2609590" y="330829"/>
                    <a:pt x="2583571" y="310265"/>
                    <a:pt x="2584554" y="312053"/>
                  </a:cubicBezTo>
                  <a:cubicBezTo>
                    <a:pt x="2594479" y="330293"/>
                    <a:pt x="2585985" y="338429"/>
                    <a:pt x="2568460" y="341112"/>
                  </a:cubicBezTo>
                  <a:cubicBezTo>
                    <a:pt x="2557642" y="342811"/>
                    <a:pt x="2546644" y="342185"/>
                    <a:pt x="2536183" y="339055"/>
                  </a:cubicBezTo>
                  <a:cubicBezTo>
                    <a:pt x="2524828" y="335658"/>
                    <a:pt x="2517317" y="338161"/>
                    <a:pt x="2513472" y="350142"/>
                  </a:cubicBezTo>
                  <a:cubicBezTo>
                    <a:pt x="2506856" y="370886"/>
                    <a:pt x="2490136" y="377234"/>
                    <a:pt x="2470644" y="379380"/>
                  </a:cubicBezTo>
                  <a:cubicBezTo>
                    <a:pt x="2455355" y="380811"/>
                    <a:pt x="2457054" y="378218"/>
                    <a:pt x="2471181" y="383135"/>
                  </a:cubicBezTo>
                  <a:cubicBezTo>
                    <a:pt x="2477082" y="405309"/>
                    <a:pt x="2464475" y="442594"/>
                    <a:pt x="2444894" y="448406"/>
                  </a:cubicBezTo>
                  <a:cubicBezTo>
                    <a:pt x="2419858" y="455916"/>
                    <a:pt x="2395717" y="464947"/>
                    <a:pt x="2371666" y="474693"/>
                  </a:cubicBezTo>
                  <a:cubicBezTo>
                    <a:pt x="2366569" y="476749"/>
                    <a:pt x="2361026" y="474067"/>
                    <a:pt x="2356287" y="471116"/>
                  </a:cubicBezTo>
                  <a:cubicBezTo>
                    <a:pt x="2341892" y="461013"/>
                    <a:pt x="2335275" y="460476"/>
                    <a:pt x="2347972" y="466556"/>
                  </a:cubicBezTo>
                  <a:cubicBezTo>
                    <a:pt x="2367463" y="481577"/>
                    <a:pt x="2364513" y="495973"/>
                    <a:pt x="2345289" y="507507"/>
                  </a:cubicBezTo>
                  <a:cubicBezTo>
                    <a:pt x="2331609" y="515643"/>
                    <a:pt x="2323205" y="528071"/>
                    <a:pt x="2313280" y="539427"/>
                  </a:cubicBezTo>
                  <a:cubicBezTo>
                    <a:pt x="2282165" y="564641"/>
                    <a:pt x="2262315" y="599154"/>
                    <a:pt x="2240052" y="631342"/>
                  </a:cubicBezTo>
                  <a:cubicBezTo>
                    <a:pt x="2228607" y="647972"/>
                    <a:pt x="2232988" y="668626"/>
                    <a:pt x="2236565" y="687760"/>
                  </a:cubicBezTo>
                  <a:cubicBezTo>
                    <a:pt x="2237280" y="692052"/>
                    <a:pt x="2236297" y="698669"/>
                    <a:pt x="2239158" y="700189"/>
                  </a:cubicBezTo>
                  <a:cubicBezTo>
                    <a:pt x="2265802" y="714047"/>
                    <a:pt x="2271257" y="738814"/>
                    <a:pt x="2274654" y="765101"/>
                  </a:cubicBezTo>
                  <a:cubicBezTo>
                    <a:pt x="2276264" y="777530"/>
                    <a:pt x="2283595" y="783878"/>
                    <a:pt x="2296918" y="784146"/>
                  </a:cubicBezTo>
                  <a:cubicBezTo>
                    <a:pt x="2353158" y="785487"/>
                    <a:pt x="2393035" y="820358"/>
                    <a:pt x="2433181" y="853082"/>
                  </a:cubicBezTo>
                  <a:cubicBezTo>
                    <a:pt x="2448470" y="865511"/>
                    <a:pt x="2462418" y="872485"/>
                    <a:pt x="2482983" y="870697"/>
                  </a:cubicBezTo>
                  <a:cubicBezTo>
                    <a:pt x="2515439" y="867835"/>
                    <a:pt x="2523576" y="879548"/>
                    <a:pt x="2527152" y="912094"/>
                  </a:cubicBezTo>
                  <a:cubicBezTo>
                    <a:pt x="2530907" y="946517"/>
                    <a:pt x="2519910" y="981209"/>
                    <a:pt x="2531265" y="1015364"/>
                  </a:cubicBezTo>
                  <a:cubicBezTo>
                    <a:pt x="2535289" y="1027346"/>
                    <a:pt x="2533679" y="1046480"/>
                    <a:pt x="2550399" y="1043976"/>
                  </a:cubicBezTo>
                  <a:cubicBezTo>
                    <a:pt x="2565242" y="1041741"/>
                    <a:pt x="2583571" y="1030564"/>
                    <a:pt x="2581067" y="1011252"/>
                  </a:cubicBezTo>
                  <a:cubicBezTo>
                    <a:pt x="2576865" y="979242"/>
                    <a:pt x="2595910" y="949736"/>
                    <a:pt x="2587863" y="917638"/>
                  </a:cubicBezTo>
                  <a:cubicBezTo>
                    <a:pt x="2584018" y="902259"/>
                    <a:pt x="2596357" y="896715"/>
                    <a:pt x="2608606" y="893496"/>
                  </a:cubicBezTo>
                  <a:cubicBezTo>
                    <a:pt x="2653670" y="881426"/>
                    <a:pt x="2673698" y="849148"/>
                    <a:pt x="2679867" y="805694"/>
                  </a:cubicBezTo>
                  <a:cubicBezTo>
                    <a:pt x="2683712" y="778781"/>
                    <a:pt x="2682818" y="753925"/>
                    <a:pt x="2655905" y="736758"/>
                  </a:cubicBezTo>
                  <a:cubicBezTo>
                    <a:pt x="2638380" y="725582"/>
                    <a:pt x="2637665" y="709577"/>
                    <a:pt x="2653223" y="696076"/>
                  </a:cubicBezTo>
                  <a:cubicBezTo>
                    <a:pt x="2690865" y="663440"/>
                    <a:pt x="2695693" y="619897"/>
                    <a:pt x="2696856" y="574297"/>
                  </a:cubicBezTo>
                  <a:cubicBezTo>
                    <a:pt x="2698107" y="527803"/>
                    <a:pt x="2710625" y="519041"/>
                    <a:pt x="2755599" y="530307"/>
                  </a:cubicBezTo>
                  <a:cubicBezTo>
                    <a:pt x="2761947" y="531916"/>
                    <a:pt x="2768742" y="535045"/>
                    <a:pt x="2774733" y="533973"/>
                  </a:cubicBezTo>
                  <a:cubicBezTo>
                    <a:pt x="2822479" y="525657"/>
                    <a:pt x="2851895" y="549888"/>
                    <a:pt x="2874248" y="587888"/>
                  </a:cubicBezTo>
                  <a:cubicBezTo>
                    <a:pt x="2878987" y="591732"/>
                    <a:pt x="2884083" y="594951"/>
                    <a:pt x="2889448" y="597812"/>
                  </a:cubicBezTo>
                  <a:cubicBezTo>
                    <a:pt x="2906526" y="606128"/>
                    <a:pt x="2917970" y="614890"/>
                    <a:pt x="2907777" y="637958"/>
                  </a:cubicBezTo>
                  <a:cubicBezTo>
                    <a:pt x="2900535" y="654231"/>
                    <a:pt x="2904827" y="674170"/>
                    <a:pt x="2901697" y="692499"/>
                  </a:cubicBezTo>
                  <a:cubicBezTo>
                    <a:pt x="2898657" y="710203"/>
                    <a:pt x="2917881" y="713869"/>
                    <a:pt x="2929415" y="719949"/>
                  </a:cubicBezTo>
                  <a:cubicBezTo>
                    <a:pt x="2945420" y="728353"/>
                    <a:pt x="2961424" y="723525"/>
                    <a:pt x="2973942" y="710560"/>
                  </a:cubicBezTo>
                  <a:cubicBezTo>
                    <a:pt x="2987711" y="696344"/>
                    <a:pt x="2994685" y="677389"/>
                    <a:pt x="3006398" y="661742"/>
                  </a:cubicBezTo>
                  <a:cubicBezTo>
                    <a:pt x="3015340" y="649760"/>
                    <a:pt x="3023297" y="634471"/>
                    <a:pt x="3042699" y="642697"/>
                  </a:cubicBezTo>
                  <a:cubicBezTo>
                    <a:pt x="3059866" y="650029"/>
                    <a:pt x="3060671" y="663440"/>
                    <a:pt x="3059151" y="680518"/>
                  </a:cubicBezTo>
                  <a:cubicBezTo>
                    <a:pt x="3056737" y="707252"/>
                    <a:pt x="3071669" y="730410"/>
                    <a:pt x="3080878" y="754461"/>
                  </a:cubicBezTo>
                  <a:cubicBezTo>
                    <a:pt x="3088657" y="774847"/>
                    <a:pt x="3096436" y="794250"/>
                    <a:pt x="3093932" y="817318"/>
                  </a:cubicBezTo>
                  <a:cubicBezTo>
                    <a:pt x="3090803" y="846466"/>
                    <a:pt x="3110116" y="865511"/>
                    <a:pt x="3130770" y="882320"/>
                  </a:cubicBezTo>
                  <a:cubicBezTo>
                    <a:pt x="3136582" y="887059"/>
                    <a:pt x="3144450" y="889115"/>
                    <a:pt x="3150530" y="893675"/>
                  </a:cubicBezTo>
                  <a:cubicBezTo>
                    <a:pt x="3161617" y="901722"/>
                    <a:pt x="3178158" y="907087"/>
                    <a:pt x="3175654" y="924343"/>
                  </a:cubicBezTo>
                  <a:cubicBezTo>
                    <a:pt x="3173419" y="939901"/>
                    <a:pt x="3161438" y="936056"/>
                    <a:pt x="3161438" y="936056"/>
                  </a:cubicBezTo>
                  <a:cubicBezTo>
                    <a:pt x="3207395" y="938023"/>
                    <a:pt x="3214638" y="947680"/>
                    <a:pt x="3212760" y="990240"/>
                  </a:cubicBezTo>
                  <a:cubicBezTo>
                    <a:pt x="3209362" y="1001595"/>
                    <a:pt x="3208111" y="1013397"/>
                    <a:pt x="3206412" y="1025110"/>
                  </a:cubicBezTo>
                  <a:cubicBezTo>
                    <a:pt x="3205607" y="1028419"/>
                    <a:pt x="3204266" y="1031458"/>
                    <a:pt x="3202478" y="1034320"/>
                  </a:cubicBezTo>
                  <a:cubicBezTo>
                    <a:pt x="3191838" y="1044870"/>
                    <a:pt x="3177800" y="1050414"/>
                    <a:pt x="3165998" y="1059355"/>
                  </a:cubicBezTo>
                  <a:cubicBezTo>
                    <a:pt x="3140605" y="1070621"/>
                    <a:pt x="3115480" y="1079562"/>
                    <a:pt x="3094737" y="1101557"/>
                  </a:cubicBezTo>
                  <a:cubicBezTo>
                    <a:pt x="3070417" y="1127397"/>
                    <a:pt x="3036888" y="1119350"/>
                    <a:pt x="3006130" y="1108621"/>
                  </a:cubicBezTo>
                  <a:cubicBezTo>
                    <a:pt x="2989768" y="1107369"/>
                    <a:pt x="2973316" y="1108174"/>
                    <a:pt x="2956954" y="1107905"/>
                  </a:cubicBezTo>
                  <a:cubicBezTo>
                    <a:pt x="2937015" y="1105491"/>
                    <a:pt x="2923245" y="1116668"/>
                    <a:pt x="2910013" y="1129096"/>
                  </a:cubicBezTo>
                  <a:cubicBezTo>
                    <a:pt x="2895439" y="1141256"/>
                    <a:pt x="2897048" y="1144564"/>
                    <a:pt x="2915288" y="1139199"/>
                  </a:cubicBezTo>
                  <a:cubicBezTo>
                    <a:pt x="2920563" y="1137858"/>
                    <a:pt x="2925928" y="1137411"/>
                    <a:pt x="2931292" y="1138037"/>
                  </a:cubicBezTo>
                  <a:cubicBezTo>
                    <a:pt x="2947655" y="1139915"/>
                    <a:pt x="2960172" y="1148319"/>
                    <a:pt x="2965537" y="1163519"/>
                  </a:cubicBezTo>
                  <a:cubicBezTo>
                    <a:pt x="2972511" y="1183190"/>
                    <a:pt x="2955255" y="1191773"/>
                    <a:pt x="2944347" y="1202860"/>
                  </a:cubicBezTo>
                  <a:cubicBezTo>
                    <a:pt x="2943095" y="1207510"/>
                    <a:pt x="2931740" y="1204112"/>
                    <a:pt x="2936210" y="1213322"/>
                  </a:cubicBezTo>
                  <a:cubicBezTo>
                    <a:pt x="2952125" y="1234870"/>
                    <a:pt x="2952751" y="1265449"/>
                    <a:pt x="2977697" y="1281185"/>
                  </a:cubicBezTo>
                  <a:cubicBezTo>
                    <a:pt x="2986370" y="1287354"/>
                    <a:pt x="2996742" y="1282347"/>
                    <a:pt x="3005862" y="1285298"/>
                  </a:cubicBezTo>
                  <a:cubicBezTo>
                    <a:pt x="3013372" y="1287444"/>
                    <a:pt x="3020883" y="1289679"/>
                    <a:pt x="3025980" y="1296206"/>
                  </a:cubicBezTo>
                  <a:cubicBezTo>
                    <a:pt x="3029288" y="1302376"/>
                    <a:pt x="3029735" y="1308813"/>
                    <a:pt x="3027768" y="1315519"/>
                  </a:cubicBezTo>
                  <a:cubicBezTo>
                    <a:pt x="3018826" y="1332686"/>
                    <a:pt x="3000676" y="1336888"/>
                    <a:pt x="2985118" y="1341985"/>
                  </a:cubicBezTo>
                  <a:cubicBezTo>
                    <a:pt x="2960977" y="1349853"/>
                    <a:pt x="2940770" y="1360582"/>
                    <a:pt x="2924050" y="1380700"/>
                  </a:cubicBezTo>
                  <a:cubicBezTo>
                    <a:pt x="2912605" y="1394469"/>
                    <a:pt x="2895170" y="1407166"/>
                    <a:pt x="2880060" y="1381505"/>
                  </a:cubicBezTo>
                  <a:cubicBezTo>
                    <a:pt x="2876841" y="1371580"/>
                    <a:pt x="2877020" y="1361477"/>
                    <a:pt x="2878093" y="1351373"/>
                  </a:cubicBezTo>
                  <a:cubicBezTo>
                    <a:pt x="2878450" y="1348065"/>
                    <a:pt x="2879344" y="1344846"/>
                    <a:pt x="2880417" y="1341717"/>
                  </a:cubicBezTo>
                  <a:cubicBezTo>
                    <a:pt x="2884441" y="1330540"/>
                    <a:pt x="2883904" y="1328037"/>
                    <a:pt x="2873622" y="1331524"/>
                  </a:cubicBezTo>
                  <a:cubicBezTo>
                    <a:pt x="2871655" y="1333312"/>
                    <a:pt x="2869777" y="1335100"/>
                    <a:pt x="2868079" y="1337157"/>
                  </a:cubicBezTo>
                  <a:cubicBezTo>
                    <a:pt x="2862535" y="1347350"/>
                    <a:pt x="2855024" y="1355486"/>
                    <a:pt x="2844385" y="1360493"/>
                  </a:cubicBezTo>
                  <a:cubicBezTo>
                    <a:pt x="2818813" y="1368004"/>
                    <a:pt x="2796549" y="1381594"/>
                    <a:pt x="2777862" y="1400102"/>
                  </a:cubicBezTo>
                  <a:cubicBezTo>
                    <a:pt x="2764003" y="1413782"/>
                    <a:pt x="2747999" y="1429161"/>
                    <a:pt x="2770441" y="1449100"/>
                  </a:cubicBezTo>
                  <a:cubicBezTo>
                    <a:pt x="2776879" y="1454822"/>
                    <a:pt x="2775359" y="1461170"/>
                    <a:pt x="2770888" y="1466356"/>
                  </a:cubicBezTo>
                  <a:cubicBezTo>
                    <a:pt x="2761500" y="1477175"/>
                    <a:pt x="2751396" y="1487726"/>
                    <a:pt x="2734945" y="1478785"/>
                  </a:cubicBezTo>
                  <a:cubicBezTo>
                    <a:pt x="2709820" y="1482629"/>
                    <a:pt x="2688540" y="1499170"/>
                    <a:pt x="2662611" y="1500601"/>
                  </a:cubicBezTo>
                  <a:cubicBezTo>
                    <a:pt x="2660644" y="1500690"/>
                    <a:pt x="2657336" y="1502389"/>
                    <a:pt x="2657157" y="1503641"/>
                  </a:cubicBezTo>
                  <a:cubicBezTo>
                    <a:pt x="2652597" y="1539137"/>
                    <a:pt x="2619962" y="1562206"/>
                    <a:pt x="2615223" y="1597344"/>
                  </a:cubicBezTo>
                  <a:cubicBezTo>
                    <a:pt x="2612540" y="1617372"/>
                    <a:pt x="2597787" y="1628102"/>
                    <a:pt x="2585985" y="1641424"/>
                  </a:cubicBezTo>
                  <a:cubicBezTo>
                    <a:pt x="2575435" y="1628638"/>
                    <a:pt x="2577133" y="1636954"/>
                    <a:pt x="2577223" y="1656535"/>
                  </a:cubicBezTo>
                  <a:cubicBezTo>
                    <a:pt x="2563811" y="1671824"/>
                    <a:pt x="2596715" y="1691048"/>
                    <a:pt x="2573110" y="1705443"/>
                  </a:cubicBezTo>
                  <a:cubicBezTo>
                    <a:pt x="2583571" y="1721179"/>
                    <a:pt x="2567209" y="1724935"/>
                    <a:pt x="2560145" y="1729137"/>
                  </a:cubicBezTo>
                  <a:cubicBezTo>
                    <a:pt x="2532606" y="1745767"/>
                    <a:pt x="2506677" y="1766958"/>
                    <a:pt x="2483073" y="1786271"/>
                  </a:cubicBezTo>
                  <a:cubicBezTo>
                    <a:pt x="2447040" y="1815777"/>
                    <a:pt x="2407698" y="1849038"/>
                    <a:pt x="2407877" y="1909480"/>
                  </a:cubicBezTo>
                  <a:cubicBezTo>
                    <a:pt x="2407967" y="1954544"/>
                    <a:pt x="2412348" y="1998355"/>
                    <a:pt x="2417087" y="2042614"/>
                  </a:cubicBezTo>
                  <a:cubicBezTo>
                    <a:pt x="2418875" y="2059244"/>
                    <a:pt x="2418696" y="2075339"/>
                    <a:pt x="2411990" y="2090628"/>
                  </a:cubicBezTo>
                  <a:cubicBezTo>
                    <a:pt x="2408235" y="2099122"/>
                    <a:pt x="2401350" y="2105381"/>
                    <a:pt x="2391515" y="2103324"/>
                  </a:cubicBezTo>
                  <a:cubicBezTo>
                    <a:pt x="2383110" y="2101536"/>
                    <a:pt x="2373901" y="2098049"/>
                    <a:pt x="2373275" y="2087320"/>
                  </a:cubicBezTo>
                  <a:cubicBezTo>
                    <a:pt x="2372023" y="2066040"/>
                    <a:pt x="2364691" y="2048068"/>
                    <a:pt x="2351459" y="2030990"/>
                  </a:cubicBezTo>
                  <a:cubicBezTo>
                    <a:pt x="2346720" y="2024910"/>
                    <a:pt x="2347077" y="2010247"/>
                    <a:pt x="2351101" y="2002736"/>
                  </a:cubicBezTo>
                  <a:cubicBezTo>
                    <a:pt x="2366927" y="1973409"/>
                    <a:pt x="2344932" y="1953113"/>
                    <a:pt x="2335275" y="1930581"/>
                  </a:cubicBezTo>
                  <a:cubicBezTo>
                    <a:pt x="2328122" y="1913951"/>
                    <a:pt x="2317393" y="1927005"/>
                    <a:pt x="2309435" y="1933085"/>
                  </a:cubicBezTo>
                  <a:cubicBezTo>
                    <a:pt x="2296560" y="1942831"/>
                    <a:pt x="2290122" y="1946049"/>
                    <a:pt x="2276979" y="1928167"/>
                  </a:cubicBezTo>
                  <a:cubicBezTo>
                    <a:pt x="2257934" y="1902416"/>
                    <a:pt x="2225299" y="1933353"/>
                    <a:pt x="2199280" y="1919852"/>
                  </a:cubicBezTo>
                  <a:cubicBezTo>
                    <a:pt x="2194273" y="1917259"/>
                    <a:pt x="2172188" y="1922892"/>
                    <a:pt x="2172814" y="1937645"/>
                  </a:cubicBezTo>
                  <a:cubicBezTo>
                    <a:pt x="2174066" y="1965273"/>
                    <a:pt x="2151266" y="1962680"/>
                    <a:pt x="2136871" y="1970727"/>
                  </a:cubicBezTo>
                  <a:cubicBezTo>
                    <a:pt x="2132311" y="1973320"/>
                    <a:pt x="2124890" y="1977969"/>
                    <a:pt x="2122386" y="1972962"/>
                  </a:cubicBezTo>
                  <a:cubicBezTo>
                    <a:pt x="2110047" y="1947927"/>
                    <a:pt x="2087069" y="1958209"/>
                    <a:pt x="2068292" y="1955706"/>
                  </a:cubicBezTo>
                  <a:cubicBezTo>
                    <a:pt x="2046207" y="1952845"/>
                    <a:pt x="2025464" y="1952845"/>
                    <a:pt x="2013572" y="1979132"/>
                  </a:cubicBezTo>
                  <a:cubicBezTo>
                    <a:pt x="2009459" y="1988252"/>
                    <a:pt x="1994528" y="1992543"/>
                    <a:pt x="1984514" y="1999071"/>
                  </a:cubicBezTo>
                  <a:cubicBezTo>
                    <a:pt x="1956170" y="2017579"/>
                    <a:pt x="1934354" y="2035103"/>
                    <a:pt x="1933549" y="2077127"/>
                  </a:cubicBezTo>
                  <a:cubicBezTo>
                    <a:pt x="1932744" y="2117362"/>
                    <a:pt x="1911643" y="2157061"/>
                    <a:pt x="1917365" y="2199799"/>
                  </a:cubicBezTo>
                  <a:cubicBezTo>
                    <a:pt x="1917723" y="2202750"/>
                    <a:pt x="1916650" y="2206863"/>
                    <a:pt x="1914683" y="2209009"/>
                  </a:cubicBezTo>
                  <a:cubicBezTo>
                    <a:pt x="1879187" y="2248082"/>
                    <a:pt x="1912895" y="2275352"/>
                    <a:pt x="1931045" y="2305126"/>
                  </a:cubicBezTo>
                  <a:cubicBezTo>
                    <a:pt x="1933817" y="2309686"/>
                    <a:pt x="1941417" y="2314157"/>
                    <a:pt x="1940791" y="2317465"/>
                  </a:cubicBezTo>
                  <a:cubicBezTo>
                    <a:pt x="1932387" y="2362618"/>
                    <a:pt x="1974321" y="2359489"/>
                    <a:pt x="1995869" y="2375672"/>
                  </a:cubicBezTo>
                  <a:cubicBezTo>
                    <a:pt x="2001770" y="2380053"/>
                    <a:pt x="2008297" y="2378623"/>
                    <a:pt x="2014645" y="2376477"/>
                  </a:cubicBezTo>
                  <a:cubicBezTo>
                    <a:pt x="2036104" y="2369324"/>
                    <a:pt x="2055953" y="2358415"/>
                    <a:pt x="2077591" y="2351084"/>
                  </a:cubicBezTo>
                  <a:cubicBezTo>
                    <a:pt x="2091003" y="2346524"/>
                    <a:pt x="2101911" y="2330966"/>
                    <a:pt x="2100302" y="2311385"/>
                  </a:cubicBezTo>
                  <a:cubicBezTo>
                    <a:pt x="2098960" y="2295470"/>
                    <a:pt x="2096993" y="2272133"/>
                    <a:pt x="2112104" y="2266679"/>
                  </a:cubicBezTo>
                  <a:cubicBezTo>
                    <a:pt x="2139732" y="2256665"/>
                    <a:pt x="2167360" y="2239230"/>
                    <a:pt x="2197939" y="2244595"/>
                  </a:cubicBezTo>
                  <a:cubicBezTo>
                    <a:pt x="2215553" y="2247635"/>
                    <a:pt x="2211619" y="2267126"/>
                    <a:pt x="2204198" y="2276515"/>
                  </a:cubicBezTo>
                  <a:cubicBezTo>
                    <a:pt x="2176927" y="2311296"/>
                    <a:pt x="2179520" y="2354660"/>
                    <a:pt x="2167450" y="2393733"/>
                  </a:cubicBezTo>
                  <a:cubicBezTo>
                    <a:pt x="2163784" y="2405536"/>
                    <a:pt x="2158240" y="2415907"/>
                    <a:pt x="2150998" y="2425295"/>
                  </a:cubicBezTo>
                  <a:cubicBezTo>
                    <a:pt x="2137586" y="2442820"/>
                    <a:pt x="2147332" y="2448096"/>
                    <a:pt x="2163337" y="2449526"/>
                  </a:cubicBezTo>
                  <a:cubicBezTo>
                    <a:pt x="2180951" y="2451135"/>
                    <a:pt x="2197849" y="2446039"/>
                    <a:pt x="2214838" y="2442284"/>
                  </a:cubicBezTo>
                  <a:cubicBezTo>
                    <a:pt x="2237727" y="2437277"/>
                    <a:pt x="2259007" y="2436025"/>
                    <a:pt x="2277783" y="2455695"/>
                  </a:cubicBezTo>
                  <a:cubicBezTo>
                    <a:pt x="2289943" y="2468481"/>
                    <a:pt x="2294414" y="2475992"/>
                    <a:pt x="2284132" y="2494053"/>
                  </a:cubicBezTo>
                  <a:cubicBezTo>
                    <a:pt x="2265713" y="2526241"/>
                    <a:pt x="2268663" y="2565314"/>
                    <a:pt x="2267233" y="2600453"/>
                  </a:cubicBezTo>
                  <a:cubicBezTo>
                    <a:pt x="2266428" y="2621107"/>
                    <a:pt x="2291911" y="2643817"/>
                    <a:pt x="2307826" y="2661789"/>
                  </a:cubicBezTo>
                  <a:cubicBezTo>
                    <a:pt x="2323652" y="2679671"/>
                    <a:pt x="2350296" y="2669121"/>
                    <a:pt x="2368894" y="2653653"/>
                  </a:cubicBezTo>
                  <a:cubicBezTo>
                    <a:pt x="2376583" y="2647215"/>
                    <a:pt x="2375153" y="2626382"/>
                    <a:pt x="2387492" y="2630942"/>
                  </a:cubicBezTo>
                  <a:cubicBezTo>
                    <a:pt x="2405016" y="2637380"/>
                    <a:pt x="2425670" y="2637111"/>
                    <a:pt x="2440066" y="2651328"/>
                  </a:cubicBezTo>
                  <a:cubicBezTo>
                    <a:pt x="2447755" y="2658928"/>
                    <a:pt x="2454639" y="2667243"/>
                    <a:pt x="2460094" y="2673144"/>
                  </a:cubicBezTo>
                  <a:cubicBezTo>
                    <a:pt x="2491388" y="2646500"/>
                    <a:pt x="2496663" y="2600900"/>
                    <a:pt x="2532159" y="2578368"/>
                  </a:cubicBezTo>
                  <a:cubicBezTo>
                    <a:pt x="2557999" y="2561916"/>
                    <a:pt x="2588220" y="2552170"/>
                    <a:pt x="2608338" y="2527046"/>
                  </a:cubicBezTo>
                  <a:cubicBezTo>
                    <a:pt x="2611467" y="2523201"/>
                    <a:pt x="2618710" y="2522039"/>
                    <a:pt x="2623270" y="2526331"/>
                  </a:cubicBezTo>
                  <a:cubicBezTo>
                    <a:pt x="2629886" y="2532589"/>
                    <a:pt x="2625505" y="2538222"/>
                    <a:pt x="2620319" y="2542693"/>
                  </a:cubicBezTo>
                  <a:cubicBezTo>
                    <a:pt x="2598592" y="2561559"/>
                    <a:pt x="2619962" y="2591065"/>
                    <a:pt x="2603152" y="2612345"/>
                  </a:cubicBezTo>
                  <a:cubicBezTo>
                    <a:pt x="2599933" y="2616457"/>
                    <a:pt x="2615402" y="2629511"/>
                    <a:pt x="2622912" y="2629601"/>
                  </a:cubicBezTo>
                  <a:cubicBezTo>
                    <a:pt x="2636056" y="2629780"/>
                    <a:pt x="2632211" y="2616457"/>
                    <a:pt x="2629528" y="2609483"/>
                  </a:cubicBezTo>
                  <a:cubicBezTo>
                    <a:pt x="2620498" y="2585968"/>
                    <a:pt x="2620587" y="2567013"/>
                    <a:pt x="2648841" y="2558340"/>
                  </a:cubicBezTo>
                  <a:cubicBezTo>
                    <a:pt x="2662253" y="2554227"/>
                    <a:pt x="2656173" y="2540815"/>
                    <a:pt x="2662253" y="2529639"/>
                  </a:cubicBezTo>
                  <a:cubicBezTo>
                    <a:pt x="2676112" y="2548236"/>
                    <a:pt x="2700789" y="2552081"/>
                    <a:pt x="2707943" y="2575328"/>
                  </a:cubicBezTo>
                  <a:cubicBezTo>
                    <a:pt x="2709284" y="2579799"/>
                    <a:pt x="2713844" y="2584269"/>
                    <a:pt x="2717510" y="2582034"/>
                  </a:cubicBezTo>
                  <a:cubicBezTo>
                    <a:pt x="2754794" y="2559770"/>
                    <a:pt x="2797712" y="2612791"/>
                    <a:pt x="2833834" y="2573093"/>
                  </a:cubicBezTo>
                  <a:cubicBezTo>
                    <a:pt x="2837142" y="2569427"/>
                    <a:pt x="2846351" y="2571215"/>
                    <a:pt x="2852789" y="2570410"/>
                  </a:cubicBezTo>
                  <a:cubicBezTo>
                    <a:pt x="2858422" y="2566297"/>
                    <a:pt x="2864860" y="2566655"/>
                    <a:pt x="2871297" y="2567460"/>
                  </a:cubicBezTo>
                  <a:cubicBezTo>
                    <a:pt x="2876215" y="2568086"/>
                    <a:pt x="2883278" y="2565850"/>
                    <a:pt x="2884799" y="2572467"/>
                  </a:cubicBezTo>
                  <a:cubicBezTo>
                    <a:pt x="2886944" y="2581855"/>
                    <a:pt x="2875947" y="2579083"/>
                    <a:pt x="2872638" y="2583822"/>
                  </a:cubicBezTo>
                  <a:cubicBezTo>
                    <a:pt x="2909297" y="2594730"/>
                    <a:pt x="2923603" y="2633088"/>
                    <a:pt x="2954987" y="2651060"/>
                  </a:cubicBezTo>
                  <a:cubicBezTo>
                    <a:pt x="2965179" y="2656871"/>
                    <a:pt x="2976356" y="2666260"/>
                    <a:pt x="2976714" y="2681281"/>
                  </a:cubicBezTo>
                  <a:cubicBezTo>
                    <a:pt x="2975551" y="2703365"/>
                    <a:pt x="2998441" y="2683874"/>
                    <a:pt x="3002822" y="2696302"/>
                  </a:cubicBezTo>
                  <a:cubicBezTo>
                    <a:pt x="3004878" y="2702829"/>
                    <a:pt x="3010422" y="2701577"/>
                    <a:pt x="3015250" y="2701935"/>
                  </a:cubicBezTo>
                  <a:cubicBezTo>
                    <a:pt x="3018290" y="2716867"/>
                    <a:pt x="3030629" y="2718297"/>
                    <a:pt x="3042342" y="2720622"/>
                  </a:cubicBezTo>
                  <a:cubicBezTo>
                    <a:pt x="3100549" y="2705958"/>
                    <a:pt x="3157504" y="2717940"/>
                    <a:pt x="3178158" y="2767295"/>
                  </a:cubicBezTo>
                  <a:cubicBezTo>
                    <a:pt x="3191301" y="2798678"/>
                    <a:pt x="3233504" y="2833459"/>
                    <a:pt x="3198812" y="2876824"/>
                  </a:cubicBezTo>
                  <a:cubicBezTo>
                    <a:pt x="3190497" y="2908654"/>
                    <a:pt x="3168948" y="2920099"/>
                    <a:pt x="3182539" y="2908297"/>
                  </a:cubicBezTo>
                  <a:cubicBezTo>
                    <a:pt x="3191123" y="2900786"/>
                    <a:pt x="3198454" y="2890236"/>
                    <a:pt x="3212313" y="2897120"/>
                  </a:cubicBezTo>
                  <a:cubicBezTo>
                    <a:pt x="3225099" y="2897478"/>
                    <a:pt x="3237796" y="2897836"/>
                    <a:pt x="3250581" y="2898193"/>
                  </a:cubicBezTo>
                  <a:cubicBezTo>
                    <a:pt x="3258002" y="2908744"/>
                    <a:pt x="3257019" y="2918937"/>
                    <a:pt x="3249419" y="2928951"/>
                  </a:cubicBezTo>
                  <a:cubicBezTo>
                    <a:pt x="3244322" y="2936908"/>
                    <a:pt x="3243518" y="2938518"/>
                    <a:pt x="3248703" y="2931633"/>
                  </a:cubicBezTo>
                  <a:cubicBezTo>
                    <a:pt x="3253085" y="2925374"/>
                    <a:pt x="3258450" y="2920367"/>
                    <a:pt x="3265960" y="2918132"/>
                  </a:cubicBezTo>
                  <a:cubicBezTo>
                    <a:pt x="3306642" y="2919384"/>
                    <a:pt x="3346073" y="2923407"/>
                    <a:pt x="3369856" y="2963285"/>
                  </a:cubicBezTo>
                  <a:cubicBezTo>
                    <a:pt x="3388633" y="2971779"/>
                    <a:pt x="3409108" y="2962301"/>
                    <a:pt x="3428063" y="2968739"/>
                  </a:cubicBezTo>
                  <a:cubicBezTo>
                    <a:pt x="3459536" y="2961407"/>
                    <a:pt x="3489757" y="2966861"/>
                    <a:pt x="3519531" y="2977322"/>
                  </a:cubicBezTo>
                  <a:cubicBezTo>
                    <a:pt x="3530171" y="2981525"/>
                    <a:pt x="3541258" y="2985101"/>
                    <a:pt x="3545460" y="2997529"/>
                  </a:cubicBezTo>
                  <a:cubicBezTo>
                    <a:pt x="3560035" y="3017647"/>
                    <a:pt x="3576308" y="3030969"/>
                    <a:pt x="3604472" y="3023816"/>
                  </a:cubicBezTo>
                  <a:cubicBezTo>
                    <a:pt x="3622980" y="3019078"/>
                    <a:pt x="3639343" y="3023816"/>
                    <a:pt x="3638270" y="3049657"/>
                  </a:cubicBezTo>
                  <a:cubicBezTo>
                    <a:pt x="3637912" y="3057882"/>
                    <a:pt x="3642562" y="3066287"/>
                    <a:pt x="3644886" y="3074602"/>
                  </a:cubicBezTo>
                  <a:cubicBezTo>
                    <a:pt x="3648910" y="3094183"/>
                    <a:pt x="3648999" y="3113764"/>
                    <a:pt x="3644886" y="3133346"/>
                  </a:cubicBezTo>
                  <a:cubicBezTo>
                    <a:pt x="3625126" y="3183058"/>
                    <a:pt x="3572284" y="3204249"/>
                    <a:pt x="3545550" y="3248061"/>
                  </a:cubicBezTo>
                  <a:cubicBezTo>
                    <a:pt x="3540722" y="3256018"/>
                    <a:pt x="3532496" y="3262009"/>
                    <a:pt x="3525879" y="3268894"/>
                  </a:cubicBezTo>
                  <a:cubicBezTo>
                    <a:pt x="3521140" y="3273096"/>
                    <a:pt x="3514524" y="3276494"/>
                    <a:pt x="3519710" y="3284541"/>
                  </a:cubicBezTo>
                  <a:cubicBezTo>
                    <a:pt x="3513898" y="3322809"/>
                    <a:pt x="3522303" y="3361613"/>
                    <a:pt x="3514077" y="3400060"/>
                  </a:cubicBezTo>
                  <a:cubicBezTo>
                    <a:pt x="3510322" y="3417585"/>
                    <a:pt x="3493781" y="3431354"/>
                    <a:pt x="3499682" y="3451293"/>
                  </a:cubicBezTo>
                  <a:cubicBezTo>
                    <a:pt x="3493155" y="3462201"/>
                    <a:pt x="3502007" y="3476060"/>
                    <a:pt x="3492797" y="3486432"/>
                  </a:cubicBezTo>
                  <a:cubicBezTo>
                    <a:pt x="3478134" y="3506907"/>
                    <a:pt x="3458463" y="3525594"/>
                    <a:pt x="3450863" y="3548394"/>
                  </a:cubicBezTo>
                  <a:cubicBezTo>
                    <a:pt x="3446840" y="3560465"/>
                    <a:pt x="3448538" y="3572982"/>
                    <a:pt x="3435037" y="3579867"/>
                  </a:cubicBezTo>
                  <a:cubicBezTo>
                    <a:pt x="3431014" y="3591401"/>
                    <a:pt x="3423235" y="3595335"/>
                    <a:pt x="3410896" y="3594888"/>
                  </a:cubicBezTo>
                  <a:cubicBezTo>
                    <a:pt x="3396233" y="3594352"/>
                    <a:pt x="3381211" y="3592206"/>
                    <a:pt x="3366727" y="3597213"/>
                  </a:cubicBezTo>
                  <a:cubicBezTo>
                    <a:pt x="3330247" y="3625020"/>
                    <a:pt x="3283306" y="3637001"/>
                    <a:pt x="3252101" y="3672855"/>
                  </a:cubicBezTo>
                  <a:cubicBezTo>
                    <a:pt x="3244591" y="3681438"/>
                    <a:pt x="3232163" y="3687787"/>
                    <a:pt x="3239315" y="3702629"/>
                  </a:cubicBezTo>
                  <a:cubicBezTo>
                    <a:pt x="3243339" y="3715683"/>
                    <a:pt x="3243518" y="3728737"/>
                    <a:pt x="3239137" y="3741702"/>
                  </a:cubicBezTo>
                  <a:cubicBezTo>
                    <a:pt x="3231447" y="3784888"/>
                    <a:pt x="3202657" y="3816808"/>
                    <a:pt x="3180125" y="3852036"/>
                  </a:cubicBezTo>
                  <a:cubicBezTo>
                    <a:pt x="3175207" y="3848191"/>
                    <a:pt x="3174939" y="3843095"/>
                    <a:pt x="3176459" y="3837640"/>
                  </a:cubicBezTo>
                  <a:cubicBezTo>
                    <a:pt x="3174224" y="3841843"/>
                    <a:pt x="3173598" y="3846492"/>
                    <a:pt x="3171988" y="3850873"/>
                  </a:cubicBezTo>
                  <a:cubicBezTo>
                    <a:pt x="3169664" y="3857132"/>
                    <a:pt x="3164746" y="3861424"/>
                    <a:pt x="3160365" y="3866073"/>
                  </a:cubicBezTo>
                  <a:cubicBezTo>
                    <a:pt x="3144629" y="3882436"/>
                    <a:pt x="3122276" y="3892360"/>
                    <a:pt x="3130770" y="3924906"/>
                  </a:cubicBezTo>
                  <a:cubicBezTo>
                    <a:pt x="3135866" y="3944309"/>
                    <a:pt x="3069791" y="3989014"/>
                    <a:pt x="3042520" y="3990176"/>
                  </a:cubicBezTo>
                  <a:cubicBezTo>
                    <a:pt x="3029645" y="4001800"/>
                    <a:pt x="3014356" y="3999118"/>
                    <a:pt x="2999335" y="3997687"/>
                  </a:cubicBezTo>
                  <a:cubicBezTo>
                    <a:pt x="2995490" y="3997061"/>
                    <a:pt x="2991824" y="3995542"/>
                    <a:pt x="2987890" y="3995005"/>
                  </a:cubicBezTo>
                  <a:cubicBezTo>
                    <a:pt x="2983598" y="3994379"/>
                    <a:pt x="2980737" y="3996346"/>
                    <a:pt x="2985029" y="3995542"/>
                  </a:cubicBezTo>
                  <a:cubicBezTo>
                    <a:pt x="2989321" y="3994737"/>
                    <a:pt x="2982973" y="4000549"/>
                    <a:pt x="2986638" y="3997866"/>
                  </a:cubicBezTo>
                  <a:cubicBezTo>
                    <a:pt x="3002017" y="4009847"/>
                    <a:pt x="3006041" y="4029160"/>
                    <a:pt x="3017396" y="4043734"/>
                  </a:cubicBezTo>
                  <a:cubicBezTo>
                    <a:pt x="3026784" y="4055805"/>
                    <a:pt x="3018648" y="4068501"/>
                    <a:pt x="3011495" y="4079678"/>
                  </a:cubicBezTo>
                  <a:cubicBezTo>
                    <a:pt x="2987532" y="4116962"/>
                    <a:pt x="2952215" y="4136812"/>
                    <a:pt x="2909297" y="4141998"/>
                  </a:cubicBezTo>
                  <a:cubicBezTo>
                    <a:pt x="2882385" y="4145306"/>
                    <a:pt x="2868168" y="4156661"/>
                    <a:pt x="2867542" y="4184826"/>
                  </a:cubicBezTo>
                  <a:cubicBezTo>
                    <a:pt x="2866827" y="4215315"/>
                    <a:pt x="2846173" y="4221574"/>
                    <a:pt x="2820422" y="4221127"/>
                  </a:cubicBezTo>
                  <a:cubicBezTo>
                    <a:pt x="2810945" y="4220948"/>
                    <a:pt x="2797891" y="4218087"/>
                    <a:pt x="2793688" y="4228101"/>
                  </a:cubicBezTo>
                  <a:cubicBezTo>
                    <a:pt x="2788323" y="4240708"/>
                    <a:pt x="2803434" y="4242228"/>
                    <a:pt x="2810140" y="4248129"/>
                  </a:cubicBezTo>
                  <a:cubicBezTo>
                    <a:pt x="2820690" y="4257428"/>
                    <a:pt x="2820065" y="4266190"/>
                    <a:pt x="2809425" y="4275131"/>
                  </a:cubicBezTo>
                  <a:cubicBezTo>
                    <a:pt x="2791185" y="4290331"/>
                    <a:pt x="2780634" y="4309287"/>
                    <a:pt x="2777773" y="4333517"/>
                  </a:cubicBezTo>
                  <a:cubicBezTo>
                    <a:pt x="2776164" y="4347733"/>
                    <a:pt x="2765792" y="4358642"/>
                    <a:pt x="2753811" y="4367047"/>
                  </a:cubicBezTo>
                  <a:cubicBezTo>
                    <a:pt x="2727613" y="4385465"/>
                    <a:pt x="2727702" y="4385644"/>
                    <a:pt x="2753185" y="4407818"/>
                  </a:cubicBezTo>
                  <a:cubicBezTo>
                    <a:pt x="2759801" y="4413541"/>
                    <a:pt x="2766507" y="4419174"/>
                    <a:pt x="2767133" y="4428830"/>
                  </a:cubicBezTo>
                  <a:cubicBezTo>
                    <a:pt x="2766418" y="4430529"/>
                    <a:pt x="2766328" y="4432317"/>
                    <a:pt x="2766865" y="4434195"/>
                  </a:cubicBezTo>
                  <a:cubicBezTo>
                    <a:pt x="2765434" y="4449931"/>
                    <a:pt x="2752917" y="4457978"/>
                    <a:pt x="2742902" y="4467366"/>
                  </a:cubicBezTo>
                  <a:cubicBezTo>
                    <a:pt x="2730832" y="4478722"/>
                    <a:pt x="2720550" y="4490524"/>
                    <a:pt x="2716794" y="4507154"/>
                  </a:cubicBezTo>
                  <a:cubicBezTo>
                    <a:pt x="2714827" y="4515738"/>
                    <a:pt x="2711698" y="4525126"/>
                    <a:pt x="2703293" y="4528255"/>
                  </a:cubicBezTo>
                  <a:cubicBezTo>
                    <a:pt x="2670658" y="4540594"/>
                    <a:pt x="2670479" y="4563842"/>
                    <a:pt x="2680404" y="4591201"/>
                  </a:cubicBezTo>
                  <a:cubicBezTo>
                    <a:pt x="2680135" y="4597997"/>
                    <a:pt x="2676917" y="4603182"/>
                    <a:pt x="2671910" y="4607563"/>
                  </a:cubicBezTo>
                  <a:cubicBezTo>
                    <a:pt x="2664310" y="4612928"/>
                    <a:pt x="2654653" y="4614448"/>
                    <a:pt x="2647768" y="4620975"/>
                  </a:cubicBezTo>
                  <a:cubicBezTo>
                    <a:pt x="2639990" y="4629112"/>
                    <a:pt x="2637665" y="4639931"/>
                    <a:pt x="2633642" y="4649945"/>
                  </a:cubicBezTo>
                  <a:cubicBezTo>
                    <a:pt x="2628277" y="4663088"/>
                    <a:pt x="2620766" y="4672655"/>
                    <a:pt x="2604493" y="4669168"/>
                  </a:cubicBezTo>
                  <a:cubicBezTo>
                    <a:pt x="2597966" y="4667022"/>
                    <a:pt x="2594390" y="4662462"/>
                    <a:pt x="2593764" y="4655667"/>
                  </a:cubicBezTo>
                  <a:cubicBezTo>
                    <a:pt x="2595642" y="4630006"/>
                    <a:pt x="2573289" y="4658707"/>
                    <a:pt x="2569802" y="4645116"/>
                  </a:cubicBezTo>
                  <a:cubicBezTo>
                    <a:pt x="2563900" y="4621959"/>
                    <a:pt x="2555585" y="4601036"/>
                    <a:pt x="2526705" y="4599606"/>
                  </a:cubicBezTo>
                  <a:cubicBezTo>
                    <a:pt x="2522145" y="4599248"/>
                    <a:pt x="2517764" y="4598086"/>
                    <a:pt x="2513562" y="4596119"/>
                  </a:cubicBezTo>
                  <a:cubicBezTo>
                    <a:pt x="2501044" y="4587804"/>
                    <a:pt x="2504442" y="4578416"/>
                    <a:pt x="2511774" y="4568849"/>
                  </a:cubicBezTo>
                  <a:cubicBezTo>
                    <a:pt x="2513293" y="4566345"/>
                    <a:pt x="2515082" y="4563931"/>
                    <a:pt x="2516781" y="4561517"/>
                  </a:cubicBezTo>
                  <a:cubicBezTo>
                    <a:pt x="2528047" y="4548641"/>
                    <a:pt x="2527689" y="4536303"/>
                    <a:pt x="2514724" y="4524769"/>
                  </a:cubicBezTo>
                  <a:cubicBezTo>
                    <a:pt x="2500955" y="4511625"/>
                    <a:pt x="2497915" y="4497409"/>
                    <a:pt x="2510879" y="4482030"/>
                  </a:cubicBezTo>
                  <a:cubicBezTo>
                    <a:pt x="2515797" y="4476218"/>
                    <a:pt x="2513830" y="4469780"/>
                    <a:pt x="2513919" y="4463521"/>
                  </a:cubicBezTo>
                  <a:cubicBezTo>
                    <a:pt x="2513919" y="4461018"/>
                    <a:pt x="2514367" y="4458514"/>
                    <a:pt x="2514814" y="4456190"/>
                  </a:cubicBezTo>
                  <a:cubicBezTo>
                    <a:pt x="2513383" y="4447338"/>
                    <a:pt x="2506051" y="4450736"/>
                    <a:pt x="2500865" y="4449573"/>
                  </a:cubicBezTo>
                  <a:cubicBezTo>
                    <a:pt x="2489152" y="4448500"/>
                    <a:pt x="2472790" y="4447427"/>
                    <a:pt x="2474042" y="4433926"/>
                  </a:cubicBezTo>
                  <a:cubicBezTo>
                    <a:pt x="2475293" y="4420068"/>
                    <a:pt x="2478870" y="4402275"/>
                    <a:pt x="2497110" y="4396463"/>
                  </a:cubicBezTo>
                  <a:cubicBezTo>
                    <a:pt x="2506051" y="4394943"/>
                    <a:pt x="2514456" y="4396642"/>
                    <a:pt x="2522324" y="4400844"/>
                  </a:cubicBezTo>
                  <a:cubicBezTo>
                    <a:pt x="2526526" y="4402811"/>
                    <a:pt x="2530461" y="4406119"/>
                    <a:pt x="2535736" y="4403527"/>
                  </a:cubicBezTo>
                  <a:cubicBezTo>
                    <a:pt x="2538687" y="4398788"/>
                    <a:pt x="2539759" y="4393423"/>
                    <a:pt x="2542084" y="4388505"/>
                  </a:cubicBezTo>
                  <a:cubicBezTo>
                    <a:pt x="2545571" y="4379385"/>
                    <a:pt x="2560592" y="4372233"/>
                    <a:pt x="2546823" y="4360162"/>
                  </a:cubicBezTo>
                  <a:cubicBezTo>
                    <a:pt x="2533679" y="4343710"/>
                    <a:pt x="2552635" y="4327079"/>
                    <a:pt x="2546376" y="4310538"/>
                  </a:cubicBezTo>
                  <a:cubicBezTo>
                    <a:pt x="2546465" y="4303833"/>
                    <a:pt x="2548969" y="4297753"/>
                    <a:pt x="2552366" y="4292120"/>
                  </a:cubicBezTo>
                  <a:cubicBezTo>
                    <a:pt x="2564974" y="4271108"/>
                    <a:pt x="2551919" y="4269141"/>
                    <a:pt x="2535646" y="4269409"/>
                  </a:cubicBezTo>
                  <a:cubicBezTo>
                    <a:pt x="2525364" y="4265117"/>
                    <a:pt x="2520715" y="4257249"/>
                    <a:pt x="2520983" y="4246251"/>
                  </a:cubicBezTo>
                  <a:cubicBezTo>
                    <a:pt x="2523218" y="4234986"/>
                    <a:pt x="2523665" y="4223541"/>
                    <a:pt x="2524112" y="4212096"/>
                  </a:cubicBezTo>
                  <a:cubicBezTo>
                    <a:pt x="2535646" y="4183216"/>
                    <a:pt x="2515708" y="4153085"/>
                    <a:pt x="2527689" y="4124204"/>
                  </a:cubicBezTo>
                  <a:cubicBezTo>
                    <a:pt x="2534126" y="4114995"/>
                    <a:pt x="2545661" y="4108915"/>
                    <a:pt x="2545124" y="4095325"/>
                  </a:cubicBezTo>
                  <a:cubicBezTo>
                    <a:pt x="2545661" y="4092285"/>
                    <a:pt x="2546465" y="4089334"/>
                    <a:pt x="2547359" y="4086473"/>
                  </a:cubicBezTo>
                  <a:cubicBezTo>
                    <a:pt x="2551472" y="4074581"/>
                    <a:pt x="2555675" y="4062689"/>
                    <a:pt x="2558536" y="4050351"/>
                  </a:cubicBezTo>
                  <a:cubicBezTo>
                    <a:pt x="2576955" y="3991786"/>
                    <a:pt x="2571053" y="3931076"/>
                    <a:pt x="2576865" y="3871617"/>
                  </a:cubicBezTo>
                  <a:cubicBezTo>
                    <a:pt x="2582677" y="3811532"/>
                    <a:pt x="2583482" y="3748855"/>
                    <a:pt x="2604672" y="3690469"/>
                  </a:cubicBezTo>
                  <a:cubicBezTo>
                    <a:pt x="2605745" y="3687429"/>
                    <a:pt x="2608338" y="3685104"/>
                    <a:pt x="2610752" y="3682958"/>
                  </a:cubicBezTo>
                  <a:cubicBezTo>
                    <a:pt x="2612808" y="3667669"/>
                    <a:pt x="2614865" y="3652380"/>
                    <a:pt x="2616922" y="3637090"/>
                  </a:cubicBezTo>
                  <a:cubicBezTo>
                    <a:pt x="2609232" y="3615632"/>
                    <a:pt x="2613256" y="3593189"/>
                    <a:pt x="2612004" y="3571284"/>
                  </a:cubicBezTo>
                  <a:cubicBezTo>
                    <a:pt x="2611736" y="3558319"/>
                    <a:pt x="2611378" y="3545443"/>
                    <a:pt x="2611110" y="3532479"/>
                  </a:cubicBezTo>
                  <a:cubicBezTo>
                    <a:pt x="2584286" y="3504135"/>
                    <a:pt x="2551383" y="3484286"/>
                    <a:pt x="2515171" y="3472215"/>
                  </a:cubicBezTo>
                  <a:cubicBezTo>
                    <a:pt x="2478870" y="3460056"/>
                    <a:pt x="2457143" y="3435646"/>
                    <a:pt x="2441675" y="3403011"/>
                  </a:cubicBezTo>
                  <a:cubicBezTo>
                    <a:pt x="2438635" y="3392729"/>
                    <a:pt x="2439887" y="3381373"/>
                    <a:pt x="2434075" y="3371717"/>
                  </a:cubicBezTo>
                  <a:cubicBezTo>
                    <a:pt x="2422183" y="3349811"/>
                    <a:pt x="2410470" y="3327816"/>
                    <a:pt x="2394376" y="3308503"/>
                  </a:cubicBezTo>
                  <a:cubicBezTo>
                    <a:pt x="2390889" y="3304390"/>
                    <a:pt x="2387044" y="3300366"/>
                    <a:pt x="2385703" y="3294912"/>
                  </a:cubicBezTo>
                  <a:cubicBezTo>
                    <a:pt x="2371576" y="3233755"/>
                    <a:pt x="2366212" y="3223115"/>
                    <a:pt x="2318019" y="3160884"/>
                  </a:cubicBezTo>
                  <a:cubicBezTo>
                    <a:pt x="2314353" y="3150334"/>
                    <a:pt x="2315158" y="3138889"/>
                    <a:pt x="2311402" y="3128339"/>
                  </a:cubicBezTo>
                  <a:cubicBezTo>
                    <a:pt x="2310508" y="3125299"/>
                    <a:pt x="2309882" y="3122169"/>
                    <a:pt x="2309435" y="3118950"/>
                  </a:cubicBezTo>
                  <a:cubicBezTo>
                    <a:pt x="2308452" y="3111082"/>
                    <a:pt x="2308362" y="3103124"/>
                    <a:pt x="2308988" y="3095256"/>
                  </a:cubicBezTo>
                  <a:cubicBezTo>
                    <a:pt x="2309256" y="3092038"/>
                    <a:pt x="2309972" y="3088819"/>
                    <a:pt x="2310776" y="3085689"/>
                  </a:cubicBezTo>
                  <a:cubicBezTo>
                    <a:pt x="2316141" y="3064320"/>
                    <a:pt x="2343411" y="3050103"/>
                    <a:pt x="2319539" y="3019078"/>
                  </a:cubicBezTo>
                  <a:cubicBezTo>
                    <a:pt x="2303623" y="2998334"/>
                    <a:pt x="2328212" y="2970616"/>
                    <a:pt x="2341623" y="2948353"/>
                  </a:cubicBezTo>
                  <a:cubicBezTo>
                    <a:pt x="2344574" y="2943078"/>
                    <a:pt x="2348329" y="2938250"/>
                    <a:pt x="2352263" y="2933600"/>
                  </a:cubicBezTo>
                  <a:cubicBezTo>
                    <a:pt x="2373722" y="2917595"/>
                    <a:pt x="2392588" y="2899445"/>
                    <a:pt x="2400903" y="2872890"/>
                  </a:cubicBezTo>
                  <a:cubicBezTo>
                    <a:pt x="2402513" y="2870386"/>
                    <a:pt x="2404480" y="2868061"/>
                    <a:pt x="2406447" y="2865826"/>
                  </a:cubicBezTo>
                  <a:cubicBezTo>
                    <a:pt x="2429873" y="2850358"/>
                    <a:pt x="2427995" y="2825949"/>
                    <a:pt x="2428442" y="2802433"/>
                  </a:cubicBezTo>
                  <a:cubicBezTo>
                    <a:pt x="2428889" y="2799393"/>
                    <a:pt x="2429604" y="2796443"/>
                    <a:pt x="2430498" y="2793582"/>
                  </a:cubicBezTo>
                  <a:cubicBezTo>
                    <a:pt x="2435952" y="2757459"/>
                    <a:pt x="2435595" y="2722321"/>
                    <a:pt x="2415477" y="2689685"/>
                  </a:cubicBezTo>
                  <a:cubicBezTo>
                    <a:pt x="2411096" y="2682532"/>
                    <a:pt x="2411186" y="2671893"/>
                    <a:pt x="2400099" y="2670909"/>
                  </a:cubicBezTo>
                  <a:cubicBezTo>
                    <a:pt x="2389190" y="2670015"/>
                    <a:pt x="2381143" y="2676095"/>
                    <a:pt x="2376136" y="2685036"/>
                  </a:cubicBezTo>
                  <a:cubicBezTo>
                    <a:pt x="2367284" y="2700594"/>
                    <a:pt x="2362814" y="2726433"/>
                    <a:pt x="2339835" y="2719459"/>
                  </a:cubicBezTo>
                  <a:cubicBezTo>
                    <a:pt x="2311223" y="2710786"/>
                    <a:pt x="2274654" y="2723573"/>
                    <a:pt x="2254089" y="2690937"/>
                  </a:cubicBezTo>
                  <a:cubicBezTo>
                    <a:pt x="2246489" y="2663041"/>
                    <a:pt x="2216358" y="2664024"/>
                    <a:pt x="2199370" y="2648288"/>
                  </a:cubicBezTo>
                  <a:cubicBezTo>
                    <a:pt x="2198833" y="2642029"/>
                    <a:pt x="2198297" y="2635860"/>
                    <a:pt x="2197849" y="2629601"/>
                  </a:cubicBezTo>
                  <a:cubicBezTo>
                    <a:pt x="2192842" y="2618871"/>
                    <a:pt x="2195257" y="2607337"/>
                    <a:pt x="2194452" y="2596072"/>
                  </a:cubicBezTo>
                  <a:cubicBezTo>
                    <a:pt x="2194184" y="2590439"/>
                    <a:pt x="2194452" y="2584448"/>
                    <a:pt x="2186673" y="2583554"/>
                  </a:cubicBezTo>
                  <a:cubicBezTo>
                    <a:pt x="2174245" y="2579978"/>
                    <a:pt x="2165840" y="2571752"/>
                    <a:pt x="2159850" y="2560665"/>
                  </a:cubicBezTo>
                  <a:cubicBezTo>
                    <a:pt x="2155290" y="2543408"/>
                    <a:pt x="2142414" y="2543855"/>
                    <a:pt x="2128734" y="2546180"/>
                  </a:cubicBezTo>
                  <a:cubicBezTo>
                    <a:pt x="2117469" y="2545822"/>
                    <a:pt x="2105756" y="2546537"/>
                    <a:pt x="2098066" y="2535719"/>
                  </a:cubicBezTo>
                  <a:cubicBezTo>
                    <a:pt x="2087337" y="2519982"/>
                    <a:pt x="2071332" y="2532053"/>
                    <a:pt x="2058367" y="2528208"/>
                  </a:cubicBezTo>
                  <a:cubicBezTo>
                    <a:pt x="2039591" y="2526956"/>
                    <a:pt x="2024749" y="2516227"/>
                    <a:pt x="2016344" y="2501653"/>
                  </a:cubicBezTo>
                  <a:cubicBezTo>
                    <a:pt x="1997925" y="2469465"/>
                    <a:pt x="1972532" y="2457305"/>
                    <a:pt x="1936857" y="246499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8" name="Freeform: Shape 7">
              <a:extLst>
                <a:ext uri="{FF2B5EF4-FFF2-40B4-BE49-F238E27FC236}">
                  <a16:creationId xmlns:a16="http://schemas.microsoft.com/office/drawing/2014/main" id="{44A953E2-8EFB-E2F6-A20C-CEF6408B4AB5}"/>
                </a:ext>
              </a:extLst>
            </p:cNvPr>
            <p:cNvSpPr/>
            <p:nvPr/>
          </p:nvSpPr>
          <p:spPr>
            <a:xfrm>
              <a:off x="6340558" y="2006655"/>
              <a:ext cx="1993904" cy="1861966"/>
            </a:xfrm>
            <a:custGeom>
              <a:avLst/>
              <a:gdLst>
                <a:gd name="connsiteX0" fmla="*/ 41779 w 1367725"/>
                <a:gd name="connsiteY0" fmla="*/ 296914 h 1277222"/>
                <a:gd name="connsiteX1" fmla="*/ 16296 w 1367725"/>
                <a:gd name="connsiteY1" fmla="*/ 274203 h 1277222"/>
                <a:gd name="connsiteX2" fmla="*/ 16565 w 1367725"/>
                <a:gd name="connsiteY2" fmla="*/ 240942 h 1277222"/>
                <a:gd name="connsiteX3" fmla="*/ 70390 w 1367725"/>
                <a:gd name="connsiteY3" fmla="*/ 226815 h 1277222"/>
                <a:gd name="connsiteX4" fmla="*/ 91581 w 1367725"/>
                <a:gd name="connsiteY4" fmla="*/ 222702 h 1277222"/>
                <a:gd name="connsiteX5" fmla="*/ 134230 w 1367725"/>
                <a:gd name="connsiteY5" fmla="*/ 211883 h 1277222"/>
                <a:gd name="connsiteX6" fmla="*/ 196818 w 1367725"/>
                <a:gd name="connsiteY6" fmla="*/ 193196 h 1277222"/>
                <a:gd name="connsiteX7" fmla="*/ 161948 w 1367725"/>
                <a:gd name="connsiteY7" fmla="*/ 185149 h 1277222"/>
                <a:gd name="connsiteX8" fmla="*/ 131101 w 1367725"/>
                <a:gd name="connsiteY8" fmla="*/ 175851 h 1277222"/>
                <a:gd name="connsiteX9" fmla="*/ 147284 w 1367725"/>
                <a:gd name="connsiteY9" fmla="*/ 153408 h 1277222"/>
                <a:gd name="connsiteX10" fmla="*/ 217472 w 1367725"/>
                <a:gd name="connsiteY10" fmla="*/ 132933 h 1277222"/>
                <a:gd name="connsiteX11" fmla="*/ 252254 w 1367725"/>
                <a:gd name="connsiteY11" fmla="*/ 125512 h 1277222"/>
                <a:gd name="connsiteX12" fmla="*/ 260658 w 1367725"/>
                <a:gd name="connsiteY12" fmla="*/ 117554 h 1277222"/>
                <a:gd name="connsiteX13" fmla="*/ 307868 w 1367725"/>
                <a:gd name="connsiteY13" fmla="*/ 76246 h 1277222"/>
                <a:gd name="connsiteX14" fmla="*/ 327270 w 1367725"/>
                <a:gd name="connsiteY14" fmla="*/ 87154 h 1277222"/>
                <a:gd name="connsiteX15" fmla="*/ 332992 w 1367725"/>
                <a:gd name="connsiteY15" fmla="*/ 94933 h 1277222"/>
                <a:gd name="connsiteX16" fmla="*/ 329326 w 1367725"/>
                <a:gd name="connsiteY16" fmla="*/ 86528 h 1277222"/>
                <a:gd name="connsiteX17" fmla="*/ 330310 w 1367725"/>
                <a:gd name="connsiteY17" fmla="*/ 74458 h 1277222"/>
                <a:gd name="connsiteX18" fmla="*/ 375105 w 1367725"/>
                <a:gd name="connsiteY18" fmla="*/ 75084 h 1277222"/>
                <a:gd name="connsiteX19" fmla="*/ 381900 w 1367725"/>
                <a:gd name="connsiteY19" fmla="*/ 74458 h 1277222"/>
                <a:gd name="connsiteX20" fmla="*/ 414714 w 1367725"/>
                <a:gd name="connsiteY20" fmla="*/ 69183 h 1277222"/>
                <a:gd name="connsiteX21" fmla="*/ 414536 w 1367725"/>
                <a:gd name="connsiteY21" fmla="*/ 69183 h 1277222"/>
                <a:gd name="connsiteX22" fmla="*/ 440197 w 1367725"/>
                <a:gd name="connsiteY22" fmla="*/ 76604 h 1277222"/>
                <a:gd name="connsiteX23" fmla="*/ 448333 w 1367725"/>
                <a:gd name="connsiteY23" fmla="*/ 95023 h 1277222"/>
                <a:gd name="connsiteX24" fmla="*/ 492771 w 1367725"/>
                <a:gd name="connsiteY24" fmla="*/ 94307 h 1277222"/>
                <a:gd name="connsiteX25" fmla="*/ 517091 w 1367725"/>
                <a:gd name="connsiteY25" fmla="*/ 101639 h 1277222"/>
                <a:gd name="connsiteX26" fmla="*/ 528088 w 1367725"/>
                <a:gd name="connsiteY26" fmla="*/ 87154 h 1277222"/>
                <a:gd name="connsiteX27" fmla="*/ 525495 w 1367725"/>
                <a:gd name="connsiteY27" fmla="*/ 60152 h 1277222"/>
                <a:gd name="connsiteX28" fmla="*/ 558756 w 1367725"/>
                <a:gd name="connsiteY28" fmla="*/ 61314 h 1277222"/>
                <a:gd name="connsiteX29" fmla="*/ 640568 w 1367725"/>
                <a:gd name="connsiteY29" fmla="*/ 107183 h 1277222"/>
                <a:gd name="connsiteX30" fmla="*/ 659255 w 1367725"/>
                <a:gd name="connsiteY30" fmla="*/ 92787 h 1277222"/>
                <a:gd name="connsiteX31" fmla="*/ 688850 w 1367725"/>
                <a:gd name="connsiteY31" fmla="*/ 74816 h 1277222"/>
                <a:gd name="connsiteX32" fmla="*/ 705213 w 1367725"/>
                <a:gd name="connsiteY32" fmla="*/ 69183 h 1277222"/>
                <a:gd name="connsiteX33" fmla="*/ 675886 w 1367725"/>
                <a:gd name="connsiteY33" fmla="*/ 63013 h 1277222"/>
                <a:gd name="connsiteX34" fmla="*/ 664798 w 1367725"/>
                <a:gd name="connsiteY34" fmla="*/ 61761 h 1277222"/>
                <a:gd name="connsiteX35" fmla="*/ 669716 w 1367725"/>
                <a:gd name="connsiteY35" fmla="*/ 33060 h 1277222"/>
                <a:gd name="connsiteX36" fmla="*/ 680982 w 1367725"/>
                <a:gd name="connsiteY36" fmla="*/ 23404 h 1277222"/>
                <a:gd name="connsiteX37" fmla="*/ 726045 w 1367725"/>
                <a:gd name="connsiteY37" fmla="*/ 31451 h 1277222"/>
                <a:gd name="connsiteX38" fmla="*/ 786577 w 1367725"/>
                <a:gd name="connsiteY38" fmla="*/ 51747 h 1277222"/>
                <a:gd name="connsiteX39" fmla="*/ 794266 w 1367725"/>
                <a:gd name="connsiteY39" fmla="*/ 44058 h 1277222"/>
                <a:gd name="connsiteX40" fmla="*/ 828779 w 1367725"/>
                <a:gd name="connsiteY40" fmla="*/ 10529 h 1277222"/>
                <a:gd name="connsiteX41" fmla="*/ 859179 w 1367725"/>
                <a:gd name="connsiteY41" fmla="*/ 2660 h 1277222"/>
                <a:gd name="connsiteX42" fmla="*/ 891635 w 1367725"/>
                <a:gd name="connsiteY42" fmla="*/ 2839 h 1277222"/>
                <a:gd name="connsiteX43" fmla="*/ 895570 w 1367725"/>
                <a:gd name="connsiteY43" fmla="*/ 4449 h 1277222"/>
                <a:gd name="connsiteX44" fmla="*/ 950468 w 1367725"/>
                <a:gd name="connsiteY44" fmla="*/ 9187 h 1277222"/>
                <a:gd name="connsiteX45" fmla="*/ 963791 w 1367725"/>
                <a:gd name="connsiteY45" fmla="*/ 9456 h 1277222"/>
                <a:gd name="connsiteX46" fmla="*/ 1055169 w 1367725"/>
                <a:gd name="connsiteY46" fmla="*/ 9098 h 1277222"/>
                <a:gd name="connsiteX47" fmla="*/ 1059551 w 1367725"/>
                <a:gd name="connsiteY47" fmla="*/ 19470 h 1277222"/>
                <a:gd name="connsiteX48" fmla="*/ 1029240 w 1367725"/>
                <a:gd name="connsiteY48" fmla="*/ 24387 h 1277222"/>
                <a:gd name="connsiteX49" fmla="*/ 932854 w 1367725"/>
                <a:gd name="connsiteY49" fmla="*/ 48886 h 1277222"/>
                <a:gd name="connsiteX50" fmla="*/ 909697 w 1367725"/>
                <a:gd name="connsiteY50" fmla="*/ 58364 h 1277222"/>
                <a:gd name="connsiteX51" fmla="*/ 888685 w 1367725"/>
                <a:gd name="connsiteY51" fmla="*/ 70256 h 1277222"/>
                <a:gd name="connsiteX52" fmla="*/ 916581 w 1367725"/>
                <a:gd name="connsiteY52" fmla="*/ 54161 h 1277222"/>
                <a:gd name="connsiteX53" fmla="*/ 1081278 w 1367725"/>
                <a:gd name="connsiteY53" fmla="*/ 35653 h 1277222"/>
                <a:gd name="connsiteX54" fmla="*/ 1094600 w 1367725"/>
                <a:gd name="connsiteY54" fmla="*/ 36637 h 1277222"/>
                <a:gd name="connsiteX55" fmla="*/ 1108548 w 1367725"/>
                <a:gd name="connsiteY55" fmla="*/ 49154 h 1277222"/>
                <a:gd name="connsiteX56" fmla="*/ 1118383 w 1367725"/>
                <a:gd name="connsiteY56" fmla="*/ 69719 h 1277222"/>
                <a:gd name="connsiteX57" fmla="*/ 1133494 w 1367725"/>
                <a:gd name="connsiteY57" fmla="*/ 81343 h 1277222"/>
                <a:gd name="connsiteX58" fmla="*/ 1109889 w 1367725"/>
                <a:gd name="connsiteY58" fmla="*/ 96006 h 1277222"/>
                <a:gd name="connsiteX59" fmla="*/ 977560 w 1367725"/>
                <a:gd name="connsiteY59" fmla="*/ 102444 h 1277222"/>
                <a:gd name="connsiteX60" fmla="*/ 942690 w 1367725"/>
                <a:gd name="connsiteY60" fmla="*/ 127300 h 1277222"/>
                <a:gd name="connsiteX61" fmla="*/ 1043099 w 1367725"/>
                <a:gd name="connsiteY61" fmla="*/ 108434 h 1277222"/>
                <a:gd name="connsiteX62" fmla="*/ 1067150 w 1367725"/>
                <a:gd name="connsiteY62" fmla="*/ 135079 h 1277222"/>
                <a:gd name="connsiteX63" fmla="*/ 1108101 w 1367725"/>
                <a:gd name="connsiteY63" fmla="*/ 108971 h 1277222"/>
                <a:gd name="connsiteX64" fmla="*/ 1133852 w 1367725"/>
                <a:gd name="connsiteY64" fmla="*/ 94844 h 1277222"/>
                <a:gd name="connsiteX65" fmla="*/ 1144223 w 1367725"/>
                <a:gd name="connsiteY65" fmla="*/ 147775 h 1277222"/>
                <a:gd name="connsiteX66" fmla="*/ 1131527 w 1367725"/>
                <a:gd name="connsiteY66" fmla="*/ 172721 h 1277222"/>
                <a:gd name="connsiteX67" fmla="*/ 1143508 w 1367725"/>
                <a:gd name="connsiteY67" fmla="*/ 174599 h 1277222"/>
                <a:gd name="connsiteX68" fmla="*/ 1160854 w 1367725"/>
                <a:gd name="connsiteY68" fmla="*/ 162618 h 1277222"/>
                <a:gd name="connsiteX69" fmla="*/ 1224694 w 1367725"/>
                <a:gd name="connsiteY69" fmla="*/ 143931 h 1277222"/>
                <a:gd name="connsiteX70" fmla="*/ 1253395 w 1367725"/>
                <a:gd name="connsiteY70" fmla="*/ 134453 h 1277222"/>
                <a:gd name="connsiteX71" fmla="*/ 1273423 w 1367725"/>
                <a:gd name="connsiteY71" fmla="*/ 128999 h 1277222"/>
                <a:gd name="connsiteX72" fmla="*/ 1344684 w 1367725"/>
                <a:gd name="connsiteY72" fmla="*/ 130698 h 1277222"/>
                <a:gd name="connsiteX73" fmla="*/ 1367573 w 1367725"/>
                <a:gd name="connsiteY73" fmla="*/ 147865 h 1277222"/>
                <a:gd name="connsiteX74" fmla="*/ 1344326 w 1367725"/>
                <a:gd name="connsiteY74" fmla="*/ 159667 h 1277222"/>
                <a:gd name="connsiteX75" fmla="*/ 1316430 w 1367725"/>
                <a:gd name="connsiteY75" fmla="*/ 191229 h 1277222"/>
                <a:gd name="connsiteX76" fmla="*/ 1264571 w 1367725"/>
                <a:gd name="connsiteY76" fmla="*/ 212688 h 1277222"/>
                <a:gd name="connsiteX77" fmla="*/ 1264661 w 1367725"/>
                <a:gd name="connsiteY77" fmla="*/ 212688 h 1277222"/>
                <a:gd name="connsiteX78" fmla="*/ 1259564 w 1367725"/>
                <a:gd name="connsiteY78" fmla="*/ 215907 h 1277222"/>
                <a:gd name="connsiteX79" fmla="*/ 1257239 w 1367725"/>
                <a:gd name="connsiteY79" fmla="*/ 227888 h 1277222"/>
                <a:gd name="connsiteX80" fmla="*/ 1244454 w 1367725"/>
                <a:gd name="connsiteY80" fmla="*/ 250778 h 1277222"/>
                <a:gd name="connsiteX81" fmla="*/ 1201447 w 1367725"/>
                <a:gd name="connsiteY81" fmla="*/ 289493 h 1277222"/>
                <a:gd name="connsiteX82" fmla="*/ 1200374 w 1367725"/>
                <a:gd name="connsiteY82" fmla="*/ 333394 h 1277222"/>
                <a:gd name="connsiteX83" fmla="*/ 1221207 w 1367725"/>
                <a:gd name="connsiteY83" fmla="*/ 361380 h 1277222"/>
                <a:gd name="connsiteX84" fmla="*/ 1194025 w 1367725"/>
                <a:gd name="connsiteY84" fmla="*/ 373629 h 1277222"/>
                <a:gd name="connsiteX85" fmla="*/ 1202609 w 1367725"/>
                <a:gd name="connsiteY85" fmla="*/ 380424 h 1277222"/>
                <a:gd name="connsiteX86" fmla="*/ 1211997 w 1367725"/>
                <a:gd name="connsiteY86" fmla="*/ 382838 h 1277222"/>
                <a:gd name="connsiteX87" fmla="*/ 1236854 w 1367725"/>
                <a:gd name="connsiteY87" fmla="*/ 407963 h 1277222"/>
                <a:gd name="connsiteX88" fmla="*/ 1205113 w 1367725"/>
                <a:gd name="connsiteY88" fmla="*/ 428438 h 1277222"/>
                <a:gd name="connsiteX89" fmla="*/ 1153164 w 1367725"/>
                <a:gd name="connsiteY89" fmla="*/ 433624 h 1277222"/>
                <a:gd name="connsiteX90" fmla="*/ 1183207 w 1367725"/>
                <a:gd name="connsiteY90" fmla="*/ 485483 h 1277222"/>
                <a:gd name="connsiteX91" fmla="*/ 1169169 w 1367725"/>
                <a:gd name="connsiteY91" fmla="*/ 511144 h 1277222"/>
                <a:gd name="connsiteX92" fmla="*/ 1173550 w 1367725"/>
                <a:gd name="connsiteY92" fmla="*/ 516687 h 1277222"/>
                <a:gd name="connsiteX93" fmla="*/ 1191790 w 1367725"/>
                <a:gd name="connsiteY93" fmla="*/ 522678 h 1277222"/>
                <a:gd name="connsiteX94" fmla="*/ 1205291 w 1367725"/>
                <a:gd name="connsiteY94" fmla="*/ 541007 h 1277222"/>
                <a:gd name="connsiteX95" fmla="*/ 1177752 w 1367725"/>
                <a:gd name="connsiteY95" fmla="*/ 552989 h 1277222"/>
                <a:gd name="connsiteX96" fmla="*/ 1139663 w 1367725"/>
                <a:gd name="connsiteY96" fmla="*/ 546283 h 1277222"/>
                <a:gd name="connsiteX97" fmla="*/ 1166666 w 1367725"/>
                <a:gd name="connsiteY97" fmla="*/ 558353 h 1277222"/>
                <a:gd name="connsiteX98" fmla="*/ 1159513 w 1367725"/>
                <a:gd name="connsiteY98" fmla="*/ 602165 h 1277222"/>
                <a:gd name="connsiteX99" fmla="*/ 1081993 w 1367725"/>
                <a:gd name="connsiteY99" fmla="*/ 588753 h 1277222"/>
                <a:gd name="connsiteX100" fmla="*/ 1054812 w 1367725"/>
                <a:gd name="connsiteY100" fmla="*/ 598410 h 1277222"/>
                <a:gd name="connsiteX101" fmla="*/ 1016901 w 1367725"/>
                <a:gd name="connsiteY101" fmla="*/ 608066 h 1277222"/>
                <a:gd name="connsiteX102" fmla="*/ 1114986 w 1367725"/>
                <a:gd name="connsiteY102" fmla="*/ 673605 h 1277222"/>
                <a:gd name="connsiteX103" fmla="*/ 1130007 w 1367725"/>
                <a:gd name="connsiteY103" fmla="*/ 742362 h 1277222"/>
                <a:gd name="connsiteX104" fmla="*/ 1109710 w 1367725"/>
                <a:gd name="connsiteY104" fmla="*/ 758546 h 1277222"/>
                <a:gd name="connsiteX105" fmla="*/ 1050341 w 1367725"/>
                <a:gd name="connsiteY105" fmla="*/ 740038 h 1277222"/>
                <a:gd name="connsiteX106" fmla="*/ 1025574 w 1367725"/>
                <a:gd name="connsiteY106" fmla="*/ 702664 h 1277222"/>
                <a:gd name="connsiteX107" fmla="*/ 1008675 w 1367725"/>
                <a:gd name="connsiteY107" fmla="*/ 696852 h 1277222"/>
                <a:gd name="connsiteX108" fmla="*/ 1002506 w 1367725"/>
                <a:gd name="connsiteY108" fmla="*/ 696852 h 1277222"/>
                <a:gd name="connsiteX109" fmla="*/ 1011805 w 1367725"/>
                <a:gd name="connsiteY109" fmla="*/ 697299 h 1277222"/>
                <a:gd name="connsiteX110" fmla="*/ 1029061 w 1367725"/>
                <a:gd name="connsiteY110" fmla="*/ 716075 h 1277222"/>
                <a:gd name="connsiteX111" fmla="*/ 1008944 w 1367725"/>
                <a:gd name="connsiteY111" fmla="*/ 730113 h 1277222"/>
                <a:gd name="connsiteX112" fmla="*/ 979169 w 1367725"/>
                <a:gd name="connsiteY112" fmla="*/ 740485 h 1277222"/>
                <a:gd name="connsiteX113" fmla="*/ 997856 w 1367725"/>
                <a:gd name="connsiteY113" fmla="*/ 765341 h 1277222"/>
                <a:gd name="connsiteX114" fmla="*/ 970586 w 1367725"/>
                <a:gd name="connsiteY114" fmla="*/ 772405 h 1277222"/>
                <a:gd name="connsiteX115" fmla="*/ 999466 w 1367725"/>
                <a:gd name="connsiteY115" fmla="*/ 765520 h 1277222"/>
                <a:gd name="connsiteX116" fmla="*/ 1073141 w 1367725"/>
                <a:gd name="connsiteY116" fmla="*/ 765073 h 1277222"/>
                <a:gd name="connsiteX117" fmla="*/ 1073141 w 1367725"/>
                <a:gd name="connsiteY117" fmla="*/ 783492 h 1277222"/>
                <a:gd name="connsiteX118" fmla="*/ 976934 w 1367725"/>
                <a:gd name="connsiteY118" fmla="*/ 859849 h 1277222"/>
                <a:gd name="connsiteX119" fmla="*/ 944210 w 1367725"/>
                <a:gd name="connsiteY119" fmla="*/ 865840 h 1277222"/>
                <a:gd name="connsiteX120" fmla="*/ 910680 w 1367725"/>
                <a:gd name="connsiteY120" fmla="*/ 864946 h 1277222"/>
                <a:gd name="connsiteX121" fmla="*/ 904958 w 1367725"/>
                <a:gd name="connsiteY121" fmla="*/ 867002 h 1277222"/>
                <a:gd name="connsiteX122" fmla="*/ 859358 w 1367725"/>
                <a:gd name="connsiteY122" fmla="*/ 878983 h 1277222"/>
                <a:gd name="connsiteX123" fmla="*/ 767353 w 1367725"/>
                <a:gd name="connsiteY123" fmla="*/ 991642 h 1277222"/>
                <a:gd name="connsiteX124" fmla="*/ 715584 w 1367725"/>
                <a:gd name="connsiteY124" fmla="*/ 1006931 h 1277222"/>
                <a:gd name="connsiteX125" fmla="*/ 703246 w 1367725"/>
                <a:gd name="connsiteY125" fmla="*/ 994861 h 1277222"/>
                <a:gd name="connsiteX126" fmla="*/ 704050 w 1367725"/>
                <a:gd name="connsiteY126" fmla="*/ 983774 h 1277222"/>
                <a:gd name="connsiteX127" fmla="*/ 699580 w 1367725"/>
                <a:gd name="connsiteY127" fmla="*/ 995933 h 1277222"/>
                <a:gd name="connsiteX128" fmla="*/ 673382 w 1367725"/>
                <a:gd name="connsiteY128" fmla="*/ 1018644 h 1277222"/>
                <a:gd name="connsiteX129" fmla="*/ 643876 w 1367725"/>
                <a:gd name="connsiteY129" fmla="*/ 1039030 h 1277222"/>
                <a:gd name="connsiteX130" fmla="*/ 641373 w 1367725"/>
                <a:gd name="connsiteY130" fmla="*/ 1059863 h 1277222"/>
                <a:gd name="connsiteX131" fmla="*/ 636813 w 1367725"/>
                <a:gd name="connsiteY131" fmla="*/ 1066658 h 1277222"/>
                <a:gd name="connsiteX132" fmla="*/ 626083 w 1367725"/>
                <a:gd name="connsiteY132" fmla="*/ 1091872 h 1277222"/>
                <a:gd name="connsiteX133" fmla="*/ 587636 w 1367725"/>
                <a:gd name="connsiteY133" fmla="*/ 1168855 h 1277222"/>
                <a:gd name="connsiteX134" fmla="*/ 542662 w 1367725"/>
                <a:gd name="connsiteY134" fmla="*/ 1270963 h 1277222"/>
                <a:gd name="connsiteX135" fmla="*/ 531843 w 1367725"/>
                <a:gd name="connsiteY135" fmla="*/ 1277222 h 1277222"/>
                <a:gd name="connsiteX136" fmla="*/ 491340 w 1367725"/>
                <a:gd name="connsiteY136" fmla="*/ 1266493 h 1277222"/>
                <a:gd name="connsiteX137" fmla="*/ 465232 w 1367725"/>
                <a:gd name="connsiteY137" fmla="*/ 1242173 h 1277222"/>
                <a:gd name="connsiteX138" fmla="*/ 462639 w 1367725"/>
                <a:gd name="connsiteY138" fmla="*/ 1234126 h 1277222"/>
                <a:gd name="connsiteX139" fmla="*/ 443952 w 1367725"/>
                <a:gd name="connsiteY139" fmla="*/ 1232069 h 1277222"/>
                <a:gd name="connsiteX140" fmla="*/ 416771 w 1367725"/>
                <a:gd name="connsiteY140" fmla="*/ 1225453 h 1277222"/>
                <a:gd name="connsiteX141" fmla="*/ 361067 w 1367725"/>
                <a:gd name="connsiteY141" fmla="*/ 1129961 h 1277222"/>
                <a:gd name="connsiteX142" fmla="*/ 348550 w 1367725"/>
                <a:gd name="connsiteY142" fmla="*/ 1107698 h 1277222"/>
                <a:gd name="connsiteX143" fmla="*/ 354898 w 1367725"/>
                <a:gd name="connsiteY143" fmla="*/ 1054409 h 1277222"/>
                <a:gd name="connsiteX144" fmla="*/ 345599 w 1367725"/>
                <a:gd name="connsiteY144" fmla="*/ 1034023 h 1277222"/>
                <a:gd name="connsiteX145" fmla="*/ 337016 w 1367725"/>
                <a:gd name="connsiteY145" fmla="*/ 991374 h 1277222"/>
                <a:gd name="connsiteX146" fmla="*/ 332277 w 1367725"/>
                <a:gd name="connsiteY146" fmla="*/ 981538 h 1277222"/>
                <a:gd name="connsiteX147" fmla="*/ 310818 w 1367725"/>
                <a:gd name="connsiteY147" fmla="*/ 972061 h 1277222"/>
                <a:gd name="connsiteX148" fmla="*/ 338893 w 1367725"/>
                <a:gd name="connsiteY148" fmla="*/ 934329 h 1277222"/>
                <a:gd name="connsiteX149" fmla="*/ 358653 w 1367725"/>
                <a:gd name="connsiteY149" fmla="*/ 929590 h 1277222"/>
                <a:gd name="connsiteX150" fmla="*/ 330041 w 1367725"/>
                <a:gd name="connsiteY150" fmla="*/ 936028 h 1277222"/>
                <a:gd name="connsiteX151" fmla="*/ 307242 w 1367725"/>
                <a:gd name="connsiteY151" fmla="*/ 920560 h 1277222"/>
                <a:gd name="connsiteX152" fmla="*/ 330936 w 1367725"/>
                <a:gd name="connsiteY152" fmla="*/ 899548 h 1277222"/>
                <a:gd name="connsiteX153" fmla="*/ 349980 w 1367725"/>
                <a:gd name="connsiteY153" fmla="*/ 899548 h 1277222"/>
                <a:gd name="connsiteX154" fmla="*/ 332992 w 1367725"/>
                <a:gd name="connsiteY154" fmla="*/ 888193 h 1277222"/>
                <a:gd name="connsiteX155" fmla="*/ 342917 w 1367725"/>
                <a:gd name="connsiteY155" fmla="*/ 874513 h 1277222"/>
                <a:gd name="connsiteX156" fmla="*/ 349623 w 1367725"/>
                <a:gd name="connsiteY156" fmla="*/ 872188 h 1277222"/>
                <a:gd name="connsiteX157" fmla="*/ 338178 w 1367725"/>
                <a:gd name="connsiteY157" fmla="*/ 869774 h 1277222"/>
                <a:gd name="connsiteX158" fmla="*/ 338536 w 1367725"/>
                <a:gd name="connsiteY158" fmla="*/ 850640 h 1277222"/>
                <a:gd name="connsiteX159" fmla="*/ 365270 w 1367725"/>
                <a:gd name="connsiteY159" fmla="*/ 839910 h 1277222"/>
                <a:gd name="connsiteX160" fmla="*/ 385119 w 1367725"/>
                <a:gd name="connsiteY160" fmla="*/ 819346 h 1277222"/>
                <a:gd name="connsiteX161" fmla="*/ 383957 w 1367725"/>
                <a:gd name="connsiteY161" fmla="*/ 811388 h 1277222"/>
                <a:gd name="connsiteX162" fmla="*/ 412390 w 1367725"/>
                <a:gd name="connsiteY162" fmla="*/ 755059 h 1277222"/>
                <a:gd name="connsiteX163" fmla="*/ 329058 w 1367725"/>
                <a:gd name="connsiteY163" fmla="*/ 733242 h 1277222"/>
                <a:gd name="connsiteX164" fmla="*/ 336926 w 1367725"/>
                <a:gd name="connsiteY164" fmla="*/ 709727 h 1277222"/>
                <a:gd name="connsiteX165" fmla="*/ 370813 w 1367725"/>
                <a:gd name="connsiteY165" fmla="*/ 715002 h 1277222"/>
                <a:gd name="connsiteX166" fmla="*/ 390305 w 1367725"/>
                <a:gd name="connsiteY166" fmla="*/ 708833 h 1277222"/>
                <a:gd name="connsiteX167" fmla="*/ 386997 w 1367725"/>
                <a:gd name="connsiteY167" fmla="*/ 701591 h 1277222"/>
                <a:gd name="connsiteX168" fmla="*/ 367594 w 1367725"/>
                <a:gd name="connsiteY168" fmla="*/ 670744 h 1277222"/>
                <a:gd name="connsiteX169" fmla="*/ 363124 w 1367725"/>
                <a:gd name="connsiteY169" fmla="*/ 665021 h 1277222"/>
                <a:gd name="connsiteX170" fmla="*/ 349354 w 1367725"/>
                <a:gd name="connsiteY170" fmla="*/ 687017 h 1277222"/>
                <a:gd name="connsiteX171" fmla="*/ 317971 w 1367725"/>
                <a:gd name="connsiteY171" fmla="*/ 689162 h 1277222"/>
                <a:gd name="connsiteX172" fmla="*/ 315646 w 1367725"/>
                <a:gd name="connsiteY172" fmla="*/ 637840 h 1277222"/>
                <a:gd name="connsiteX173" fmla="*/ 341307 w 1367725"/>
                <a:gd name="connsiteY173" fmla="*/ 598767 h 1277222"/>
                <a:gd name="connsiteX174" fmla="*/ 335764 w 1367725"/>
                <a:gd name="connsiteY174" fmla="*/ 585892 h 1277222"/>
                <a:gd name="connsiteX175" fmla="*/ 323604 w 1367725"/>
                <a:gd name="connsiteY175" fmla="*/ 561751 h 1277222"/>
                <a:gd name="connsiteX176" fmla="*/ 292131 w 1367725"/>
                <a:gd name="connsiteY176" fmla="*/ 508640 h 1277222"/>
                <a:gd name="connsiteX177" fmla="*/ 279166 w 1367725"/>
                <a:gd name="connsiteY177" fmla="*/ 487092 h 1277222"/>
                <a:gd name="connsiteX178" fmla="*/ 272818 w 1367725"/>
                <a:gd name="connsiteY178" fmla="*/ 447751 h 1277222"/>
                <a:gd name="connsiteX179" fmla="*/ 211392 w 1367725"/>
                <a:gd name="connsiteY179" fmla="*/ 415205 h 1277222"/>
                <a:gd name="connsiteX180" fmla="*/ 194941 w 1367725"/>
                <a:gd name="connsiteY180" fmla="*/ 407963 h 1277222"/>
                <a:gd name="connsiteX181" fmla="*/ 170800 w 1367725"/>
                <a:gd name="connsiteY181" fmla="*/ 401794 h 1277222"/>
                <a:gd name="connsiteX182" fmla="*/ 104456 w 1367725"/>
                <a:gd name="connsiteY182" fmla="*/ 417977 h 1277222"/>
                <a:gd name="connsiteX183" fmla="*/ 60019 w 1367725"/>
                <a:gd name="connsiteY183" fmla="*/ 401168 h 1277222"/>
                <a:gd name="connsiteX184" fmla="*/ 30602 w 1367725"/>
                <a:gd name="connsiteY184" fmla="*/ 382838 h 1277222"/>
                <a:gd name="connsiteX185" fmla="*/ 47769 w 1367725"/>
                <a:gd name="connsiteY185" fmla="*/ 362095 h 1277222"/>
                <a:gd name="connsiteX186" fmla="*/ 61896 w 1367725"/>
                <a:gd name="connsiteY186" fmla="*/ 352081 h 1277222"/>
                <a:gd name="connsiteX187" fmla="*/ 47859 w 1367725"/>
                <a:gd name="connsiteY187" fmla="*/ 350829 h 1277222"/>
                <a:gd name="connsiteX188" fmla="*/ 6908 w 1367725"/>
                <a:gd name="connsiteY188" fmla="*/ 319088 h 1277222"/>
                <a:gd name="connsiteX189" fmla="*/ 59571 w 1367725"/>
                <a:gd name="connsiteY189" fmla="*/ 325794 h 1277222"/>
                <a:gd name="connsiteX190" fmla="*/ 70033 w 1367725"/>
                <a:gd name="connsiteY190" fmla="*/ 318999 h 1277222"/>
                <a:gd name="connsiteX191" fmla="*/ 61181 w 1367725"/>
                <a:gd name="connsiteY191" fmla="*/ 311041 h 1277222"/>
                <a:gd name="connsiteX192" fmla="*/ 87826 w 1367725"/>
                <a:gd name="connsiteY192" fmla="*/ 294679 h 1277222"/>
                <a:gd name="connsiteX193" fmla="*/ 116527 w 1367725"/>
                <a:gd name="connsiteY193" fmla="*/ 293516 h 1277222"/>
                <a:gd name="connsiteX194" fmla="*/ 83891 w 1367725"/>
                <a:gd name="connsiteY194" fmla="*/ 294857 h 1277222"/>
                <a:gd name="connsiteX195" fmla="*/ 41689 w 1367725"/>
                <a:gd name="connsiteY195" fmla="*/ 296824 h 12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67725" h="1277222">
                  <a:moveTo>
                    <a:pt x="41779" y="296914"/>
                  </a:moveTo>
                  <a:cubicBezTo>
                    <a:pt x="39096" y="282787"/>
                    <a:pt x="26936" y="279568"/>
                    <a:pt x="16296" y="274203"/>
                  </a:cubicBezTo>
                  <a:cubicBezTo>
                    <a:pt x="-5699" y="263116"/>
                    <a:pt x="-5252" y="252029"/>
                    <a:pt x="16565" y="240942"/>
                  </a:cubicBezTo>
                  <a:cubicBezTo>
                    <a:pt x="33553" y="232359"/>
                    <a:pt x="49915" y="221898"/>
                    <a:pt x="70390" y="226815"/>
                  </a:cubicBezTo>
                  <a:cubicBezTo>
                    <a:pt x="78169" y="228693"/>
                    <a:pt x="87647" y="229498"/>
                    <a:pt x="91581" y="222702"/>
                  </a:cubicBezTo>
                  <a:cubicBezTo>
                    <a:pt x="102578" y="203658"/>
                    <a:pt x="119299" y="205267"/>
                    <a:pt x="134230" y="211883"/>
                  </a:cubicBezTo>
                  <a:cubicBezTo>
                    <a:pt x="162127" y="224222"/>
                    <a:pt x="169369" y="186848"/>
                    <a:pt x="196818" y="193196"/>
                  </a:cubicBezTo>
                  <a:cubicBezTo>
                    <a:pt x="184211" y="176834"/>
                    <a:pt x="174734" y="175493"/>
                    <a:pt x="161948" y="185149"/>
                  </a:cubicBezTo>
                  <a:cubicBezTo>
                    <a:pt x="148536" y="195342"/>
                    <a:pt x="138880" y="190872"/>
                    <a:pt x="131101" y="175851"/>
                  </a:cubicBezTo>
                  <a:cubicBezTo>
                    <a:pt x="120818" y="156001"/>
                    <a:pt x="136913" y="156627"/>
                    <a:pt x="147284" y="153408"/>
                  </a:cubicBezTo>
                  <a:cubicBezTo>
                    <a:pt x="170621" y="146255"/>
                    <a:pt x="186804" y="114425"/>
                    <a:pt x="217472" y="132933"/>
                  </a:cubicBezTo>
                  <a:cubicBezTo>
                    <a:pt x="225341" y="112637"/>
                    <a:pt x="237948" y="116392"/>
                    <a:pt x="252254" y="125512"/>
                  </a:cubicBezTo>
                  <a:cubicBezTo>
                    <a:pt x="253148" y="126048"/>
                    <a:pt x="261016" y="119790"/>
                    <a:pt x="260658" y="117554"/>
                  </a:cubicBezTo>
                  <a:cubicBezTo>
                    <a:pt x="254131" y="77945"/>
                    <a:pt x="284442" y="81074"/>
                    <a:pt x="307868" y="76246"/>
                  </a:cubicBezTo>
                  <a:cubicBezTo>
                    <a:pt x="315468" y="77856"/>
                    <a:pt x="322352" y="80806"/>
                    <a:pt x="327270" y="87154"/>
                  </a:cubicBezTo>
                  <a:cubicBezTo>
                    <a:pt x="329505" y="89479"/>
                    <a:pt x="331562" y="91983"/>
                    <a:pt x="332992" y="94933"/>
                  </a:cubicBezTo>
                  <a:cubicBezTo>
                    <a:pt x="334512" y="90999"/>
                    <a:pt x="330578" y="89300"/>
                    <a:pt x="329326" y="86528"/>
                  </a:cubicBezTo>
                  <a:cubicBezTo>
                    <a:pt x="327449" y="82147"/>
                    <a:pt x="327449" y="78303"/>
                    <a:pt x="330310" y="74458"/>
                  </a:cubicBezTo>
                  <a:cubicBezTo>
                    <a:pt x="345331" y="71418"/>
                    <a:pt x="360263" y="70345"/>
                    <a:pt x="375105" y="75084"/>
                  </a:cubicBezTo>
                  <a:cubicBezTo>
                    <a:pt x="377340" y="74905"/>
                    <a:pt x="379665" y="74637"/>
                    <a:pt x="381900" y="74458"/>
                  </a:cubicBezTo>
                  <a:cubicBezTo>
                    <a:pt x="392272" y="68914"/>
                    <a:pt x="404700" y="76336"/>
                    <a:pt x="414714" y="69183"/>
                  </a:cubicBezTo>
                  <a:lnTo>
                    <a:pt x="414536" y="69183"/>
                  </a:lnTo>
                  <a:cubicBezTo>
                    <a:pt x="425712" y="62477"/>
                    <a:pt x="434206" y="65070"/>
                    <a:pt x="440197" y="76604"/>
                  </a:cubicBezTo>
                  <a:cubicBezTo>
                    <a:pt x="438587" y="84651"/>
                    <a:pt x="443594" y="89747"/>
                    <a:pt x="448333" y="95023"/>
                  </a:cubicBezTo>
                  <a:cubicBezTo>
                    <a:pt x="463175" y="95917"/>
                    <a:pt x="477839" y="87154"/>
                    <a:pt x="492771" y="94307"/>
                  </a:cubicBezTo>
                  <a:cubicBezTo>
                    <a:pt x="500907" y="96811"/>
                    <a:pt x="508865" y="100030"/>
                    <a:pt x="517091" y="101639"/>
                  </a:cubicBezTo>
                  <a:cubicBezTo>
                    <a:pt x="529340" y="103964"/>
                    <a:pt x="537923" y="100834"/>
                    <a:pt x="528088" y="87154"/>
                  </a:cubicBezTo>
                  <a:cubicBezTo>
                    <a:pt x="521382" y="77856"/>
                    <a:pt x="512799" y="69093"/>
                    <a:pt x="525495" y="60152"/>
                  </a:cubicBezTo>
                  <a:cubicBezTo>
                    <a:pt x="535688" y="52910"/>
                    <a:pt x="548653" y="53804"/>
                    <a:pt x="558756" y="61314"/>
                  </a:cubicBezTo>
                  <a:cubicBezTo>
                    <a:pt x="583881" y="80001"/>
                    <a:pt x="622686" y="74100"/>
                    <a:pt x="640568" y="107183"/>
                  </a:cubicBezTo>
                  <a:cubicBezTo>
                    <a:pt x="642177" y="110133"/>
                    <a:pt x="665961" y="120862"/>
                    <a:pt x="659255" y="92787"/>
                  </a:cubicBezTo>
                  <a:cubicBezTo>
                    <a:pt x="654963" y="74726"/>
                    <a:pt x="682770" y="88048"/>
                    <a:pt x="688850" y="74816"/>
                  </a:cubicBezTo>
                  <a:cubicBezTo>
                    <a:pt x="694930" y="68825"/>
                    <a:pt x="702262" y="69004"/>
                    <a:pt x="705213" y="69183"/>
                  </a:cubicBezTo>
                  <a:cubicBezTo>
                    <a:pt x="698507" y="67841"/>
                    <a:pt x="686615" y="68199"/>
                    <a:pt x="675886" y="63013"/>
                  </a:cubicBezTo>
                  <a:cubicBezTo>
                    <a:pt x="672220" y="62566"/>
                    <a:pt x="668464" y="62119"/>
                    <a:pt x="664798" y="61761"/>
                  </a:cubicBezTo>
                  <a:cubicBezTo>
                    <a:pt x="653622" y="49959"/>
                    <a:pt x="644144" y="38336"/>
                    <a:pt x="669716" y="33060"/>
                  </a:cubicBezTo>
                  <a:cubicBezTo>
                    <a:pt x="675617" y="31809"/>
                    <a:pt x="679104" y="28769"/>
                    <a:pt x="680982" y="23404"/>
                  </a:cubicBezTo>
                  <a:cubicBezTo>
                    <a:pt x="697702" y="15804"/>
                    <a:pt x="712991" y="3197"/>
                    <a:pt x="726045" y="31451"/>
                  </a:cubicBezTo>
                  <a:cubicBezTo>
                    <a:pt x="737401" y="56129"/>
                    <a:pt x="764224" y="50943"/>
                    <a:pt x="786577" y="51747"/>
                  </a:cubicBezTo>
                  <a:cubicBezTo>
                    <a:pt x="791405" y="51926"/>
                    <a:pt x="796055" y="48529"/>
                    <a:pt x="794266" y="44058"/>
                  </a:cubicBezTo>
                  <a:cubicBezTo>
                    <a:pt x="778262" y="4180"/>
                    <a:pt x="811970" y="15983"/>
                    <a:pt x="828779" y="10529"/>
                  </a:cubicBezTo>
                  <a:cubicBezTo>
                    <a:pt x="838704" y="7310"/>
                    <a:pt x="848986" y="5253"/>
                    <a:pt x="859179" y="2660"/>
                  </a:cubicBezTo>
                  <a:cubicBezTo>
                    <a:pt x="869998" y="-737"/>
                    <a:pt x="880817" y="-1095"/>
                    <a:pt x="891635" y="2839"/>
                  </a:cubicBezTo>
                  <a:cubicBezTo>
                    <a:pt x="892351" y="4717"/>
                    <a:pt x="893692" y="5253"/>
                    <a:pt x="895570" y="4449"/>
                  </a:cubicBezTo>
                  <a:cubicBezTo>
                    <a:pt x="913452" y="10618"/>
                    <a:pt x="932586" y="3197"/>
                    <a:pt x="950468" y="9187"/>
                  </a:cubicBezTo>
                  <a:cubicBezTo>
                    <a:pt x="954939" y="9277"/>
                    <a:pt x="959320" y="9366"/>
                    <a:pt x="963791" y="9456"/>
                  </a:cubicBezTo>
                  <a:cubicBezTo>
                    <a:pt x="994191" y="4449"/>
                    <a:pt x="1024680" y="5790"/>
                    <a:pt x="1055169" y="9098"/>
                  </a:cubicBezTo>
                  <a:cubicBezTo>
                    <a:pt x="1057673" y="12406"/>
                    <a:pt x="1071264" y="13122"/>
                    <a:pt x="1059551" y="19470"/>
                  </a:cubicBezTo>
                  <a:cubicBezTo>
                    <a:pt x="1051056" y="24030"/>
                    <a:pt x="1039522" y="22957"/>
                    <a:pt x="1029240" y="24387"/>
                  </a:cubicBezTo>
                  <a:cubicBezTo>
                    <a:pt x="999466" y="41823"/>
                    <a:pt x="965669" y="43611"/>
                    <a:pt x="932854" y="48886"/>
                  </a:cubicBezTo>
                  <a:cubicBezTo>
                    <a:pt x="923913" y="50317"/>
                    <a:pt x="915866" y="51390"/>
                    <a:pt x="909697" y="58364"/>
                  </a:cubicBezTo>
                  <a:cubicBezTo>
                    <a:pt x="904690" y="62387"/>
                    <a:pt x="899504" y="66321"/>
                    <a:pt x="888685" y="70256"/>
                  </a:cubicBezTo>
                  <a:cubicBezTo>
                    <a:pt x="903170" y="67216"/>
                    <a:pt x="908892" y="59079"/>
                    <a:pt x="916581" y="54161"/>
                  </a:cubicBezTo>
                  <a:cubicBezTo>
                    <a:pt x="971122" y="44505"/>
                    <a:pt x="1024412" y="23940"/>
                    <a:pt x="1081278" y="35653"/>
                  </a:cubicBezTo>
                  <a:cubicBezTo>
                    <a:pt x="1085569" y="37889"/>
                    <a:pt x="1089682" y="42270"/>
                    <a:pt x="1094600" y="36637"/>
                  </a:cubicBezTo>
                  <a:cubicBezTo>
                    <a:pt x="1109084" y="29842"/>
                    <a:pt x="1111409" y="36637"/>
                    <a:pt x="1108548" y="49154"/>
                  </a:cubicBezTo>
                  <a:cubicBezTo>
                    <a:pt x="1104435" y="59526"/>
                    <a:pt x="1103094" y="68825"/>
                    <a:pt x="1118383" y="69719"/>
                  </a:cubicBezTo>
                  <a:cubicBezTo>
                    <a:pt x="1126341" y="70166"/>
                    <a:pt x="1133852" y="70434"/>
                    <a:pt x="1133494" y="81343"/>
                  </a:cubicBezTo>
                  <a:cubicBezTo>
                    <a:pt x="1128845" y="91357"/>
                    <a:pt x="1120172" y="95559"/>
                    <a:pt x="1109889" y="96006"/>
                  </a:cubicBezTo>
                  <a:cubicBezTo>
                    <a:pt x="1065720" y="98152"/>
                    <a:pt x="1022266" y="115319"/>
                    <a:pt x="977560" y="102444"/>
                  </a:cubicBezTo>
                  <a:cubicBezTo>
                    <a:pt x="953508" y="95470"/>
                    <a:pt x="954671" y="126853"/>
                    <a:pt x="942690" y="127300"/>
                  </a:cubicBezTo>
                  <a:cubicBezTo>
                    <a:pt x="971212" y="116928"/>
                    <a:pt x="1007155" y="112190"/>
                    <a:pt x="1043099" y="108434"/>
                  </a:cubicBezTo>
                  <a:cubicBezTo>
                    <a:pt x="1061607" y="106467"/>
                    <a:pt x="1077701" y="109328"/>
                    <a:pt x="1067150" y="135079"/>
                  </a:cubicBezTo>
                  <a:cubicBezTo>
                    <a:pt x="1085659" y="133827"/>
                    <a:pt x="1100501" y="127747"/>
                    <a:pt x="1108101" y="108971"/>
                  </a:cubicBezTo>
                  <a:cubicBezTo>
                    <a:pt x="1112482" y="98152"/>
                    <a:pt x="1120976" y="91625"/>
                    <a:pt x="1133852" y="94844"/>
                  </a:cubicBezTo>
                  <a:cubicBezTo>
                    <a:pt x="1171852" y="112726"/>
                    <a:pt x="1172745" y="119253"/>
                    <a:pt x="1144223" y="147775"/>
                  </a:cubicBezTo>
                  <a:cubicBezTo>
                    <a:pt x="1137965" y="154034"/>
                    <a:pt x="1135640" y="164317"/>
                    <a:pt x="1131527" y="172721"/>
                  </a:cubicBezTo>
                  <a:cubicBezTo>
                    <a:pt x="1132332" y="193107"/>
                    <a:pt x="1140558" y="167535"/>
                    <a:pt x="1143508" y="174599"/>
                  </a:cubicBezTo>
                  <a:cubicBezTo>
                    <a:pt x="1149320" y="170665"/>
                    <a:pt x="1155668" y="167267"/>
                    <a:pt x="1160854" y="162618"/>
                  </a:cubicBezTo>
                  <a:cubicBezTo>
                    <a:pt x="1179183" y="146345"/>
                    <a:pt x="1192327" y="116750"/>
                    <a:pt x="1224694" y="143931"/>
                  </a:cubicBezTo>
                  <a:cubicBezTo>
                    <a:pt x="1232383" y="150368"/>
                    <a:pt x="1248567" y="155554"/>
                    <a:pt x="1253395" y="134453"/>
                  </a:cubicBezTo>
                  <a:cubicBezTo>
                    <a:pt x="1255362" y="126048"/>
                    <a:pt x="1266270" y="128999"/>
                    <a:pt x="1273423" y="128999"/>
                  </a:cubicBezTo>
                  <a:cubicBezTo>
                    <a:pt x="1297206" y="128999"/>
                    <a:pt x="1321169" y="128194"/>
                    <a:pt x="1344684" y="130698"/>
                  </a:cubicBezTo>
                  <a:cubicBezTo>
                    <a:pt x="1353536" y="131681"/>
                    <a:pt x="1369451" y="134006"/>
                    <a:pt x="1367573" y="147865"/>
                  </a:cubicBezTo>
                  <a:cubicBezTo>
                    <a:pt x="1366500" y="155554"/>
                    <a:pt x="1354430" y="159041"/>
                    <a:pt x="1344326" y="159667"/>
                  </a:cubicBezTo>
                  <a:cubicBezTo>
                    <a:pt x="1325013" y="160829"/>
                    <a:pt x="1314821" y="171112"/>
                    <a:pt x="1316430" y="191229"/>
                  </a:cubicBezTo>
                  <a:cubicBezTo>
                    <a:pt x="1296223" y="203747"/>
                    <a:pt x="1290054" y="201243"/>
                    <a:pt x="1264571" y="212688"/>
                  </a:cubicBezTo>
                  <a:lnTo>
                    <a:pt x="1264661" y="212688"/>
                  </a:lnTo>
                  <a:cubicBezTo>
                    <a:pt x="1263141" y="214029"/>
                    <a:pt x="1261531" y="215192"/>
                    <a:pt x="1259564" y="215907"/>
                  </a:cubicBezTo>
                  <a:cubicBezTo>
                    <a:pt x="1251938" y="218589"/>
                    <a:pt x="1251160" y="222583"/>
                    <a:pt x="1257239" y="227888"/>
                  </a:cubicBezTo>
                  <a:cubicBezTo>
                    <a:pt x="1252948" y="235488"/>
                    <a:pt x="1248745" y="243178"/>
                    <a:pt x="1244454" y="250778"/>
                  </a:cubicBezTo>
                  <a:cubicBezTo>
                    <a:pt x="1230952" y="264636"/>
                    <a:pt x="1216557" y="277512"/>
                    <a:pt x="1201447" y="289493"/>
                  </a:cubicBezTo>
                  <a:cubicBezTo>
                    <a:pt x="1182849" y="304156"/>
                    <a:pt x="1179630" y="318194"/>
                    <a:pt x="1200374" y="333394"/>
                  </a:cubicBezTo>
                  <a:cubicBezTo>
                    <a:pt x="1210120" y="340547"/>
                    <a:pt x="1218077" y="349130"/>
                    <a:pt x="1221207" y="361380"/>
                  </a:cubicBezTo>
                  <a:cubicBezTo>
                    <a:pt x="1219508" y="382481"/>
                    <a:pt x="1206990" y="378815"/>
                    <a:pt x="1194025" y="373629"/>
                  </a:cubicBezTo>
                  <a:cubicBezTo>
                    <a:pt x="1194025" y="379709"/>
                    <a:pt x="1200195" y="377653"/>
                    <a:pt x="1202609" y="380424"/>
                  </a:cubicBezTo>
                  <a:cubicBezTo>
                    <a:pt x="1205560" y="382034"/>
                    <a:pt x="1208689" y="382749"/>
                    <a:pt x="1211997" y="382838"/>
                  </a:cubicBezTo>
                  <a:cubicBezTo>
                    <a:pt x="1228181" y="383464"/>
                    <a:pt x="1240341" y="389008"/>
                    <a:pt x="1236854" y="407963"/>
                  </a:cubicBezTo>
                  <a:cubicBezTo>
                    <a:pt x="1233724" y="424951"/>
                    <a:pt x="1220402" y="430048"/>
                    <a:pt x="1205113" y="428438"/>
                  </a:cubicBezTo>
                  <a:cubicBezTo>
                    <a:pt x="1188303" y="426650"/>
                    <a:pt x="1171494" y="419676"/>
                    <a:pt x="1153164" y="433624"/>
                  </a:cubicBezTo>
                  <a:cubicBezTo>
                    <a:pt x="1176680" y="443728"/>
                    <a:pt x="1190360" y="459285"/>
                    <a:pt x="1183207" y="485483"/>
                  </a:cubicBezTo>
                  <a:cubicBezTo>
                    <a:pt x="1184458" y="497285"/>
                    <a:pt x="1166308" y="498537"/>
                    <a:pt x="1169169" y="511144"/>
                  </a:cubicBezTo>
                  <a:cubicBezTo>
                    <a:pt x="1170421" y="513200"/>
                    <a:pt x="1171852" y="515078"/>
                    <a:pt x="1173550" y="516687"/>
                  </a:cubicBezTo>
                  <a:cubicBezTo>
                    <a:pt x="1179094" y="520264"/>
                    <a:pt x="1185710" y="520532"/>
                    <a:pt x="1191790" y="522678"/>
                  </a:cubicBezTo>
                  <a:cubicBezTo>
                    <a:pt x="1199211" y="526702"/>
                    <a:pt x="1209762" y="529831"/>
                    <a:pt x="1205291" y="541007"/>
                  </a:cubicBezTo>
                  <a:cubicBezTo>
                    <a:pt x="1200553" y="552899"/>
                    <a:pt x="1188840" y="552452"/>
                    <a:pt x="1177752" y="552989"/>
                  </a:cubicBezTo>
                  <a:cubicBezTo>
                    <a:pt x="1164252" y="553704"/>
                    <a:pt x="1154684" y="533765"/>
                    <a:pt x="1139663" y="546283"/>
                  </a:cubicBezTo>
                  <a:cubicBezTo>
                    <a:pt x="1145922" y="556744"/>
                    <a:pt x="1159602" y="550127"/>
                    <a:pt x="1166666" y="558353"/>
                  </a:cubicBezTo>
                  <a:cubicBezTo>
                    <a:pt x="1178110" y="575252"/>
                    <a:pt x="1175696" y="589826"/>
                    <a:pt x="1159513" y="602165"/>
                  </a:cubicBezTo>
                  <a:cubicBezTo>
                    <a:pt x="1130633" y="615577"/>
                    <a:pt x="1107386" y="595906"/>
                    <a:pt x="1081993" y="588753"/>
                  </a:cubicBezTo>
                  <a:cubicBezTo>
                    <a:pt x="1070816" y="585624"/>
                    <a:pt x="1060176" y="575520"/>
                    <a:pt x="1054812" y="598410"/>
                  </a:cubicBezTo>
                  <a:cubicBezTo>
                    <a:pt x="1051593" y="612358"/>
                    <a:pt x="1032816" y="612268"/>
                    <a:pt x="1016901" y="608066"/>
                  </a:cubicBezTo>
                  <a:cubicBezTo>
                    <a:pt x="1040238" y="646424"/>
                    <a:pt x="1082082" y="653308"/>
                    <a:pt x="1114986" y="673605"/>
                  </a:cubicBezTo>
                  <a:cubicBezTo>
                    <a:pt x="1139127" y="692202"/>
                    <a:pt x="1131706" y="718311"/>
                    <a:pt x="1130007" y="742362"/>
                  </a:cubicBezTo>
                  <a:cubicBezTo>
                    <a:pt x="1129292" y="752287"/>
                    <a:pt x="1121334" y="761049"/>
                    <a:pt x="1109710" y="758546"/>
                  </a:cubicBezTo>
                  <a:cubicBezTo>
                    <a:pt x="1089414" y="754165"/>
                    <a:pt x="1061965" y="770080"/>
                    <a:pt x="1050341" y="740038"/>
                  </a:cubicBezTo>
                  <a:cubicBezTo>
                    <a:pt x="1044708" y="725463"/>
                    <a:pt x="1035499" y="714019"/>
                    <a:pt x="1025574" y="702664"/>
                  </a:cubicBezTo>
                  <a:cubicBezTo>
                    <a:pt x="1021104" y="697209"/>
                    <a:pt x="1014934" y="696941"/>
                    <a:pt x="1008675" y="696852"/>
                  </a:cubicBezTo>
                  <a:cubicBezTo>
                    <a:pt x="1006619" y="696852"/>
                    <a:pt x="1004562" y="696852"/>
                    <a:pt x="1002506" y="696852"/>
                  </a:cubicBezTo>
                  <a:cubicBezTo>
                    <a:pt x="1005546" y="697299"/>
                    <a:pt x="1008675" y="697031"/>
                    <a:pt x="1011805" y="697299"/>
                  </a:cubicBezTo>
                  <a:cubicBezTo>
                    <a:pt x="1022355" y="699266"/>
                    <a:pt x="1031475" y="703826"/>
                    <a:pt x="1029061" y="716075"/>
                  </a:cubicBezTo>
                  <a:cubicBezTo>
                    <a:pt x="1027183" y="725732"/>
                    <a:pt x="1017706" y="728235"/>
                    <a:pt x="1008944" y="730113"/>
                  </a:cubicBezTo>
                  <a:cubicBezTo>
                    <a:pt x="998482" y="732348"/>
                    <a:pt x="987038" y="731722"/>
                    <a:pt x="979169" y="740485"/>
                  </a:cubicBezTo>
                  <a:cubicBezTo>
                    <a:pt x="976755" y="755595"/>
                    <a:pt x="1012252" y="741468"/>
                    <a:pt x="997856" y="765341"/>
                  </a:cubicBezTo>
                  <a:cubicBezTo>
                    <a:pt x="988021" y="769543"/>
                    <a:pt x="977828" y="772405"/>
                    <a:pt x="970586" y="772405"/>
                  </a:cubicBezTo>
                  <a:cubicBezTo>
                    <a:pt x="978723" y="773656"/>
                    <a:pt x="988915" y="768918"/>
                    <a:pt x="999466" y="765520"/>
                  </a:cubicBezTo>
                  <a:cubicBezTo>
                    <a:pt x="1023965" y="756579"/>
                    <a:pt x="1048463" y="748889"/>
                    <a:pt x="1073141" y="765073"/>
                  </a:cubicBezTo>
                  <a:cubicBezTo>
                    <a:pt x="1079668" y="771242"/>
                    <a:pt x="1076360" y="777322"/>
                    <a:pt x="1073141" y="783492"/>
                  </a:cubicBezTo>
                  <a:cubicBezTo>
                    <a:pt x="1048106" y="817826"/>
                    <a:pt x="1015113" y="842146"/>
                    <a:pt x="976934" y="859849"/>
                  </a:cubicBezTo>
                  <a:cubicBezTo>
                    <a:pt x="966115" y="862442"/>
                    <a:pt x="954760" y="862084"/>
                    <a:pt x="944210" y="865840"/>
                  </a:cubicBezTo>
                  <a:cubicBezTo>
                    <a:pt x="932944" y="868611"/>
                    <a:pt x="921767" y="868969"/>
                    <a:pt x="910680" y="864946"/>
                  </a:cubicBezTo>
                  <a:cubicBezTo>
                    <a:pt x="908624" y="865214"/>
                    <a:pt x="906746" y="865929"/>
                    <a:pt x="904958" y="867002"/>
                  </a:cubicBezTo>
                  <a:cubicBezTo>
                    <a:pt x="892351" y="881040"/>
                    <a:pt x="871786" y="864588"/>
                    <a:pt x="859358" y="878983"/>
                  </a:cubicBezTo>
                  <a:cubicBezTo>
                    <a:pt x="833250" y="920291"/>
                    <a:pt x="809019" y="963477"/>
                    <a:pt x="767353" y="991642"/>
                  </a:cubicBezTo>
                  <a:cubicBezTo>
                    <a:pt x="752422" y="1001656"/>
                    <a:pt x="732573" y="1000315"/>
                    <a:pt x="715584" y="1006931"/>
                  </a:cubicBezTo>
                  <a:cubicBezTo>
                    <a:pt x="709147" y="1009435"/>
                    <a:pt x="704765" y="1001745"/>
                    <a:pt x="703246" y="994861"/>
                  </a:cubicBezTo>
                  <a:cubicBezTo>
                    <a:pt x="702262" y="991105"/>
                    <a:pt x="705123" y="987529"/>
                    <a:pt x="704050" y="983774"/>
                  </a:cubicBezTo>
                  <a:cubicBezTo>
                    <a:pt x="698596" y="986366"/>
                    <a:pt x="698864" y="991016"/>
                    <a:pt x="699580" y="995933"/>
                  </a:cubicBezTo>
                  <a:cubicBezTo>
                    <a:pt x="698328" y="1012206"/>
                    <a:pt x="686347" y="1015783"/>
                    <a:pt x="673382" y="1018644"/>
                  </a:cubicBezTo>
                  <a:cubicBezTo>
                    <a:pt x="660775" y="1021416"/>
                    <a:pt x="648526" y="1024903"/>
                    <a:pt x="643876" y="1039030"/>
                  </a:cubicBezTo>
                  <a:cubicBezTo>
                    <a:pt x="643071" y="1046004"/>
                    <a:pt x="643697" y="1053068"/>
                    <a:pt x="641373" y="1059863"/>
                  </a:cubicBezTo>
                  <a:cubicBezTo>
                    <a:pt x="640300" y="1062456"/>
                    <a:pt x="638780" y="1064691"/>
                    <a:pt x="636813" y="1066658"/>
                  </a:cubicBezTo>
                  <a:cubicBezTo>
                    <a:pt x="627782" y="1072649"/>
                    <a:pt x="629660" y="1083467"/>
                    <a:pt x="626083" y="1091872"/>
                  </a:cubicBezTo>
                  <a:cubicBezTo>
                    <a:pt x="603909" y="1112794"/>
                    <a:pt x="597650" y="1142121"/>
                    <a:pt x="587636" y="1168855"/>
                  </a:cubicBezTo>
                  <a:cubicBezTo>
                    <a:pt x="574582" y="1203815"/>
                    <a:pt x="550530" y="1233858"/>
                    <a:pt x="542662" y="1270963"/>
                  </a:cubicBezTo>
                  <a:cubicBezTo>
                    <a:pt x="541857" y="1274808"/>
                    <a:pt x="536225" y="1276328"/>
                    <a:pt x="531843" y="1277222"/>
                  </a:cubicBezTo>
                  <a:cubicBezTo>
                    <a:pt x="519952" y="1267745"/>
                    <a:pt x="504305" y="1272036"/>
                    <a:pt x="491340" y="1266493"/>
                  </a:cubicBezTo>
                  <a:cubicBezTo>
                    <a:pt x="480432" y="1260681"/>
                    <a:pt x="473189" y="1251025"/>
                    <a:pt x="465232" y="1242173"/>
                  </a:cubicBezTo>
                  <a:cubicBezTo>
                    <a:pt x="463801" y="1239669"/>
                    <a:pt x="462997" y="1236898"/>
                    <a:pt x="462639" y="1234126"/>
                  </a:cubicBezTo>
                  <a:cubicBezTo>
                    <a:pt x="458347" y="1217317"/>
                    <a:pt x="449942" y="1234662"/>
                    <a:pt x="443952" y="1232069"/>
                  </a:cubicBezTo>
                  <a:cubicBezTo>
                    <a:pt x="433759" y="1234305"/>
                    <a:pt x="422940" y="1233768"/>
                    <a:pt x="416771" y="1225453"/>
                  </a:cubicBezTo>
                  <a:cubicBezTo>
                    <a:pt x="394597" y="1195858"/>
                    <a:pt x="358027" y="1174578"/>
                    <a:pt x="361067" y="1129961"/>
                  </a:cubicBezTo>
                  <a:cubicBezTo>
                    <a:pt x="361693" y="1120663"/>
                    <a:pt x="353378" y="1114583"/>
                    <a:pt x="348550" y="1107698"/>
                  </a:cubicBezTo>
                  <a:cubicBezTo>
                    <a:pt x="334423" y="1087670"/>
                    <a:pt x="332992" y="1069877"/>
                    <a:pt x="354898" y="1054409"/>
                  </a:cubicBezTo>
                  <a:cubicBezTo>
                    <a:pt x="364644" y="1041712"/>
                    <a:pt x="364107" y="1033755"/>
                    <a:pt x="345599" y="1034023"/>
                  </a:cubicBezTo>
                  <a:cubicBezTo>
                    <a:pt x="329773" y="1022310"/>
                    <a:pt x="337463" y="1006037"/>
                    <a:pt x="337016" y="991374"/>
                  </a:cubicBezTo>
                  <a:cubicBezTo>
                    <a:pt x="335406" y="988155"/>
                    <a:pt x="342380" y="980644"/>
                    <a:pt x="332277" y="981538"/>
                  </a:cubicBezTo>
                  <a:cubicBezTo>
                    <a:pt x="323246" y="982343"/>
                    <a:pt x="316541" y="978588"/>
                    <a:pt x="310818" y="972061"/>
                  </a:cubicBezTo>
                  <a:cubicBezTo>
                    <a:pt x="296333" y="941661"/>
                    <a:pt x="321190" y="940677"/>
                    <a:pt x="338893" y="934329"/>
                  </a:cubicBezTo>
                  <a:cubicBezTo>
                    <a:pt x="347209" y="933167"/>
                    <a:pt x="355077" y="928875"/>
                    <a:pt x="358653" y="929590"/>
                  </a:cubicBezTo>
                  <a:cubicBezTo>
                    <a:pt x="352216" y="930216"/>
                    <a:pt x="341218" y="933435"/>
                    <a:pt x="330041" y="936028"/>
                  </a:cubicBezTo>
                  <a:cubicBezTo>
                    <a:pt x="317435" y="938174"/>
                    <a:pt x="307778" y="933167"/>
                    <a:pt x="307242" y="920560"/>
                  </a:cubicBezTo>
                  <a:cubicBezTo>
                    <a:pt x="306616" y="905985"/>
                    <a:pt x="319491" y="902588"/>
                    <a:pt x="330936" y="899548"/>
                  </a:cubicBezTo>
                  <a:cubicBezTo>
                    <a:pt x="337284" y="899101"/>
                    <a:pt x="343632" y="900174"/>
                    <a:pt x="349980" y="899548"/>
                  </a:cubicBezTo>
                  <a:cubicBezTo>
                    <a:pt x="342380" y="898743"/>
                    <a:pt x="335496" y="896776"/>
                    <a:pt x="332992" y="888193"/>
                  </a:cubicBezTo>
                  <a:cubicBezTo>
                    <a:pt x="332724" y="881040"/>
                    <a:pt x="336837" y="877016"/>
                    <a:pt x="342917" y="874513"/>
                  </a:cubicBezTo>
                  <a:cubicBezTo>
                    <a:pt x="344973" y="873261"/>
                    <a:pt x="348103" y="875049"/>
                    <a:pt x="349623" y="872188"/>
                  </a:cubicBezTo>
                  <a:cubicBezTo>
                    <a:pt x="345510" y="872724"/>
                    <a:pt x="341844" y="871562"/>
                    <a:pt x="338178" y="869774"/>
                  </a:cubicBezTo>
                  <a:cubicBezTo>
                    <a:pt x="330936" y="863247"/>
                    <a:pt x="331204" y="856899"/>
                    <a:pt x="338536" y="850640"/>
                  </a:cubicBezTo>
                  <a:cubicBezTo>
                    <a:pt x="346672" y="845007"/>
                    <a:pt x="358296" y="848315"/>
                    <a:pt x="365270" y="839910"/>
                  </a:cubicBezTo>
                  <a:cubicBezTo>
                    <a:pt x="370545" y="831684"/>
                    <a:pt x="374926" y="823012"/>
                    <a:pt x="385119" y="819346"/>
                  </a:cubicBezTo>
                  <a:cubicBezTo>
                    <a:pt x="394328" y="815948"/>
                    <a:pt x="383063" y="814339"/>
                    <a:pt x="383957" y="811388"/>
                  </a:cubicBezTo>
                  <a:cubicBezTo>
                    <a:pt x="375373" y="788320"/>
                    <a:pt x="395938" y="776965"/>
                    <a:pt x="412390" y="755059"/>
                  </a:cubicBezTo>
                  <a:cubicBezTo>
                    <a:pt x="372959" y="768292"/>
                    <a:pt x="351858" y="748621"/>
                    <a:pt x="329058" y="733242"/>
                  </a:cubicBezTo>
                  <a:cubicBezTo>
                    <a:pt x="316898" y="720456"/>
                    <a:pt x="321100" y="712767"/>
                    <a:pt x="336926" y="709727"/>
                  </a:cubicBezTo>
                  <a:cubicBezTo>
                    <a:pt x="348639" y="707492"/>
                    <a:pt x="359994" y="710353"/>
                    <a:pt x="370813" y="715002"/>
                  </a:cubicBezTo>
                  <a:cubicBezTo>
                    <a:pt x="378234" y="715718"/>
                    <a:pt x="389232" y="728235"/>
                    <a:pt x="390305" y="708833"/>
                  </a:cubicBezTo>
                  <a:cubicBezTo>
                    <a:pt x="389232" y="706419"/>
                    <a:pt x="388248" y="704005"/>
                    <a:pt x="386997" y="701591"/>
                  </a:cubicBezTo>
                  <a:cubicBezTo>
                    <a:pt x="380023" y="691577"/>
                    <a:pt x="376357" y="679595"/>
                    <a:pt x="367594" y="670744"/>
                  </a:cubicBezTo>
                  <a:cubicBezTo>
                    <a:pt x="365896" y="668955"/>
                    <a:pt x="364376" y="666899"/>
                    <a:pt x="363124" y="665021"/>
                  </a:cubicBezTo>
                  <a:cubicBezTo>
                    <a:pt x="357044" y="671548"/>
                    <a:pt x="358922" y="682904"/>
                    <a:pt x="349354" y="687017"/>
                  </a:cubicBezTo>
                  <a:cubicBezTo>
                    <a:pt x="339162" y="691219"/>
                    <a:pt x="328790" y="694348"/>
                    <a:pt x="317971" y="689162"/>
                  </a:cubicBezTo>
                  <a:cubicBezTo>
                    <a:pt x="313053" y="672264"/>
                    <a:pt x="329148" y="654381"/>
                    <a:pt x="315646" y="637840"/>
                  </a:cubicBezTo>
                  <a:cubicBezTo>
                    <a:pt x="319133" y="621478"/>
                    <a:pt x="352931" y="625054"/>
                    <a:pt x="341307" y="598767"/>
                  </a:cubicBezTo>
                  <a:cubicBezTo>
                    <a:pt x="337105" y="595459"/>
                    <a:pt x="339519" y="589379"/>
                    <a:pt x="335764" y="585892"/>
                  </a:cubicBezTo>
                  <a:cubicBezTo>
                    <a:pt x="326376" y="580527"/>
                    <a:pt x="305185" y="581064"/>
                    <a:pt x="323604" y="561751"/>
                  </a:cubicBezTo>
                  <a:cubicBezTo>
                    <a:pt x="303397" y="549859"/>
                    <a:pt x="327002" y="512306"/>
                    <a:pt x="292131" y="508640"/>
                  </a:cubicBezTo>
                  <a:cubicBezTo>
                    <a:pt x="279435" y="507299"/>
                    <a:pt x="279435" y="497375"/>
                    <a:pt x="279166" y="487092"/>
                  </a:cubicBezTo>
                  <a:cubicBezTo>
                    <a:pt x="278809" y="473412"/>
                    <a:pt x="285783" y="453205"/>
                    <a:pt x="272818" y="447751"/>
                  </a:cubicBezTo>
                  <a:cubicBezTo>
                    <a:pt x="251002" y="438631"/>
                    <a:pt x="235891" y="417083"/>
                    <a:pt x="211392" y="415205"/>
                  </a:cubicBezTo>
                  <a:cubicBezTo>
                    <a:pt x="204061" y="414669"/>
                    <a:pt x="199322" y="412970"/>
                    <a:pt x="194941" y="407963"/>
                  </a:cubicBezTo>
                  <a:cubicBezTo>
                    <a:pt x="187072" y="405191"/>
                    <a:pt x="180903" y="395714"/>
                    <a:pt x="170800" y="401794"/>
                  </a:cubicBezTo>
                  <a:cubicBezTo>
                    <a:pt x="143887" y="384895"/>
                    <a:pt x="126451" y="412702"/>
                    <a:pt x="104456" y="417977"/>
                  </a:cubicBezTo>
                  <a:cubicBezTo>
                    <a:pt x="81656" y="423431"/>
                    <a:pt x="69318" y="419587"/>
                    <a:pt x="60019" y="401168"/>
                  </a:cubicBezTo>
                  <a:cubicBezTo>
                    <a:pt x="53581" y="388561"/>
                    <a:pt x="44372" y="382034"/>
                    <a:pt x="30602" y="382838"/>
                  </a:cubicBezTo>
                  <a:cubicBezTo>
                    <a:pt x="31943" y="369516"/>
                    <a:pt x="40706" y="366655"/>
                    <a:pt x="47769" y="362095"/>
                  </a:cubicBezTo>
                  <a:cubicBezTo>
                    <a:pt x="51167" y="356998"/>
                    <a:pt x="59750" y="358965"/>
                    <a:pt x="61896" y="352081"/>
                  </a:cubicBezTo>
                  <a:cubicBezTo>
                    <a:pt x="56800" y="356909"/>
                    <a:pt x="52329" y="353511"/>
                    <a:pt x="47859" y="350829"/>
                  </a:cubicBezTo>
                  <a:cubicBezTo>
                    <a:pt x="38739" y="334914"/>
                    <a:pt x="10306" y="344391"/>
                    <a:pt x="6908" y="319088"/>
                  </a:cubicBezTo>
                  <a:cubicBezTo>
                    <a:pt x="26221" y="310147"/>
                    <a:pt x="41957" y="326599"/>
                    <a:pt x="59571" y="325794"/>
                  </a:cubicBezTo>
                  <a:cubicBezTo>
                    <a:pt x="64132" y="325615"/>
                    <a:pt x="71463" y="327046"/>
                    <a:pt x="70033" y="318999"/>
                  </a:cubicBezTo>
                  <a:cubicBezTo>
                    <a:pt x="69496" y="315959"/>
                    <a:pt x="64221" y="313723"/>
                    <a:pt x="61181" y="311041"/>
                  </a:cubicBezTo>
                  <a:cubicBezTo>
                    <a:pt x="67082" y="300759"/>
                    <a:pt x="77365" y="297450"/>
                    <a:pt x="87826" y="294679"/>
                  </a:cubicBezTo>
                  <a:cubicBezTo>
                    <a:pt x="95783" y="294142"/>
                    <a:pt x="103741" y="295215"/>
                    <a:pt x="116527" y="293516"/>
                  </a:cubicBezTo>
                  <a:cubicBezTo>
                    <a:pt x="102489" y="294947"/>
                    <a:pt x="93190" y="293784"/>
                    <a:pt x="83891" y="294857"/>
                  </a:cubicBezTo>
                  <a:cubicBezTo>
                    <a:pt x="70033" y="301384"/>
                    <a:pt x="56174" y="305497"/>
                    <a:pt x="41689" y="2968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9" name="Freeform: Shape 8">
              <a:extLst>
                <a:ext uri="{FF2B5EF4-FFF2-40B4-BE49-F238E27FC236}">
                  <a16:creationId xmlns:a16="http://schemas.microsoft.com/office/drawing/2014/main" id="{CFDE296C-0ED2-A4D4-F97C-C711A13E6D63}"/>
                </a:ext>
              </a:extLst>
            </p:cNvPr>
            <p:cNvSpPr/>
            <p:nvPr/>
          </p:nvSpPr>
          <p:spPr>
            <a:xfrm>
              <a:off x="5664724" y="1992024"/>
              <a:ext cx="1075641" cy="554141"/>
            </a:xfrm>
            <a:custGeom>
              <a:avLst/>
              <a:gdLst>
                <a:gd name="connsiteX0" fmla="*/ 315729 w 737840"/>
                <a:gd name="connsiteY0" fmla="*/ 138230 h 380115"/>
                <a:gd name="connsiteX1" fmla="*/ 367229 w 737840"/>
                <a:gd name="connsiteY1" fmla="*/ 138051 h 380115"/>
                <a:gd name="connsiteX2" fmla="*/ 357484 w 737840"/>
                <a:gd name="connsiteY2" fmla="*/ 90842 h 380115"/>
                <a:gd name="connsiteX3" fmla="*/ 285329 w 737840"/>
                <a:gd name="connsiteY3" fmla="*/ 130899 h 380115"/>
                <a:gd name="connsiteX4" fmla="*/ 208703 w 737840"/>
                <a:gd name="connsiteY4" fmla="*/ 109708 h 380115"/>
                <a:gd name="connsiteX5" fmla="*/ 190552 w 737840"/>
                <a:gd name="connsiteY5" fmla="*/ 109172 h 380115"/>
                <a:gd name="connsiteX6" fmla="*/ 165785 w 737840"/>
                <a:gd name="connsiteY6" fmla="*/ 105684 h 380115"/>
                <a:gd name="connsiteX7" fmla="*/ 112586 w 737840"/>
                <a:gd name="connsiteY7" fmla="*/ 105237 h 380115"/>
                <a:gd name="connsiteX8" fmla="*/ 73423 w 737840"/>
                <a:gd name="connsiteY8" fmla="*/ 97816 h 380115"/>
                <a:gd name="connsiteX9" fmla="*/ 98995 w 737840"/>
                <a:gd name="connsiteY9" fmla="*/ 73496 h 380115"/>
                <a:gd name="connsiteX10" fmla="*/ 92647 w 737840"/>
                <a:gd name="connsiteY10" fmla="*/ 45779 h 380115"/>
                <a:gd name="connsiteX11" fmla="*/ 170167 w 737840"/>
                <a:gd name="connsiteY11" fmla="*/ 47209 h 380115"/>
                <a:gd name="connsiteX12" fmla="*/ 185098 w 737840"/>
                <a:gd name="connsiteY12" fmla="*/ 26913 h 380115"/>
                <a:gd name="connsiteX13" fmla="*/ 267983 w 737840"/>
                <a:gd name="connsiteY13" fmla="*/ 35496 h 380115"/>
                <a:gd name="connsiteX14" fmla="*/ 321898 w 737840"/>
                <a:gd name="connsiteY14" fmla="*/ 33976 h 380115"/>
                <a:gd name="connsiteX15" fmla="*/ 429549 w 737840"/>
                <a:gd name="connsiteY15" fmla="*/ 34692 h 380115"/>
                <a:gd name="connsiteX16" fmla="*/ 446091 w 737840"/>
                <a:gd name="connsiteY16" fmla="*/ 0 h 380115"/>
                <a:gd name="connsiteX17" fmla="*/ 459145 w 737840"/>
                <a:gd name="connsiteY17" fmla="*/ 6348 h 380115"/>
                <a:gd name="connsiteX18" fmla="*/ 503314 w 737840"/>
                <a:gd name="connsiteY18" fmla="*/ 20654 h 380115"/>
                <a:gd name="connsiteX19" fmla="*/ 516994 w 737840"/>
                <a:gd name="connsiteY19" fmla="*/ 20028 h 380115"/>
                <a:gd name="connsiteX20" fmla="*/ 548825 w 737840"/>
                <a:gd name="connsiteY20" fmla="*/ 20743 h 380115"/>
                <a:gd name="connsiteX21" fmla="*/ 589864 w 737840"/>
                <a:gd name="connsiteY21" fmla="*/ 25393 h 380115"/>
                <a:gd name="connsiteX22" fmla="*/ 635196 w 737840"/>
                <a:gd name="connsiteY22" fmla="*/ 40056 h 380115"/>
                <a:gd name="connsiteX23" fmla="*/ 654598 w 737840"/>
                <a:gd name="connsiteY23" fmla="*/ 45689 h 380115"/>
                <a:gd name="connsiteX24" fmla="*/ 737841 w 737840"/>
                <a:gd name="connsiteY24" fmla="*/ 54809 h 380115"/>
                <a:gd name="connsiteX25" fmla="*/ 618566 w 737840"/>
                <a:gd name="connsiteY25" fmla="*/ 97906 h 380115"/>
                <a:gd name="connsiteX26" fmla="*/ 583427 w 737840"/>
                <a:gd name="connsiteY26" fmla="*/ 98084 h 380115"/>
                <a:gd name="connsiteX27" fmla="*/ 549182 w 737840"/>
                <a:gd name="connsiteY27" fmla="*/ 122404 h 380115"/>
                <a:gd name="connsiteX28" fmla="*/ 597643 w 737840"/>
                <a:gd name="connsiteY28" fmla="*/ 112212 h 380115"/>
                <a:gd name="connsiteX29" fmla="*/ 619996 w 737840"/>
                <a:gd name="connsiteY29" fmla="*/ 112212 h 380115"/>
                <a:gd name="connsiteX30" fmla="*/ 528439 w 737840"/>
                <a:gd name="connsiteY30" fmla="*/ 155218 h 380115"/>
                <a:gd name="connsiteX31" fmla="*/ 502599 w 737840"/>
                <a:gd name="connsiteY31" fmla="*/ 169346 h 380115"/>
                <a:gd name="connsiteX32" fmla="*/ 429102 w 737840"/>
                <a:gd name="connsiteY32" fmla="*/ 202875 h 380115"/>
                <a:gd name="connsiteX33" fmla="*/ 351493 w 737840"/>
                <a:gd name="connsiteY33" fmla="*/ 208329 h 380115"/>
                <a:gd name="connsiteX34" fmla="*/ 379032 w 737840"/>
                <a:gd name="connsiteY34" fmla="*/ 237030 h 380115"/>
                <a:gd name="connsiteX35" fmla="*/ 396467 w 737840"/>
                <a:gd name="connsiteY35" fmla="*/ 242574 h 380115"/>
                <a:gd name="connsiteX36" fmla="*/ 388063 w 737840"/>
                <a:gd name="connsiteY36" fmla="*/ 259472 h 380115"/>
                <a:gd name="connsiteX37" fmla="*/ 330839 w 737840"/>
                <a:gd name="connsiteY37" fmla="*/ 286832 h 380115"/>
                <a:gd name="connsiteX38" fmla="*/ 306877 w 737840"/>
                <a:gd name="connsiteY38" fmla="*/ 300512 h 380115"/>
                <a:gd name="connsiteX39" fmla="*/ 250190 w 737840"/>
                <a:gd name="connsiteY39" fmla="*/ 314282 h 380115"/>
                <a:gd name="connsiteX40" fmla="*/ 245272 w 737840"/>
                <a:gd name="connsiteY40" fmla="*/ 316785 h 380115"/>
                <a:gd name="connsiteX41" fmla="*/ 250190 w 737840"/>
                <a:gd name="connsiteY41" fmla="*/ 320719 h 380115"/>
                <a:gd name="connsiteX42" fmla="*/ 284882 w 737840"/>
                <a:gd name="connsiteY42" fmla="*/ 343698 h 380115"/>
                <a:gd name="connsiteX43" fmla="*/ 297131 w 737840"/>
                <a:gd name="connsiteY43" fmla="*/ 360060 h 380115"/>
                <a:gd name="connsiteX44" fmla="*/ 280053 w 737840"/>
                <a:gd name="connsiteY44" fmla="*/ 377943 h 380115"/>
                <a:gd name="connsiteX45" fmla="*/ 229357 w 737840"/>
                <a:gd name="connsiteY45" fmla="*/ 373114 h 380115"/>
                <a:gd name="connsiteX46" fmla="*/ 123583 w 737840"/>
                <a:gd name="connsiteY46" fmla="*/ 360060 h 380115"/>
                <a:gd name="connsiteX47" fmla="*/ 5381 w 737840"/>
                <a:gd name="connsiteY47" fmla="*/ 345129 h 380115"/>
                <a:gd name="connsiteX48" fmla="*/ 16 w 737840"/>
                <a:gd name="connsiteY48" fmla="*/ 334936 h 380115"/>
                <a:gd name="connsiteX49" fmla="*/ 15127 w 737840"/>
                <a:gd name="connsiteY49" fmla="*/ 316338 h 380115"/>
                <a:gd name="connsiteX50" fmla="*/ 79146 w 737840"/>
                <a:gd name="connsiteY50" fmla="*/ 310884 h 380115"/>
                <a:gd name="connsiteX51" fmla="*/ 78073 w 737840"/>
                <a:gd name="connsiteY51" fmla="*/ 300870 h 380115"/>
                <a:gd name="connsiteX52" fmla="*/ 51070 w 737840"/>
                <a:gd name="connsiteY52" fmla="*/ 283256 h 380115"/>
                <a:gd name="connsiteX53" fmla="*/ 68684 w 737840"/>
                <a:gd name="connsiteY53" fmla="*/ 271275 h 380115"/>
                <a:gd name="connsiteX54" fmla="*/ 110440 w 737840"/>
                <a:gd name="connsiteY54" fmla="*/ 274315 h 380115"/>
                <a:gd name="connsiteX55" fmla="*/ 187781 w 737840"/>
                <a:gd name="connsiteY55" fmla="*/ 307844 h 380115"/>
                <a:gd name="connsiteX56" fmla="*/ 202623 w 737840"/>
                <a:gd name="connsiteY56" fmla="*/ 289336 h 380115"/>
                <a:gd name="connsiteX57" fmla="*/ 182058 w 737840"/>
                <a:gd name="connsiteY57" fmla="*/ 285581 h 380115"/>
                <a:gd name="connsiteX58" fmla="*/ 151658 w 737840"/>
                <a:gd name="connsiteY58" fmla="*/ 284239 h 380115"/>
                <a:gd name="connsiteX59" fmla="*/ 158006 w 737840"/>
                <a:gd name="connsiteY59" fmla="*/ 250442 h 380115"/>
                <a:gd name="connsiteX60" fmla="*/ 102392 w 737840"/>
                <a:gd name="connsiteY60" fmla="*/ 255002 h 380115"/>
                <a:gd name="connsiteX61" fmla="*/ 87193 w 737840"/>
                <a:gd name="connsiteY61" fmla="*/ 245256 h 380115"/>
                <a:gd name="connsiteX62" fmla="*/ 94703 w 737840"/>
                <a:gd name="connsiteY62" fmla="*/ 228447 h 380115"/>
                <a:gd name="connsiteX63" fmla="*/ 171418 w 737840"/>
                <a:gd name="connsiteY63" fmla="*/ 218701 h 380115"/>
                <a:gd name="connsiteX64" fmla="*/ 191983 w 737840"/>
                <a:gd name="connsiteY64" fmla="*/ 225764 h 380115"/>
                <a:gd name="connsiteX65" fmla="*/ 187781 w 737840"/>
                <a:gd name="connsiteY65" fmla="*/ 222903 h 380115"/>
                <a:gd name="connsiteX66" fmla="*/ 179555 w 737840"/>
                <a:gd name="connsiteY66" fmla="*/ 203948 h 380115"/>
                <a:gd name="connsiteX67" fmla="*/ 189390 w 737840"/>
                <a:gd name="connsiteY67" fmla="*/ 198494 h 380115"/>
                <a:gd name="connsiteX68" fmla="*/ 182416 w 737840"/>
                <a:gd name="connsiteY68" fmla="*/ 192593 h 380115"/>
                <a:gd name="connsiteX69" fmla="*/ 158901 w 737840"/>
                <a:gd name="connsiteY69" fmla="*/ 149943 h 380115"/>
                <a:gd name="connsiteX70" fmla="*/ 216660 w 737840"/>
                <a:gd name="connsiteY70" fmla="*/ 160315 h 380115"/>
                <a:gd name="connsiteX71" fmla="*/ 237583 w 737840"/>
                <a:gd name="connsiteY71" fmla="*/ 180254 h 380115"/>
                <a:gd name="connsiteX72" fmla="*/ 262260 w 737840"/>
                <a:gd name="connsiteY72" fmla="*/ 171581 h 380115"/>
                <a:gd name="connsiteX73" fmla="*/ 288816 w 737840"/>
                <a:gd name="connsiteY73" fmla="*/ 156381 h 380115"/>
                <a:gd name="connsiteX74" fmla="*/ 316176 w 737840"/>
                <a:gd name="connsiteY74" fmla="*/ 138409 h 3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37840" h="380115">
                  <a:moveTo>
                    <a:pt x="315729" y="138230"/>
                  </a:moveTo>
                  <a:cubicBezTo>
                    <a:pt x="329230" y="131167"/>
                    <a:pt x="343893" y="131703"/>
                    <a:pt x="367229" y="138051"/>
                  </a:cubicBezTo>
                  <a:cubicBezTo>
                    <a:pt x="352656" y="119990"/>
                    <a:pt x="337992" y="110870"/>
                    <a:pt x="357484" y="90842"/>
                  </a:cubicBezTo>
                  <a:cubicBezTo>
                    <a:pt x="322792" y="99336"/>
                    <a:pt x="308039" y="121421"/>
                    <a:pt x="285329" y="130899"/>
                  </a:cubicBezTo>
                  <a:cubicBezTo>
                    <a:pt x="244825" y="147708"/>
                    <a:pt x="236778" y="146903"/>
                    <a:pt x="208703" y="109708"/>
                  </a:cubicBezTo>
                  <a:cubicBezTo>
                    <a:pt x="201997" y="100767"/>
                    <a:pt x="196096" y="106221"/>
                    <a:pt x="190552" y="109172"/>
                  </a:cubicBezTo>
                  <a:cubicBezTo>
                    <a:pt x="180985" y="114357"/>
                    <a:pt x="172491" y="117934"/>
                    <a:pt x="165785" y="105684"/>
                  </a:cubicBezTo>
                  <a:cubicBezTo>
                    <a:pt x="148171" y="98174"/>
                    <a:pt x="130468" y="99336"/>
                    <a:pt x="112586" y="105237"/>
                  </a:cubicBezTo>
                  <a:cubicBezTo>
                    <a:pt x="98906" y="105774"/>
                    <a:pt x="85941" y="102823"/>
                    <a:pt x="73423" y="97816"/>
                  </a:cubicBezTo>
                  <a:cubicBezTo>
                    <a:pt x="73781" y="81186"/>
                    <a:pt x="93451" y="84673"/>
                    <a:pt x="98995" y="73496"/>
                  </a:cubicBezTo>
                  <a:cubicBezTo>
                    <a:pt x="90143" y="65807"/>
                    <a:pt x="84242" y="57492"/>
                    <a:pt x="92647" y="45779"/>
                  </a:cubicBezTo>
                  <a:cubicBezTo>
                    <a:pt x="118755" y="32367"/>
                    <a:pt x="144416" y="42113"/>
                    <a:pt x="170167" y="47209"/>
                  </a:cubicBezTo>
                  <a:cubicBezTo>
                    <a:pt x="191357" y="52395"/>
                    <a:pt x="174637" y="29685"/>
                    <a:pt x="185098" y="26913"/>
                  </a:cubicBezTo>
                  <a:cubicBezTo>
                    <a:pt x="214962" y="8584"/>
                    <a:pt x="241070" y="23783"/>
                    <a:pt x="267983" y="35496"/>
                  </a:cubicBezTo>
                  <a:cubicBezTo>
                    <a:pt x="285507" y="43096"/>
                    <a:pt x="298919" y="57134"/>
                    <a:pt x="321898" y="33976"/>
                  </a:cubicBezTo>
                  <a:cubicBezTo>
                    <a:pt x="350778" y="5007"/>
                    <a:pt x="393070" y="9120"/>
                    <a:pt x="429549" y="34692"/>
                  </a:cubicBezTo>
                  <a:cubicBezTo>
                    <a:pt x="413545" y="7958"/>
                    <a:pt x="425526" y="984"/>
                    <a:pt x="446091" y="0"/>
                  </a:cubicBezTo>
                  <a:cubicBezTo>
                    <a:pt x="450472" y="2146"/>
                    <a:pt x="454853" y="4292"/>
                    <a:pt x="459145" y="6348"/>
                  </a:cubicBezTo>
                  <a:cubicBezTo>
                    <a:pt x="473898" y="10908"/>
                    <a:pt x="490528" y="9925"/>
                    <a:pt x="503314" y="20654"/>
                  </a:cubicBezTo>
                  <a:cubicBezTo>
                    <a:pt x="507963" y="23426"/>
                    <a:pt x="512792" y="28969"/>
                    <a:pt x="516994" y="20028"/>
                  </a:cubicBezTo>
                  <a:cubicBezTo>
                    <a:pt x="527902" y="8405"/>
                    <a:pt x="538185" y="21548"/>
                    <a:pt x="548825" y="20743"/>
                  </a:cubicBezTo>
                  <a:cubicBezTo>
                    <a:pt x="561968" y="26823"/>
                    <a:pt x="576542" y="20296"/>
                    <a:pt x="589864" y="25393"/>
                  </a:cubicBezTo>
                  <a:cubicBezTo>
                    <a:pt x="603544" y="34602"/>
                    <a:pt x="618476" y="40146"/>
                    <a:pt x="635196" y="40056"/>
                  </a:cubicBezTo>
                  <a:cubicBezTo>
                    <a:pt x="640114" y="47120"/>
                    <a:pt x="645925" y="51322"/>
                    <a:pt x="654598" y="45689"/>
                  </a:cubicBezTo>
                  <a:cubicBezTo>
                    <a:pt x="683657" y="28612"/>
                    <a:pt x="705474" y="58386"/>
                    <a:pt x="737841" y="54809"/>
                  </a:cubicBezTo>
                  <a:cubicBezTo>
                    <a:pt x="702165" y="93614"/>
                    <a:pt x="659158" y="92809"/>
                    <a:pt x="618566" y="97906"/>
                  </a:cubicBezTo>
                  <a:cubicBezTo>
                    <a:pt x="607031" y="99336"/>
                    <a:pt x="595140" y="98084"/>
                    <a:pt x="583427" y="98084"/>
                  </a:cubicBezTo>
                  <a:cubicBezTo>
                    <a:pt x="581281" y="119096"/>
                    <a:pt x="561610" y="115699"/>
                    <a:pt x="549182" y="122404"/>
                  </a:cubicBezTo>
                  <a:cubicBezTo>
                    <a:pt x="564382" y="114357"/>
                    <a:pt x="581639" y="116414"/>
                    <a:pt x="597643" y="112212"/>
                  </a:cubicBezTo>
                  <a:lnTo>
                    <a:pt x="619996" y="112212"/>
                  </a:lnTo>
                  <a:cubicBezTo>
                    <a:pt x="587987" y="124014"/>
                    <a:pt x="567333" y="158706"/>
                    <a:pt x="528439" y="155218"/>
                  </a:cubicBezTo>
                  <a:cubicBezTo>
                    <a:pt x="520034" y="154503"/>
                    <a:pt x="505549" y="162103"/>
                    <a:pt x="502599" y="169346"/>
                  </a:cubicBezTo>
                  <a:cubicBezTo>
                    <a:pt x="488025" y="204931"/>
                    <a:pt x="457088" y="198315"/>
                    <a:pt x="429102" y="202875"/>
                  </a:cubicBezTo>
                  <a:cubicBezTo>
                    <a:pt x="403352" y="207077"/>
                    <a:pt x="379300" y="225228"/>
                    <a:pt x="351493" y="208329"/>
                  </a:cubicBezTo>
                  <a:cubicBezTo>
                    <a:pt x="353755" y="227045"/>
                    <a:pt x="362938" y="236613"/>
                    <a:pt x="379032" y="237030"/>
                  </a:cubicBezTo>
                  <a:cubicBezTo>
                    <a:pt x="385470" y="237209"/>
                    <a:pt x="392980" y="235510"/>
                    <a:pt x="396467" y="242574"/>
                  </a:cubicBezTo>
                  <a:cubicBezTo>
                    <a:pt x="400491" y="250889"/>
                    <a:pt x="383413" y="249995"/>
                    <a:pt x="388063" y="259472"/>
                  </a:cubicBezTo>
                  <a:cubicBezTo>
                    <a:pt x="367855" y="265910"/>
                    <a:pt x="361060" y="299350"/>
                    <a:pt x="330839" y="286832"/>
                  </a:cubicBezTo>
                  <a:cubicBezTo>
                    <a:pt x="320110" y="282362"/>
                    <a:pt x="312241" y="293896"/>
                    <a:pt x="306877" y="300512"/>
                  </a:cubicBezTo>
                  <a:cubicBezTo>
                    <a:pt x="290872" y="320451"/>
                    <a:pt x="272632" y="324117"/>
                    <a:pt x="250190" y="314282"/>
                  </a:cubicBezTo>
                  <a:cubicBezTo>
                    <a:pt x="247597" y="313566"/>
                    <a:pt x="245094" y="314460"/>
                    <a:pt x="245272" y="316785"/>
                  </a:cubicBezTo>
                  <a:cubicBezTo>
                    <a:pt x="245272" y="317858"/>
                    <a:pt x="248670" y="319020"/>
                    <a:pt x="250190" y="320719"/>
                  </a:cubicBezTo>
                  <a:cubicBezTo>
                    <a:pt x="262350" y="327336"/>
                    <a:pt x="270039" y="340032"/>
                    <a:pt x="284882" y="343698"/>
                  </a:cubicBezTo>
                  <a:cubicBezTo>
                    <a:pt x="289620" y="344860"/>
                    <a:pt x="299903" y="349867"/>
                    <a:pt x="297131" y="360060"/>
                  </a:cubicBezTo>
                  <a:cubicBezTo>
                    <a:pt x="294717" y="368912"/>
                    <a:pt x="289442" y="375707"/>
                    <a:pt x="280053" y="377943"/>
                  </a:cubicBezTo>
                  <a:cubicBezTo>
                    <a:pt x="262618" y="382056"/>
                    <a:pt x="244557" y="380267"/>
                    <a:pt x="229357" y="373114"/>
                  </a:cubicBezTo>
                  <a:cubicBezTo>
                    <a:pt x="194844" y="356752"/>
                    <a:pt x="163461" y="354249"/>
                    <a:pt x="123583" y="360060"/>
                  </a:cubicBezTo>
                  <a:cubicBezTo>
                    <a:pt x="87908" y="365246"/>
                    <a:pt x="43381" y="361849"/>
                    <a:pt x="5381" y="345129"/>
                  </a:cubicBezTo>
                  <a:cubicBezTo>
                    <a:pt x="16" y="342804"/>
                    <a:pt x="-73" y="338959"/>
                    <a:pt x="16" y="334936"/>
                  </a:cubicBezTo>
                  <a:cubicBezTo>
                    <a:pt x="285" y="325011"/>
                    <a:pt x="6007" y="316875"/>
                    <a:pt x="15127" y="316338"/>
                  </a:cubicBezTo>
                  <a:cubicBezTo>
                    <a:pt x="36675" y="314997"/>
                    <a:pt x="56346" y="302301"/>
                    <a:pt x="79146" y="310884"/>
                  </a:cubicBezTo>
                  <a:cubicBezTo>
                    <a:pt x="78520" y="304715"/>
                    <a:pt x="79146" y="301943"/>
                    <a:pt x="78073" y="300870"/>
                  </a:cubicBezTo>
                  <a:cubicBezTo>
                    <a:pt x="69936" y="293449"/>
                    <a:pt x="51696" y="299708"/>
                    <a:pt x="51070" y="283256"/>
                  </a:cubicBezTo>
                  <a:cubicBezTo>
                    <a:pt x="50713" y="274404"/>
                    <a:pt x="62157" y="273689"/>
                    <a:pt x="68684" y="271275"/>
                  </a:cubicBezTo>
                  <a:cubicBezTo>
                    <a:pt x="82633" y="266089"/>
                    <a:pt x="96134" y="259651"/>
                    <a:pt x="110440" y="274315"/>
                  </a:cubicBezTo>
                  <a:cubicBezTo>
                    <a:pt x="131183" y="295505"/>
                    <a:pt x="154341" y="313835"/>
                    <a:pt x="187781" y="307844"/>
                  </a:cubicBezTo>
                  <a:cubicBezTo>
                    <a:pt x="199136" y="305788"/>
                    <a:pt x="206557" y="302748"/>
                    <a:pt x="202623" y="289336"/>
                  </a:cubicBezTo>
                  <a:cubicBezTo>
                    <a:pt x="198242" y="274494"/>
                    <a:pt x="189390" y="283345"/>
                    <a:pt x="182058" y="285581"/>
                  </a:cubicBezTo>
                  <a:cubicBezTo>
                    <a:pt x="171686" y="288710"/>
                    <a:pt x="161136" y="293717"/>
                    <a:pt x="151658" y="284239"/>
                  </a:cubicBezTo>
                  <a:cubicBezTo>
                    <a:pt x="137978" y="270559"/>
                    <a:pt x="159616" y="264301"/>
                    <a:pt x="158006" y="250442"/>
                  </a:cubicBezTo>
                  <a:cubicBezTo>
                    <a:pt x="140214" y="263049"/>
                    <a:pt x="121079" y="252141"/>
                    <a:pt x="102392" y="255002"/>
                  </a:cubicBezTo>
                  <a:cubicBezTo>
                    <a:pt x="95508" y="256075"/>
                    <a:pt x="89249" y="252141"/>
                    <a:pt x="87193" y="245256"/>
                  </a:cubicBezTo>
                  <a:cubicBezTo>
                    <a:pt x="84957" y="238103"/>
                    <a:pt x="89607" y="232738"/>
                    <a:pt x="94703" y="228447"/>
                  </a:cubicBezTo>
                  <a:cubicBezTo>
                    <a:pt x="118129" y="208597"/>
                    <a:pt x="144237" y="209134"/>
                    <a:pt x="171418" y="218701"/>
                  </a:cubicBezTo>
                  <a:cubicBezTo>
                    <a:pt x="179555" y="217628"/>
                    <a:pt x="185545" y="222814"/>
                    <a:pt x="191983" y="225764"/>
                  </a:cubicBezTo>
                  <a:cubicBezTo>
                    <a:pt x="191268" y="223618"/>
                    <a:pt x="188764" y="224423"/>
                    <a:pt x="187781" y="222903"/>
                  </a:cubicBezTo>
                  <a:cubicBezTo>
                    <a:pt x="181522" y="218075"/>
                    <a:pt x="169630" y="215750"/>
                    <a:pt x="179555" y="203948"/>
                  </a:cubicBezTo>
                  <a:cubicBezTo>
                    <a:pt x="183668" y="203411"/>
                    <a:pt x="188943" y="203948"/>
                    <a:pt x="189390" y="198494"/>
                  </a:cubicBezTo>
                  <a:cubicBezTo>
                    <a:pt x="189569" y="196795"/>
                    <a:pt x="183847" y="195185"/>
                    <a:pt x="182416" y="192593"/>
                  </a:cubicBezTo>
                  <a:cubicBezTo>
                    <a:pt x="173832" y="177929"/>
                    <a:pt x="138157" y="171849"/>
                    <a:pt x="158901" y="149943"/>
                  </a:cubicBezTo>
                  <a:cubicBezTo>
                    <a:pt x="170524" y="137604"/>
                    <a:pt x="198242" y="151284"/>
                    <a:pt x="216660" y="160315"/>
                  </a:cubicBezTo>
                  <a:cubicBezTo>
                    <a:pt x="224886" y="164338"/>
                    <a:pt x="229983" y="174353"/>
                    <a:pt x="237583" y="180254"/>
                  </a:cubicBezTo>
                  <a:cubicBezTo>
                    <a:pt x="251710" y="191251"/>
                    <a:pt x="255286" y="189284"/>
                    <a:pt x="262260" y="171581"/>
                  </a:cubicBezTo>
                  <a:cubicBezTo>
                    <a:pt x="266820" y="159957"/>
                    <a:pt x="278265" y="158527"/>
                    <a:pt x="288816" y="156381"/>
                  </a:cubicBezTo>
                  <a:cubicBezTo>
                    <a:pt x="301333" y="155576"/>
                    <a:pt x="309470" y="148066"/>
                    <a:pt x="316176" y="1384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0" name="Freeform: Shape 9">
              <a:extLst>
                <a:ext uri="{FF2B5EF4-FFF2-40B4-BE49-F238E27FC236}">
                  <a16:creationId xmlns:a16="http://schemas.microsoft.com/office/drawing/2014/main" id="{E1C97CB5-C968-04F7-1CF0-3FA84EB48211}"/>
                </a:ext>
              </a:extLst>
            </p:cNvPr>
            <p:cNvSpPr/>
            <p:nvPr/>
          </p:nvSpPr>
          <p:spPr>
            <a:xfrm>
              <a:off x="13363528" y="6466324"/>
              <a:ext cx="435095" cy="508192"/>
            </a:xfrm>
            <a:custGeom>
              <a:avLst/>
              <a:gdLst>
                <a:gd name="connsiteX0" fmla="*/ 249190 w 298455"/>
                <a:gd name="connsiteY0" fmla="*/ 92252 h 348595"/>
                <a:gd name="connsiteX1" fmla="*/ 298456 w 298455"/>
                <a:gd name="connsiteY1" fmla="*/ 194897 h 348595"/>
                <a:gd name="connsiteX2" fmla="*/ 276282 w 298455"/>
                <a:gd name="connsiteY2" fmla="*/ 199278 h 348595"/>
                <a:gd name="connsiteX3" fmla="*/ 269129 w 298455"/>
                <a:gd name="connsiteY3" fmla="*/ 215372 h 348595"/>
                <a:gd name="connsiteX4" fmla="*/ 273152 w 298455"/>
                <a:gd name="connsiteY4" fmla="*/ 223330 h 348595"/>
                <a:gd name="connsiteX5" fmla="*/ 219327 w 298455"/>
                <a:gd name="connsiteY5" fmla="*/ 332144 h 348595"/>
                <a:gd name="connsiteX6" fmla="*/ 197868 w 298455"/>
                <a:gd name="connsiteY6" fmla="*/ 348595 h 348595"/>
                <a:gd name="connsiteX7" fmla="*/ 163713 w 298455"/>
                <a:gd name="connsiteY7" fmla="*/ 318464 h 348595"/>
                <a:gd name="connsiteX8" fmla="*/ 69741 w 298455"/>
                <a:gd name="connsiteY8" fmla="*/ 308181 h 348595"/>
                <a:gd name="connsiteX9" fmla="*/ 54094 w 298455"/>
                <a:gd name="connsiteY9" fmla="*/ 281090 h 348595"/>
                <a:gd name="connsiteX10" fmla="*/ 0 w 298455"/>
                <a:gd name="connsiteY10" fmla="*/ 194092 h 348595"/>
                <a:gd name="connsiteX11" fmla="*/ 1162 w 298455"/>
                <a:gd name="connsiteY11" fmla="*/ 192572 h 348595"/>
                <a:gd name="connsiteX12" fmla="*/ 357 w 298455"/>
                <a:gd name="connsiteY12" fmla="*/ 190873 h 348595"/>
                <a:gd name="connsiteX13" fmla="*/ 66969 w 298455"/>
                <a:gd name="connsiteY13" fmla="*/ 179607 h 348595"/>
                <a:gd name="connsiteX14" fmla="*/ 93256 w 298455"/>
                <a:gd name="connsiteY14" fmla="*/ 133829 h 348595"/>
                <a:gd name="connsiteX15" fmla="*/ 137336 w 298455"/>
                <a:gd name="connsiteY15" fmla="*/ 95918 h 348595"/>
                <a:gd name="connsiteX16" fmla="*/ 169971 w 298455"/>
                <a:gd name="connsiteY16" fmla="*/ 60511 h 348595"/>
                <a:gd name="connsiteX17" fmla="*/ 200908 w 298455"/>
                <a:gd name="connsiteY17" fmla="*/ 9547 h 348595"/>
                <a:gd name="connsiteX18" fmla="*/ 215750 w 298455"/>
                <a:gd name="connsiteY18" fmla="*/ 5166 h 348595"/>
                <a:gd name="connsiteX19" fmla="*/ 291929 w 298455"/>
                <a:gd name="connsiteY19" fmla="*/ 56935 h 348595"/>
                <a:gd name="connsiteX20" fmla="*/ 267609 w 298455"/>
                <a:gd name="connsiteY20" fmla="*/ 77678 h 348595"/>
                <a:gd name="connsiteX21" fmla="*/ 249190 w 298455"/>
                <a:gd name="connsiteY21" fmla="*/ 92252 h 34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8455" h="348595">
                  <a:moveTo>
                    <a:pt x="249190" y="92252"/>
                  </a:moveTo>
                  <a:cubicBezTo>
                    <a:pt x="245077" y="136422"/>
                    <a:pt x="287905" y="156718"/>
                    <a:pt x="298456" y="194897"/>
                  </a:cubicBezTo>
                  <a:cubicBezTo>
                    <a:pt x="293717" y="200440"/>
                    <a:pt x="283792" y="195612"/>
                    <a:pt x="276282" y="199278"/>
                  </a:cubicBezTo>
                  <a:cubicBezTo>
                    <a:pt x="269308" y="202676"/>
                    <a:pt x="256164" y="202944"/>
                    <a:pt x="269129" y="215372"/>
                  </a:cubicBezTo>
                  <a:cubicBezTo>
                    <a:pt x="271185" y="217339"/>
                    <a:pt x="273242" y="223240"/>
                    <a:pt x="273152" y="223330"/>
                  </a:cubicBezTo>
                  <a:cubicBezTo>
                    <a:pt x="228983" y="246755"/>
                    <a:pt x="258578" y="306482"/>
                    <a:pt x="219327" y="332144"/>
                  </a:cubicBezTo>
                  <a:cubicBezTo>
                    <a:pt x="213068" y="336167"/>
                    <a:pt x="207524" y="341174"/>
                    <a:pt x="197868" y="348595"/>
                  </a:cubicBezTo>
                  <a:cubicBezTo>
                    <a:pt x="195365" y="326064"/>
                    <a:pt x="188033" y="317391"/>
                    <a:pt x="163713" y="318464"/>
                  </a:cubicBezTo>
                  <a:cubicBezTo>
                    <a:pt x="132865" y="319805"/>
                    <a:pt x="102197" y="305767"/>
                    <a:pt x="69741" y="308181"/>
                  </a:cubicBezTo>
                  <a:cubicBezTo>
                    <a:pt x="50696" y="309612"/>
                    <a:pt x="60263" y="290031"/>
                    <a:pt x="54094" y="281090"/>
                  </a:cubicBezTo>
                  <a:cubicBezTo>
                    <a:pt x="34781" y="253014"/>
                    <a:pt x="17882" y="223240"/>
                    <a:pt x="0" y="194092"/>
                  </a:cubicBezTo>
                  <a:lnTo>
                    <a:pt x="1162" y="192572"/>
                  </a:lnTo>
                  <a:lnTo>
                    <a:pt x="357" y="190873"/>
                  </a:lnTo>
                  <a:cubicBezTo>
                    <a:pt x="19492" y="171650"/>
                    <a:pt x="44438" y="187744"/>
                    <a:pt x="66969" y="179607"/>
                  </a:cubicBezTo>
                  <a:cubicBezTo>
                    <a:pt x="48640" y="149386"/>
                    <a:pt x="71887" y="139551"/>
                    <a:pt x="93256" y="133829"/>
                  </a:cubicBezTo>
                  <a:cubicBezTo>
                    <a:pt x="115520" y="127927"/>
                    <a:pt x="127858" y="116841"/>
                    <a:pt x="137336" y="95918"/>
                  </a:cubicBezTo>
                  <a:cubicBezTo>
                    <a:pt x="143327" y="82506"/>
                    <a:pt x="150390" y="68290"/>
                    <a:pt x="169971" y="60511"/>
                  </a:cubicBezTo>
                  <a:cubicBezTo>
                    <a:pt x="184903" y="54610"/>
                    <a:pt x="192950" y="28144"/>
                    <a:pt x="200908" y="9547"/>
                  </a:cubicBezTo>
                  <a:cubicBezTo>
                    <a:pt x="205557" y="-1362"/>
                    <a:pt x="210296" y="-3060"/>
                    <a:pt x="215750" y="5166"/>
                  </a:cubicBezTo>
                  <a:cubicBezTo>
                    <a:pt x="234437" y="33151"/>
                    <a:pt x="263407" y="45758"/>
                    <a:pt x="291929" y="56935"/>
                  </a:cubicBezTo>
                  <a:cubicBezTo>
                    <a:pt x="291214" y="75443"/>
                    <a:pt x="267609" y="60780"/>
                    <a:pt x="267609" y="77678"/>
                  </a:cubicBezTo>
                  <a:cubicBezTo>
                    <a:pt x="270827" y="94398"/>
                    <a:pt x="250889" y="81702"/>
                    <a:pt x="249190" y="9225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1" name="Freeform: Shape 10">
              <a:extLst>
                <a:ext uri="{FF2B5EF4-FFF2-40B4-BE49-F238E27FC236}">
                  <a16:creationId xmlns:a16="http://schemas.microsoft.com/office/drawing/2014/main" id="{3050D5AF-5AAA-807D-7662-70C44ECD3F9F}"/>
                </a:ext>
              </a:extLst>
            </p:cNvPr>
            <p:cNvSpPr/>
            <p:nvPr/>
          </p:nvSpPr>
          <p:spPr>
            <a:xfrm>
              <a:off x="10595514" y="7420636"/>
              <a:ext cx="328553" cy="589747"/>
            </a:xfrm>
            <a:custGeom>
              <a:avLst/>
              <a:gdLst>
                <a:gd name="connsiteX0" fmla="*/ 78487 w 225372"/>
                <a:gd name="connsiteY0" fmla="*/ 401317 h 404539"/>
                <a:gd name="connsiteX1" fmla="*/ 26807 w 225372"/>
                <a:gd name="connsiteY1" fmla="*/ 369934 h 404539"/>
                <a:gd name="connsiteX2" fmla="*/ 2309 w 225372"/>
                <a:gd name="connsiteY2" fmla="*/ 311637 h 404539"/>
                <a:gd name="connsiteX3" fmla="*/ 16346 w 225372"/>
                <a:gd name="connsiteY3" fmla="*/ 269167 h 404539"/>
                <a:gd name="connsiteX4" fmla="*/ 30563 w 225372"/>
                <a:gd name="connsiteY4" fmla="*/ 207294 h 404539"/>
                <a:gd name="connsiteX5" fmla="*/ 41560 w 225372"/>
                <a:gd name="connsiteY5" fmla="*/ 124946 h 404539"/>
                <a:gd name="connsiteX6" fmla="*/ 58191 w 225372"/>
                <a:gd name="connsiteY6" fmla="*/ 116362 h 404539"/>
                <a:gd name="connsiteX7" fmla="*/ 154845 w 225372"/>
                <a:gd name="connsiteY7" fmla="*/ 27756 h 404539"/>
                <a:gd name="connsiteX8" fmla="*/ 195884 w 225372"/>
                <a:gd name="connsiteY8" fmla="*/ 12466 h 404539"/>
                <a:gd name="connsiteX9" fmla="*/ 210191 w 225372"/>
                <a:gd name="connsiteY9" fmla="*/ 38843 h 404539"/>
                <a:gd name="connsiteX10" fmla="*/ 217701 w 225372"/>
                <a:gd name="connsiteY10" fmla="*/ 51181 h 404539"/>
                <a:gd name="connsiteX11" fmla="*/ 224407 w 225372"/>
                <a:gd name="connsiteY11" fmla="*/ 96871 h 404539"/>
                <a:gd name="connsiteX12" fmla="*/ 224049 w 225372"/>
                <a:gd name="connsiteY12" fmla="*/ 104650 h 404539"/>
                <a:gd name="connsiteX13" fmla="*/ 202501 w 225372"/>
                <a:gd name="connsiteY13" fmla="*/ 119134 h 404539"/>
                <a:gd name="connsiteX14" fmla="*/ 196957 w 225372"/>
                <a:gd name="connsiteY14" fmla="*/ 154720 h 404539"/>
                <a:gd name="connsiteX15" fmla="*/ 196957 w 225372"/>
                <a:gd name="connsiteY15" fmla="*/ 177609 h 404539"/>
                <a:gd name="connsiteX16" fmla="*/ 151089 w 225372"/>
                <a:gd name="connsiteY16" fmla="*/ 306809 h 404539"/>
                <a:gd name="connsiteX17" fmla="*/ 138303 w 225372"/>
                <a:gd name="connsiteY17" fmla="*/ 352945 h 404539"/>
                <a:gd name="connsiteX18" fmla="*/ 92793 w 225372"/>
                <a:gd name="connsiteY18" fmla="*/ 398545 h 404539"/>
                <a:gd name="connsiteX19" fmla="*/ 78666 w 225372"/>
                <a:gd name="connsiteY19" fmla="*/ 401317 h 40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372" h="404539">
                  <a:moveTo>
                    <a:pt x="78487" y="401317"/>
                  </a:moveTo>
                  <a:cubicBezTo>
                    <a:pt x="54257" y="403105"/>
                    <a:pt x="26718" y="416785"/>
                    <a:pt x="26807" y="369934"/>
                  </a:cubicBezTo>
                  <a:cubicBezTo>
                    <a:pt x="26807" y="352767"/>
                    <a:pt x="8568" y="333007"/>
                    <a:pt x="2309" y="311637"/>
                  </a:cubicBezTo>
                  <a:cubicBezTo>
                    <a:pt x="-3861" y="290715"/>
                    <a:pt x="2845" y="278197"/>
                    <a:pt x="16346" y="269167"/>
                  </a:cubicBezTo>
                  <a:cubicBezTo>
                    <a:pt x="41918" y="252089"/>
                    <a:pt x="39504" y="230273"/>
                    <a:pt x="30563" y="207294"/>
                  </a:cubicBezTo>
                  <a:cubicBezTo>
                    <a:pt x="18850" y="177341"/>
                    <a:pt x="25377" y="150786"/>
                    <a:pt x="41560" y="124946"/>
                  </a:cubicBezTo>
                  <a:cubicBezTo>
                    <a:pt x="45494" y="118598"/>
                    <a:pt x="51843" y="117078"/>
                    <a:pt x="58191" y="116362"/>
                  </a:cubicBezTo>
                  <a:cubicBezTo>
                    <a:pt x="112285" y="110819"/>
                    <a:pt x="139466" y="67812"/>
                    <a:pt x="154845" y="27756"/>
                  </a:cubicBezTo>
                  <a:cubicBezTo>
                    <a:pt x="167541" y="-5416"/>
                    <a:pt x="172548" y="-6668"/>
                    <a:pt x="195884" y="12466"/>
                  </a:cubicBezTo>
                  <a:cubicBezTo>
                    <a:pt x="203038" y="19977"/>
                    <a:pt x="203306" y="31243"/>
                    <a:pt x="210191" y="38843"/>
                  </a:cubicBezTo>
                  <a:cubicBezTo>
                    <a:pt x="212694" y="42956"/>
                    <a:pt x="215198" y="47069"/>
                    <a:pt x="217701" y="51181"/>
                  </a:cubicBezTo>
                  <a:cubicBezTo>
                    <a:pt x="213052" y="67454"/>
                    <a:pt x="218416" y="82207"/>
                    <a:pt x="224407" y="96871"/>
                  </a:cubicBezTo>
                  <a:cubicBezTo>
                    <a:pt x="225748" y="99553"/>
                    <a:pt x="225748" y="102146"/>
                    <a:pt x="224049" y="104650"/>
                  </a:cubicBezTo>
                  <a:cubicBezTo>
                    <a:pt x="216539" y="108941"/>
                    <a:pt x="205452" y="108047"/>
                    <a:pt x="202501" y="119134"/>
                  </a:cubicBezTo>
                  <a:cubicBezTo>
                    <a:pt x="197673" y="130579"/>
                    <a:pt x="193739" y="142024"/>
                    <a:pt x="196957" y="154720"/>
                  </a:cubicBezTo>
                  <a:cubicBezTo>
                    <a:pt x="198388" y="162409"/>
                    <a:pt x="198478" y="170009"/>
                    <a:pt x="196957" y="177609"/>
                  </a:cubicBezTo>
                  <a:cubicBezTo>
                    <a:pt x="183009" y="221153"/>
                    <a:pt x="171207" y="265412"/>
                    <a:pt x="151089" y="306809"/>
                  </a:cubicBezTo>
                  <a:cubicBezTo>
                    <a:pt x="141880" y="320847"/>
                    <a:pt x="140360" y="336941"/>
                    <a:pt x="138303" y="352945"/>
                  </a:cubicBezTo>
                  <a:cubicBezTo>
                    <a:pt x="127932" y="372974"/>
                    <a:pt x="123908" y="399350"/>
                    <a:pt x="92793" y="398545"/>
                  </a:cubicBezTo>
                  <a:cubicBezTo>
                    <a:pt x="87697" y="397472"/>
                    <a:pt x="82600" y="396668"/>
                    <a:pt x="78666" y="4013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2" name="Freeform: Shape 11">
              <a:extLst>
                <a:ext uri="{FF2B5EF4-FFF2-40B4-BE49-F238E27FC236}">
                  <a16:creationId xmlns:a16="http://schemas.microsoft.com/office/drawing/2014/main" id="{9D5DEE05-7BD4-EA06-8766-E53C906AABFF}"/>
                </a:ext>
              </a:extLst>
            </p:cNvPr>
            <p:cNvSpPr/>
            <p:nvPr/>
          </p:nvSpPr>
          <p:spPr>
            <a:xfrm>
              <a:off x="8414667" y="3900073"/>
              <a:ext cx="298978" cy="568139"/>
            </a:xfrm>
            <a:custGeom>
              <a:avLst/>
              <a:gdLst>
                <a:gd name="connsiteX0" fmla="*/ 175604 w 205085"/>
                <a:gd name="connsiteY0" fmla="*/ 247822 h 389717"/>
                <a:gd name="connsiteX1" fmla="*/ 179091 w 205085"/>
                <a:gd name="connsiteY1" fmla="*/ 316043 h 389717"/>
                <a:gd name="connsiteX2" fmla="*/ 198494 w 205085"/>
                <a:gd name="connsiteY2" fmla="*/ 331600 h 389717"/>
                <a:gd name="connsiteX3" fmla="*/ 177124 w 205085"/>
                <a:gd name="connsiteY3" fmla="*/ 349751 h 389717"/>
                <a:gd name="connsiteX4" fmla="*/ 97995 w 205085"/>
                <a:gd name="connsiteY4" fmla="*/ 357262 h 389717"/>
                <a:gd name="connsiteX5" fmla="*/ 83600 w 205085"/>
                <a:gd name="connsiteY5" fmla="*/ 358960 h 389717"/>
                <a:gd name="connsiteX6" fmla="*/ 9835 w 205085"/>
                <a:gd name="connsiteY6" fmla="*/ 389718 h 389717"/>
                <a:gd name="connsiteX7" fmla="*/ 87623 w 205085"/>
                <a:gd name="connsiteY7" fmla="*/ 332942 h 389717"/>
                <a:gd name="connsiteX8" fmla="*/ 40146 w 205085"/>
                <a:gd name="connsiteY8" fmla="*/ 319619 h 389717"/>
                <a:gd name="connsiteX9" fmla="*/ 28880 w 205085"/>
                <a:gd name="connsiteY9" fmla="*/ 316400 h 389717"/>
                <a:gd name="connsiteX10" fmla="*/ 29774 w 205085"/>
                <a:gd name="connsiteY10" fmla="*/ 307906 h 389717"/>
                <a:gd name="connsiteX11" fmla="*/ 60710 w 205085"/>
                <a:gd name="connsiteY11" fmla="*/ 248716 h 389717"/>
                <a:gd name="connsiteX12" fmla="*/ 71976 w 205085"/>
                <a:gd name="connsiteY12" fmla="*/ 212951 h 389717"/>
                <a:gd name="connsiteX13" fmla="*/ 71350 w 205085"/>
                <a:gd name="connsiteY13" fmla="*/ 174773 h 389717"/>
                <a:gd name="connsiteX14" fmla="*/ 25125 w 205085"/>
                <a:gd name="connsiteY14" fmla="*/ 169944 h 389717"/>
                <a:gd name="connsiteX15" fmla="*/ 18687 w 205085"/>
                <a:gd name="connsiteY15" fmla="*/ 152956 h 389717"/>
                <a:gd name="connsiteX16" fmla="*/ 20028 w 205085"/>
                <a:gd name="connsiteY16" fmla="*/ 144194 h 389717"/>
                <a:gd name="connsiteX17" fmla="*/ 13322 w 205085"/>
                <a:gd name="connsiteY17" fmla="*/ 132839 h 389717"/>
                <a:gd name="connsiteX18" fmla="*/ 536 w 205085"/>
                <a:gd name="connsiteY18" fmla="*/ 116923 h 389717"/>
                <a:gd name="connsiteX19" fmla="*/ 0 w 205085"/>
                <a:gd name="connsiteY19" fmla="*/ 112006 h 389717"/>
                <a:gd name="connsiteX20" fmla="*/ 4381 w 205085"/>
                <a:gd name="connsiteY20" fmla="*/ 74453 h 389717"/>
                <a:gd name="connsiteX21" fmla="*/ 5007 w 205085"/>
                <a:gd name="connsiteY21" fmla="*/ 54782 h 389717"/>
                <a:gd name="connsiteX22" fmla="*/ 64913 w 205085"/>
                <a:gd name="connsiteY22" fmla="*/ 1046 h 389717"/>
                <a:gd name="connsiteX23" fmla="*/ 95491 w 205085"/>
                <a:gd name="connsiteY23" fmla="*/ 18660 h 389717"/>
                <a:gd name="connsiteX24" fmla="*/ 78414 w 205085"/>
                <a:gd name="connsiteY24" fmla="*/ 44232 h 389717"/>
                <a:gd name="connsiteX25" fmla="*/ 75016 w 205085"/>
                <a:gd name="connsiteY25" fmla="*/ 48613 h 389717"/>
                <a:gd name="connsiteX26" fmla="*/ 79576 w 205085"/>
                <a:gd name="connsiteY26" fmla="*/ 44768 h 389717"/>
                <a:gd name="connsiteX27" fmla="*/ 99783 w 205085"/>
                <a:gd name="connsiteY27" fmla="*/ 39403 h 389717"/>
                <a:gd name="connsiteX28" fmla="*/ 117487 w 205085"/>
                <a:gd name="connsiteY28" fmla="*/ 58448 h 389717"/>
                <a:gd name="connsiteX29" fmla="*/ 81364 w 205085"/>
                <a:gd name="connsiteY29" fmla="*/ 127384 h 389717"/>
                <a:gd name="connsiteX30" fmla="*/ 127053 w 205085"/>
                <a:gd name="connsiteY30" fmla="*/ 170660 h 389717"/>
                <a:gd name="connsiteX31" fmla="*/ 160583 w 205085"/>
                <a:gd name="connsiteY31" fmla="*/ 216170 h 389717"/>
                <a:gd name="connsiteX32" fmla="*/ 175604 w 205085"/>
                <a:gd name="connsiteY32" fmla="*/ 247643 h 38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5085" h="389717">
                  <a:moveTo>
                    <a:pt x="175604" y="247822"/>
                  </a:moveTo>
                  <a:cubicBezTo>
                    <a:pt x="217359" y="263826"/>
                    <a:pt x="211280" y="296909"/>
                    <a:pt x="179091" y="316043"/>
                  </a:cubicBezTo>
                  <a:cubicBezTo>
                    <a:pt x="180253" y="328382"/>
                    <a:pt x="200282" y="319798"/>
                    <a:pt x="198494" y="331600"/>
                  </a:cubicBezTo>
                  <a:cubicBezTo>
                    <a:pt x="197063" y="341078"/>
                    <a:pt x="186870" y="347784"/>
                    <a:pt x="177124" y="349751"/>
                  </a:cubicBezTo>
                  <a:cubicBezTo>
                    <a:pt x="151105" y="355116"/>
                    <a:pt x="125534" y="367633"/>
                    <a:pt x="97995" y="357262"/>
                  </a:cubicBezTo>
                  <a:cubicBezTo>
                    <a:pt x="92630" y="355205"/>
                    <a:pt x="86103" y="353149"/>
                    <a:pt x="83600" y="358960"/>
                  </a:cubicBezTo>
                  <a:cubicBezTo>
                    <a:pt x="68668" y="394278"/>
                    <a:pt x="32098" y="373356"/>
                    <a:pt x="9835" y="389718"/>
                  </a:cubicBezTo>
                  <a:cubicBezTo>
                    <a:pt x="25572" y="356904"/>
                    <a:pt x="49981" y="337144"/>
                    <a:pt x="87623" y="332942"/>
                  </a:cubicBezTo>
                  <a:cubicBezTo>
                    <a:pt x="70277" y="328739"/>
                    <a:pt x="54183" y="327845"/>
                    <a:pt x="40146" y="319619"/>
                  </a:cubicBezTo>
                  <a:cubicBezTo>
                    <a:pt x="36927" y="317742"/>
                    <a:pt x="32098" y="318457"/>
                    <a:pt x="28880" y="316400"/>
                  </a:cubicBezTo>
                  <a:cubicBezTo>
                    <a:pt x="27717" y="315685"/>
                    <a:pt x="28880" y="307996"/>
                    <a:pt x="29774" y="307906"/>
                  </a:cubicBezTo>
                  <a:cubicBezTo>
                    <a:pt x="66075" y="301648"/>
                    <a:pt x="25840" y="255601"/>
                    <a:pt x="60710" y="248716"/>
                  </a:cubicBezTo>
                  <a:cubicBezTo>
                    <a:pt x="85656" y="243798"/>
                    <a:pt x="94955" y="232354"/>
                    <a:pt x="71976" y="212951"/>
                  </a:cubicBezTo>
                  <a:cubicBezTo>
                    <a:pt x="56866" y="200165"/>
                    <a:pt x="68579" y="187827"/>
                    <a:pt x="71350" y="174773"/>
                  </a:cubicBezTo>
                  <a:cubicBezTo>
                    <a:pt x="55346" y="169408"/>
                    <a:pt x="38536" y="184429"/>
                    <a:pt x="25125" y="169944"/>
                  </a:cubicBezTo>
                  <a:cubicBezTo>
                    <a:pt x="19939" y="165384"/>
                    <a:pt x="18598" y="159483"/>
                    <a:pt x="18687" y="152956"/>
                  </a:cubicBezTo>
                  <a:cubicBezTo>
                    <a:pt x="18866" y="150006"/>
                    <a:pt x="19313" y="147055"/>
                    <a:pt x="20028" y="144194"/>
                  </a:cubicBezTo>
                  <a:cubicBezTo>
                    <a:pt x="20028" y="139097"/>
                    <a:pt x="31205" y="127653"/>
                    <a:pt x="13322" y="132839"/>
                  </a:cubicBezTo>
                  <a:cubicBezTo>
                    <a:pt x="5543" y="130335"/>
                    <a:pt x="804" y="125417"/>
                    <a:pt x="536" y="116923"/>
                  </a:cubicBezTo>
                  <a:cubicBezTo>
                    <a:pt x="268" y="115314"/>
                    <a:pt x="89" y="113704"/>
                    <a:pt x="0" y="112006"/>
                  </a:cubicBezTo>
                  <a:cubicBezTo>
                    <a:pt x="5543" y="100025"/>
                    <a:pt x="7958" y="87596"/>
                    <a:pt x="4381" y="74453"/>
                  </a:cubicBezTo>
                  <a:cubicBezTo>
                    <a:pt x="3755" y="67836"/>
                    <a:pt x="3934" y="61309"/>
                    <a:pt x="5007" y="54782"/>
                  </a:cubicBezTo>
                  <a:cubicBezTo>
                    <a:pt x="11981" y="22415"/>
                    <a:pt x="33529" y="6053"/>
                    <a:pt x="64913" y="1046"/>
                  </a:cubicBezTo>
                  <a:cubicBezTo>
                    <a:pt x="79487" y="-1279"/>
                    <a:pt x="93524" y="-1368"/>
                    <a:pt x="95491" y="18660"/>
                  </a:cubicBezTo>
                  <a:cubicBezTo>
                    <a:pt x="94776" y="30552"/>
                    <a:pt x="85835" y="37079"/>
                    <a:pt x="78414" y="44232"/>
                  </a:cubicBezTo>
                  <a:cubicBezTo>
                    <a:pt x="77073" y="45394"/>
                    <a:pt x="75821" y="46825"/>
                    <a:pt x="75016" y="48613"/>
                  </a:cubicBezTo>
                  <a:cubicBezTo>
                    <a:pt x="76447" y="47272"/>
                    <a:pt x="77877" y="46020"/>
                    <a:pt x="79576" y="44768"/>
                  </a:cubicBezTo>
                  <a:cubicBezTo>
                    <a:pt x="85835" y="40655"/>
                    <a:pt x="92451" y="38867"/>
                    <a:pt x="99783" y="39403"/>
                  </a:cubicBezTo>
                  <a:cubicBezTo>
                    <a:pt x="110155" y="41549"/>
                    <a:pt x="118917" y="45305"/>
                    <a:pt x="117487" y="58448"/>
                  </a:cubicBezTo>
                  <a:cubicBezTo>
                    <a:pt x="104433" y="80354"/>
                    <a:pt x="117218" y="114152"/>
                    <a:pt x="81364" y="127384"/>
                  </a:cubicBezTo>
                  <a:cubicBezTo>
                    <a:pt x="113374" y="128368"/>
                    <a:pt x="123835" y="145446"/>
                    <a:pt x="127053" y="170660"/>
                  </a:cubicBezTo>
                  <a:cubicBezTo>
                    <a:pt x="129736" y="191582"/>
                    <a:pt x="158437" y="194264"/>
                    <a:pt x="160583" y="216170"/>
                  </a:cubicBezTo>
                  <a:cubicBezTo>
                    <a:pt x="169524" y="224754"/>
                    <a:pt x="163534" y="240490"/>
                    <a:pt x="175604" y="24764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3" name="Freeform: Shape 12">
              <a:extLst>
                <a:ext uri="{FF2B5EF4-FFF2-40B4-BE49-F238E27FC236}">
                  <a16:creationId xmlns:a16="http://schemas.microsoft.com/office/drawing/2014/main" id="{65ED72C3-2854-5F13-A20B-7EA764E4DC3F}"/>
                </a:ext>
              </a:extLst>
            </p:cNvPr>
            <p:cNvSpPr/>
            <p:nvPr/>
          </p:nvSpPr>
          <p:spPr>
            <a:xfrm>
              <a:off x="12711666" y="6565384"/>
              <a:ext cx="531250" cy="498141"/>
            </a:xfrm>
            <a:custGeom>
              <a:avLst/>
              <a:gdLst>
                <a:gd name="connsiteX0" fmla="*/ 201087 w 364413"/>
                <a:gd name="connsiteY0" fmla="*/ 111389 h 341702"/>
                <a:gd name="connsiteX1" fmla="*/ 201355 w 364413"/>
                <a:gd name="connsiteY1" fmla="*/ 117379 h 341702"/>
                <a:gd name="connsiteX2" fmla="*/ 220042 w 364413"/>
                <a:gd name="connsiteY2" fmla="*/ 124800 h 341702"/>
                <a:gd name="connsiteX3" fmla="*/ 319468 w 364413"/>
                <a:gd name="connsiteY3" fmla="*/ 215911 h 341702"/>
                <a:gd name="connsiteX4" fmla="*/ 356484 w 364413"/>
                <a:gd name="connsiteY4" fmla="*/ 237995 h 341702"/>
                <a:gd name="connsiteX5" fmla="*/ 357646 w 364413"/>
                <a:gd name="connsiteY5" fmla="*/ 242287 h 341702"/>
                <a:gd name="connsiteX6" fmla="*/ 359167 w 364413"/>
                <a:gd name="connsiteY6" fmla="*/ 309078 h 341702"/>
                <a:gd name="connsiteX7" fmla="*/ 358988 w 364413"/>
                <a:gd name="connsiteY7" fmla="*/ 337958 h 341702"/>
                <a:gd name="connsiteX8" fmla="*/ 313835 w 364413"/>
                <a:gd name="connsiteY8" fmla="*/ 331878 h 341702"/>
                <a:gd name="connsiteX9" fmla="*/ 228357 w 364413"/>
                <a:gd name="connsiteY9" fmla="*/ 261511 h 341702"/>
                <a:gd name="connsiteX10" fmla="*/ 163534 w 364413"/>
                <a:gd name="connsiteY10" fmla="*/ 183276 h 341702"/>
                <a:gd name="connsiteX11" fmla="*/ 147440 w 364413"/>
                <a:gd name="connsiteY11" fmla="*/ 169238 h 341702"/>
                <a:gd name="connsiteX12" fmla="*/ 19224 w 364413"/>
                <a:gd name="connsiteY12" fmla="*/ 43615 h 341702"/>
                <a:gd name="connsiteX13" fmla="*/ 0 w 364413"/>
                <a:gd name="connsiteY13" fmla="*/ 18669 h 341702"/>
                <a:gd name="connsiteX14" fmla="*/ 18061 w 364413"/>
                <a:gd name="connsiteY14" fmla="*/ 250 h 341702"/>
                <a:gd name="connsiteX15" fmla="*/ 18061 w 364413"/>
                <a:gd name="connsiteY15" fmla="*/ 250 h 341702"/>
                <a:gd name="connsiteX16" fmla="*/ 50697 w 364413"/>
                <a:gd name="connsiteY16" fmla="*/ 6151 h 341702"/>
                <a:gd name="connsiteX17" fmla="*/ 141718 w 364413"/>
                <a:gd name="connsiteY17" fmla="*/ 73300 h 341702"/>
                <a:gd name="connsiteX18" fmla="*/ 193934 w 364413"/>
                <a:gd name="connsiteY18" fmla="*/ 100212 h 341702"/>
                <a:gd name="connsiteX19" fmla="*/ 201176 w 364413"/>
                <a:gd name="connsiteY19" fmla="*/ 111568 h 3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413" h="341702">
                  <a:moveTo>
                    <a:pt x="201087" y="111389"/>
                  </a:moveTo>
                  <a:cubicBezTo>
                    <a:pt x="200282" y="113445"/>
                    <a:pt x="200372" y="115412"/>
                    <a:pt x="201355" y="117379"/>
                  </a:cubicBezTo>
                  <a:cubicBezTo>
                    <a:pt x="206541" y="122565"/>
                    <a:pt x="216019" y="116664"/>
                    <a:pt x="220042" y="124800"/>
                  </a:cubicBezTo>
                  <a:cubicBezTo>
                    <a:pt x="255449" y="152697"/>
                    <a:pt x="290051" y="181398"/>
                    <a:pt x="319468" y="215911"/>
                  </a:cubicBezTo>
                  <a:cubicBezTo>
                    <a:pt x="331181" y="224316"/>
                    <a:pt x="347722" y="224673"/>
                    <a:pt x="356484" y="237995"/>
                  </a:cubicBezTo>
                  <a:cubicBezTo>
                    <a:pt x="356842" y="239426"/>
                    <a:pt x="357199" y="240857"/>
                    <a:pt x="357646" y="242287"/>
                  </a:cubicBezTo>
                  <a:cubicBezTo>
                    <a:pt x="355769" y="264551"/>
                    <a:pt x="352282" y="286546"/>
                    <a:pt x="359167" y="309078"/>
                  </a:cubicBezTo>
                  <a:cubicBezTo>
                    <a:pt x="361938" y="318108"/>
                    <a:pt x="369538" y="334024"/>
                    <a:pt x="358988" y="337958"/>
                  </a:cubicBezTo>
                  <a:cubicBezTo>
                    <a:pt x="345218" y="343054"/>
                    <a:pt x="327604" y="344574"/>
                    <a:pt x="313835" y="331878"/>
                  </a:cubicBezTo>
                  <a:cubicBezTo>
                    <a:pt x="286653" y="306843"/>
                    <a:pt x="249369" y="293967"/>
                    <a:pt x="228357" y="261511"/>
                  </a:cubicBezTo>
                  <a:cubicBezTo>
                    <a:pt x="195633" y="244612"/>
                    <a:pt x="180969" y="212871"/>
                    <a:pt x="163534" y="183276"/>
                  </a:cubicBezTo>
                  <a:cubicBezTo>
                    <a:pt x="159778" y="176749"/>
                    <a:pt x="154056" y="172457"/>
                    <a:pt x="147440" y="169238"/>
                  </a:cubicBezTo>
                  <a:cubicBezTo>
                    <a:pt x="113374" y="118542"/>
                    <a:pt x="58922" y="88589"/>
                    <a:pt x="19224" y="43615"/>
                  </a:cubicBezTo>
                  <a:cubicBezTo>
                    <a:pt x="12160" y="35657"/>
                    <a:pt x="1788" y="30650"/>
                    <a:pt x="0" y="18669"/>
                  </a:cubicBezTo>
                  <a:cubicBezTo>
                    <a:pt x="715" y="7314"/>
                    <a:pt x="3934" y="-1627"/>
                    <a:pt x="18061" y="250"/>
                  </a:cubicBezTo>
                  <a:lnTo>
                    <a:pt x="18061" y="250"/>
                  </a:lnTo>
                  <a:cubicBezTo>
                    <a:pt x="27896" y="8029"/>
                    <a:pt x="40593" y="-286"/>
                    <a:pt x="50697" y="6151"/>
                  </a:cubicBezTo>
                  <a:cubicBezTo>
                    <a:pt x="88965" y="17775"/>
                    <a:pt x="111139" y="51304"/>
                    <a:pt x="141718" y="73300"/>
                  </a:cubicBezTo>
                  <a:cubicBezTo>
                    <a:pt x="157722" y="84833"/>
                    <a:pt x="167915" y="108081"/>
                    <a:pt x="193934" y="100212"/>
                  </a:cubicBezTo>
                  <a:cubicBezTo>
                    <a:pt x="199656" y="101911"/>
                    <a:pt x="197063" y="108885"/>
                    <a:pt x="201176" y="1115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4" name="Freeform: Shape 13">
              <a:extLst>
                <a:ext uri="{FF2B5EF4-FFF2-40B4-BE49-F238E27FC236}">
                  <a16:creationId xmlns:a16="http://schemas.microsoft.com/office/drawing/2014/main" id="{3F4883A8-D57F-4626-5CA1-B9CE3E4978C4}"/>
                </a:ext>
              </a:extLst>
            </p:cNvPr>
            <p:cNvSpPr/>
            <p:nvPr/>
          </p:nvSpPr>
          <p:spPr>
            <a:xfrm>
              <a:off x="13975374" y="4911401"/>
              <a:ext cx="398775" cy="389863"/>
            </a:xfrm>
            <a:custGeom>
              <a:avLst/>
              <a:gdLst>
                <a:gd name="connsiteX0" fmla="*/ 179 w 273541"/>
                <a:gd name="connsiteY0" fmla="*/ 241942 h 267428"/>
                <a:gd name="connsiteX1" fmla="*/ 65807 w 273541"/>
                <a:gd name="connsiteY1" fmla="*/ 183735 h 267428"/>
                <a:gd name="connsiteX2" fmla="*/ 115252 w 273541"/>
                <a:gd name="connsiteY2" fmla="*/ 188474 h 267428"/>
                <a:gd name="connsiteX3" fmla="*/ 126965 w 273541"/>
                <a:gd name="connsiteY3" fmla="*/ 185702 h 267428"/>
                <a:gd name="connsiteX4" fmla="*/ 136889 w 273541"/>
                <a:gd name="connsiteY4" fmla="*/ 129283 h 267428"/>
                <a:gd name="connsiteX5" fmla="*/ 143684 w 273541"/>
                <a:gd name="connsiteY5" fmla="*/ 117392 h 267428"/>
                <a:gd name="connsiteX6" fmla="*/ 149407 w 273541"/>
                <a:gd name="connsiteY6" fmla="*/ 126422 h 267428"/>
                <a:gd name="connsiteX7" fmla="*/ 167826 w 273541"/>
                <a:gd name="connsiteY7" fmla="*/ 130714 h 267428"/>
                <a:gd name="connsiteX8" fmla="*/ 198583 w 273541"/>
                <a:gd name="connsiteY8" fmla="*/ 36832 h 267428"/>
                <a:gd name="connsiteX9" fmla="*/ 226837 w 273541"/>
                <a:gd name="connsiteY9" fmla="*/ 11528 h 267428"/>
                <a:gd name="connsiteX10" fmla="*/ 239444 w 273541"/>
                <a:gd name="connsiteY10" fmla="*/ 1872 h 267428"/>
                <a:gd name="connsiteX11" fmla="*/ 258131 w 273541"/>
                <a:gd name="connsiteY11" fmla="*/ 41660 h 267428"/>
                <a:gd name="connsiteX12" fmla="*/ 260813 w 273541"/>
                <a:gd name="connsiteY12" fmla="*/ 94592 h 267428"/>
                <a:gd name="connsiteX13" fmla="*/ 252230 w 273541"/>
                <a:gd name="connsiteY13" fmla="*/ 106662 h 267428"/>
                <a:gd name="connsiteX14" fmla="*/ 265910 w 273541"/>
                <a:gd name="connsiteY14" fmla="*/ 183109 h 267428"/>
                <a:gd name="connsiteX15" fmla="*/ 257863 w 273541"/>
                <a:gd name="connsiteY15" fmla="*/ 211721 h 267428"/>
                <a:gd name="connsiteX16" fmla="*/ 189106 w 273541"/>
                <a:gd name="connsiteY16" fmla="*/ 227904 h 267428"/>
                <a:gd name="connsiteX17" fmla="*/ 177482 w 273541"/>
                <a:gd name="connsiteY17" fmla="*/ 223165 h 267428"/>
                <a:gd name="connsiteX18" fmla="*/ 180522 w 273541"/>
                <a:gd name="connsiteY18" fmla="*/ 236756 h 267428"/>
                <a:gd name="connsiteX19" fmla="*/ 180522 w 273541"/>
                <a:gd name="connsiteY19" fmla="*/ 239081 h 267428"/>
                <a:gd name="connsiteX20" fmla="*/ 153162 w 273541"/>
                <a:gd name="connsiteY20" fmla="*/ 267067 h 267428"/>
                <a:gd name="connsiteX21" fmla="*/ 122941 w 273541"/>
                <a:gd name="connsiteY21" fmla="*/ 234968 h 267428"/>
                <a:gd name="connsiteX22" fmla="*/ 70635 w 273541"/>
                <a:gd name="connsiteY22" fmla="*/ 234610 h 267428"/>
                <a:gd name="connsiteX23" fmla="*/ 11802 w 273541"/>
                <a:gd name="connsiteY23" fmla="*/ 248558 h 267428"/>
                <a:gd name="connsiteX24" fmla="*/ 0 w 273541"/>
                <a:gd name="connsiteY24" fmla="*/ 241763 h 26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3541" h="267428">
                  <a:moveTo>
                    <a:pt x="179" y="241942"/>
                  </a:moveTo>
                  <a:cubicBezTo>
                    <a:pt x="6080" y="210827"/>
                    <a:pt x="37463" y="181500"/>
                    <a:pt x="65807" y="183735"/>
                  </a:cubicBezTo>
                  <a:cubicBezTo>
                    <a:pt x="82080" y="185076"/>
                    <a:pt x="100052" y="172469"/>
                    <a:pt x="115252" y="188474"/>
                  </a:cubicBezTo>
                  <a:cubicBezTo>
                    <a:pt x="116682" y="189904"/>
                    <a:pt x="122941" y="186686"/>
                    <a:pt x="126965" y="185702"/>
                  </a:cubicBezTo>
                  <a:cubicBezTo>
                    <a:pt x="113374" y="163975"/>
                    <a:pt x="143595" y="150027"/>
                    <a:pt x="136889" y="129283"/>
                  </a:cubicBezTo>
                  <a:cubicBezTo>
                    <a:pt x="135101" y="123829"/>
                    <a:pt x="136263" y="118107"/>
                    <a:pt x="143684" y="117392"/>
                  </a:cubicBezTo>
                  <a:cubicBezTo>
                    <a:pt x="150658" y="116766"/>
                    <a:pt x="148870" y="122756"/>
                    <a:pt x="149407" y="126422"/>
                  </a:cubicBezTo>
                  <a:cubicBezTo>
                    <a:pt x="152000" y="143947"/>
                    <a:pt x="157812" y="138493"/>
                    <a:pt x="167826" y="130714"/>
                  </a:cubicBezTo>
                  <a:cubicBezTo>
                    <a:pt x="199477" y="105947"/>
                    <a:pt x="207971" y="74921"/>
                    <a:pt x="198583" y="36832"/>
                  </a:cubicBezTo>
                  <a:cubicBezTo>
                    <a:pt x="192592" y="12422"/>
                    <a:pt x="212978" y="15105"/>
                    <a:pt x="226837" y="11528"/>
                  </a:cubicBezTo>
                  <a:cubicBezTo>
                    <a:pt x="233096" y="11081"/>
                    <a:pt x="227106" y="-5460"/>
                    <a:pt x="239444" y="1872"/>
                  </a:cubicBezTo>
                  <a:cubicBezTo>
                    <a:pt x="239176" y="18234"/>
                    <a:pt x="245971" y="31020"/>
                    <a:pt x="258131" y="41660"/>
                  </a:cubicBezTo>
                  <a:cubicBezTo>
                    <a:pt x="277176" y="58201"/>
                    <a:pt x="279143" y="76352"/>
                    <a:pt x="260813" y="94592"/>
                  </a:cubicBezTo>
                  <a:cubicBezTo>
                    <a:pt x="256879" y="98436"/>
                    <a:pt x="249726" y="103533"/>
                    <a:pt x="252230" y="106662"/>
                  </a:cubicBezTo>
                  <a:cubicBezTo>
                    <a:pt x="271275" y="129999"/>
                    <a:pt x="251604" y="159862"/>
                    <a:pt x="265910" y="183109"/>
                  </a:cubicBezTo>
                  <a:cubicBezTo>
                    <a:pt x="274494" y="197057"/>
                    <a:pt x="265463" y="210469"/>
                    <a:pt x="257863" y="211721"/>
                  </a:cubicBezTo>
                  <a:cubicBezTo>
                    <a:pt x="234437" y="215476"/>
                    <a:pt x="214945" y="235951"/>
                    <a:pt x="189106" y="227904"/>
                  </a:cubicBezTo>
                  <a:cubicBezTo>
                    <a:pt x="185261" y="226205"/>
                    <a:pt x="180969" y="225669"/>
                    <a:pt x="177482" y="223165"/>
                  </a:cubicBezTo>
                  <a:cubicBezTo>
                    <a:pt x="175783" y="228262"/>
                    <a:pt x="180254" y="232107"/>
                    <a:pt x="180522" y="236756"/>
                  </a:cubicBezTo>
                  <a:lnTo>
                    <a:pt x="180522" y="239081"/>
                  </a:lnTo>
                  <a:cubicBezTo>
                    <a:pt x="168630" y="245697"/>
                    <a:pt x="158706" y="254281"/>
                    <a:pt x="153162" y="267067"/>
                  </a:cubicBezTo>
                  <a:cubicBezTo>
                    <a:pt x="128127" y="270464"/>
                    <a:pt x="129379" y="249184"/>
                    <a:pt x="122941" y="234968"/>
                  </a:cubicBezTo>
                  <a:cubicBezTo>
                    <a:pt x="105595" y="219052"/>
                    <a:pt x="88070" y="228262"/>
                    <a:pt x="70635" y="234610"/>
                  </a:cubicBezTo>
                  <a:cubicBezTo>
                    <a:pt x="49892" y="234610"/>
                    <a:pt x="34871" y="258483"/>
                    <a:pt x="11802" y="248558"/>
                  </a:cubicBezTo>
                  <a:cubicBezTo>
                    <a:pt x="7153" y="247485"/>
                    <a:pt x="3040" y="245608"/>
                    <a:pt x="0" y="2417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6" name="Freeform: Shape 15">
              <a:extLst>
                <a:ext uri="{FF2B5EF4-FFF2-40B4-BE49-F238E27FC236}">
                  <a16:creationId xmlns:a16="http://schemas.microsoft.com/office/drawing/2014/main" id="{9604D7D0-6749-6276-B5EC-C6449A6E3A96}"/>
                </a:ext>
              </a:extLst>
            </p:cNvPr>
            <p:cNvSpPr/>
            <p:nvPr/>
          </p:nvSpPr>
          <p:spPr>
            <a:xfrm>
              <a:off x="10500729" y="2460601"/>
              <a:ext cx="479916" cy="339102"/>
            </a:xfrm>
            <a:custGeom>
              <a:avLst/>
              <a:gdLst>
                <a:gd name="connsiteX0" fmla="*/ 0 w 329200"/>
                <a:gd name="connsiteY0" fmla="*/ 195734 h 232608"/>
                <a:gd name="connsiteX1" fmla="*/ 30668 w 329200"/>
                <a:gd name="connsiteY1" fmla="*/ 159433 h 232608"/>
                <a:gd name="connsiteX2" fmla="*/ 36212 w 329200"/>
                <a:gd name="connsiteY2" fmla="*/ 156393 h 232608"/>
                <a:gd name="connsiteX3" fmla="*/ 38626 w 329200"/>
                <a:gd name="connsiteY3" fmla="*/ 121255 h 232608"/>
                <a:gd name="connsiteX4" fmla="*/ 69116 w 329200"/>
                <a:gd name="connsiteY4" fmla="*/ 102299 h 232608"/>
                <a:gd name="connsiteX5" fmla="*/ 80381 w 329200"/>
                <a:gd name="connsiteY5" fmla="*/ 91749 h 232608"/>
                <a:gd name="connsiteX6" fmla="*/ 195007 w 329200"/>
                <a:gd name="connsiteY6" fmla="*/ 47222 h 232608"/>
                <a:gd name="connsiteX7" fmla="*/ 269934 w 329200"/>
                <a:gd name="connsiteY7" fmla="*/ 12262 h 232608"/>
                <a:gd name="connsiteX8" fmla="*/ 328409 w 329200"/>
                <a:gd name="connsiteY8" fmla="*/ 25852 h 232608"/>
                <a:gd name="connsiteX9" fmla="*/ 304983 w 329200"/>
                <a:gd name="connsiteY9" fmla="*/ 59203 h 232608"/>
                <a:gd name="connsiteX10" fmla="*/ 184277 w 329200"/>
                <a:gd name="connsiteY10" fmla="*/ 106949 h 232608"/>
                <a:gd name="connsiteX11" fmla="*/ 156113 w 329200"/>
                <a:gd name="connsiteY11" fmla="*/ 128050 h 232608"/>
                <a:gd name="connsiteX12" fmla="*/ 115609 w 329200"/>
                <a:gd name="connsiteY12" fmla="*/ 158986 h 232608"/>
                <a:gd name="connsiteX13" fmla="*/ 85835 w 329200"/>
                <a:gd name="connsiteY13" fmla="*/ 195645 h 232608"/>
                <a:gd name="connsiteX14" fmla="*/ 73049 w 329200"/>
                <a:gd name="connsiteY14" fmla="*/ 215494 h 232608"/>
                <a:gd name="connsiteX15" fmla="*/ 70725 w 329200"/>
                <a:gd name="connsiteY15" fmla="*/ 221396 h 232608"/>
                <a:gd name="connsiteX16" fmla="*/ 59727 w 329200"/>
                <a:gd name="connsiteY16" fmla="*/ 230873 h 232608"/>
                <a:gd name="connsiteX17" fmla="*/ 0 w 329200"/>
                <a:gd name="connsiteY17" fmla="*/ 195913 h 23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9200" h="232608">
                  <a:moveTo>
                    <a:pt x="0" y="195734"/>
                  </a:moveTo>
                  <a:cubicBezTo>
                    <a:pt x="7958" y="181786"/>
                    <a:pt x="24946" y="175349"/>
                    <a:pt x="30668" y="159433"/>
                  </a:cubicBezTo>
                  <a:cubicBezTo>
                    <a:pt x="31205" y="157913"/>
                    <a:pt x="34424" y="157466"/>
                    <a:pt x="36212" y="156393"/>
                  </a:cubicBezTo>
                  <a:cubicBezTo>
                    <a:pt x="54094" y="145932"/>
                    <a:pt x="19939" y="131984"/>
                    <a:pt x="38626" y="121255"/>
                  </a:cubicBezTo>
                  <a:cubicBezTo>
                    <a:pt x="48819" y="115353"/>
                    <a:pt x="69473" y="126530"/>
                    <a:pt x="69116" y="102299"/>
                  </a:cubicBezTo>
                  <a:cubicBezTo>
                    <a:pt x="69116" y="98723"/>
                    <a:pt x="75821" y="93269"/>
                    <a:pt x="80381" y="91749"/>
                  </a:cubicBezTo>
                  <a:cubicBezTo>
                    <a:pt x="119186" y="78963"/>
                    <a:pt x="150122" y="48921"/>
                    <a:pt x="195007" y="47222"/>
                  </a:cubicBezTo>
                  <a:cubicBezTo>
                    <a:pt x="221473" y="46149"/>
                    <a:pt x="248654" y="34168"/>
                    <a:pt x="269934" y="12262"/>
                  </a:cubicBezTo>
                  <a:cubicBezTo>
                    <a:pt x="291035" y="-9465"/>
                    <a:pt x="321435" y="-703"/>
                    <a:pt x="328409" y="25852"/>
                  </a:cubicBezTo>
                  <a:cubicBezTo>
                    <a:pt x="332522" y="45255"/>
                    <a:pt x="320004" y="54017"/>
                    <a:pt x="304983" y="59203"/>
                  </a:cubicBezTo>
                  <a:cubicBezTo>
                    <a:pt x="263943" y="73241"/>
                    <a:pt x="225764" y="94163"/>
                    <a:pt x="184277" y="106949"/>
                  </a:cubicBezTo>
                  <a:cubicBezTo>
                    <a:pt x="172117" y="110704"/>
                    <a:pt x="163713" y="118840"/>
                    <a:pt x="156113" y="128050"/>
                  </a:cubicBezTo>
                  <a:cubicBezTo>
                    <a:pt x="145026" y="141551"/>
                    <a:pt x="134207" y="154516"/>
                    <a:pt x="115609" y="158986"/>
                  </a:cubicBezTo>
                  <a:cubicBezTo>
                    <a:pt x="97101" y="163367"/>
                    <a:pt x="95402" y="183038"/>
                    <a:pt x="85835" y="195645"/>
                  </a:cubicBezTo>
                  <a:cubicBezTo>
                    <a:pt x="81365" y="202172"/>
                    <a:pt x="76536" y="208431"/>
                    <a:pt x="73049" y="215494"/>
                  </a:cubicBezTo>
                  <a:cubicBezTo>
                    <a:pt x="71351" y="217104"/>
                    <a:pt x="70546" y="219071"/>
                    <a:pt x="70725" y="221396"/>
                  </a:cubicBezTo>
                  <a:cubicBezTo>
                    <a:pt x="67059" y="224525"/>
                    <a:pt x="63393" y="227744"/>
                    <a:pt x="59727" y="230873"/>
                  </a:cubicBezTo>
                  <a:cubicBezTo>
                    <a:pt x="12696" y="235433"/>
                    <a:pt x="9031" y="233287"/>
                    <a:pt x="0" y="1959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7" name="Freeform: Shape 16">
              <a:extLst>
                <a:ext uri="{FF2B5EF4-FFF2-40B4-BE49-F238E27FC236}">
                  <a16:creationId xmlns:a16="http://schemas.microsoft.com/office/drawing/2014/main" id="{C9BED5A7-B2DC-4AA0-0FD2-EA9BD7082251}"/>
                </a:ext>
              </a:extLst>
            </p:cNvPr>
            <p:cNvSpPr/>
            <p:nvPr/>
          </p:nvSpPr>
          <p:spPr>
            <a:xfrm>
              <a:off x="16260347" y="8438129"/>
              <a:ext cx="244867" cy="342339"/>
            </a:xfrm>
            <a:custGeom>
              <a:avLst/>
              <a:gdLst>
                <a:gd name="connsiteX0" fmla="*/ 157722 w 167968"/>
                <a:gd name="connsiteY0" fmla="*/ 85689 h 234829"/>
                <a:gd name="connsiteX1" fmla="*/ 138051 w 167968"/>
                <a:gd name="connsiteY1" fmla="*/ 130663 h 234829"/>
                <a:gd name="connsiteX2" fmla="*/ 107204 w 167968"/>
                <a:gd name="connsiteY2" fmla="*/ 138174 h 234829"/>
                <a:gd name="connsiteX3" fmla="*/ 40056 w 167968"/>
                <a:gd name="connsiteY3" fmla="*/ 234827 h 234829"/>
                <a:gd name="connsiteX4" fmla="*/ 32634 w 167968"/>
                <a:gd name="connsiteY4" fmla="*/ 229731 h 234829"/>
                <a:gd name="connsiteX5" fmla="*/ 20207 w 167968"/>
                <a:gd name="connsiteY5" fmla="*/ 216677 h 234829"/>
                <a:gd name="connsiteX6" fmla="*/ 12964 w 167968"/>
                <a:gd name="connsiteY6" fmla="*/ 161957 h 234829"/>
                <a:gd name="connsiteX7" fmla="*/ 0 w 167968"/>
                <a:gd name="connsiteY7" fmla="*/ 144701 h 234829"/>
                <a:gd name="connsiteX8" fmla="*/ 2682 w 167968"/>
                <a:gd name="connsiteY8" fmla="*/ 119129 h 234829"/>
                <a:gd name="connsiteX9" fmla="*/ 44527 w 167968"/>
                <a:gd name="connsiteY9" fmla="*/ 65840 h 234829"/>
                <a:gd name="connsiteX10" fmla="*/ 43900 w 167968"/>
                <a:gd name="connsiteY10" fmla="*/ 29896 h 234829"/>
                <a:gd name="connsiteX11" fmla="*/ 59995 w 167968"/>
                <a:gd name="connsiteY11" fmla="*/ 13802 h 234829"/>
                <a:gd name="connsiteX12" fmla="*/ 72065 w 167968"/>
                <a:gd name="connsiteY12" fmla="*/ 17826 h 234829"/>
                <a:gd name="connsiteX13" fmla="*/ 73586 w 167968"/>
                <a:gd name="connsiteY13" fmla="*/ 4503 h 234829"/>
                <a:gd name="connsiteX14" fmla="*/ 91557 w 167968"/>
                <a:gd name="connsiteY14" fmla="*/ 16842 h 234829"/>
                <a:gd name="connsiteX15" fmla="*/ 141449 w 167968"/>
                <a:gd name="connsiteY15" fmla="*/ 54216 h 234829"/>
                <a:gd name="connsiteX16" fmla="*/ 164964 w 167968"/>
                <a:gd name="connsiteY16" fmla="*/ 59670 h 234829"/>
                <a:gd name="connsiteX17" fmla="*/ 157811 w 167968"/>
                <a:gd name="connsiteY17" fmla="*/ 85689 h 23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968" h="234829">
                  <a:moveTo>
                    <a:pt x="157722" y="85689"/>
                  </a:moveTo>
                  <a:cubicBezTo>
                    <a:pt x="149048" y="99727"/>
                    <a:pt x="136442" y="112065"/>
                    <a:pt x="138051" y="130663"/>
                  </a:cubicBezTo>
                  <a:cubicBezTo>
                    <a:pt x="129647" y="140767"/>
                    <a:pt x="115967" y="129411"/>
                    <a:pt x="107204" y="138174"/>
                  </a:cubicBezTo>
                  <a:cubicBezTo>
                    <a:pt x="100678" y="181359"/>
                    <a:pt x="63571" y="203444"/>
                    <a:pt x="40056" y="234827"/>
                  </a:cubicBezTo>
                  <a:cubicBezTo>
                    <a:pt x="40056" y="234917"/>
                    <a:pt x="35228" y="231519"/>
                    <a:pt x="32634" y="229731"/>
                  </a:cubicBezTo>
                  <a:cubicBezTo>
                    <a:pt x="29774" y="224098"/>
                    <a:pt x="16630" y="228301"/>
                    <a:pt x="20207" y="216677"/>
                  </a:cubicBezTo>
                  <a:cubicBezTo>
                    <a:pt x="50875" y="187618"/>
                    <a:pt x="50606" y="187171"/>
                    <a:pt x="12964" y="161957"/>
                  </a:cubicBezTo>
                  <a:cubicBezTo>
                    <a:pt x="7331" y="158202"/>
                    <a:pt x="4292" y="150602"/>
                    <a:pt x="0" y="144701"/>
                  </a:cubicBezTo>
                  <a:cubicBezTo>
                    <a:pt x="894" y="136206"/>
                    <a:pt x="1788" y="127623"/>
                    <a:pt x="2682" y="119129"/>
                  </a:cubicBezTo>
                  <a:cubicBezTo>
                    <a:pt x="16630" y="101336"/>
                    <a:pt x="30578" y="83632"/>
                    <a:pt x="44527" y="65840"/>
                  </a:cubicBezTo>
                  <a:cubicBezTo>
                    <a:pt x="41844" y="53948"/>
                    <a:pt x="43454" y="41877"/>
                    <a:pt x="43900" y="29896"/>
                  </a:cubicBezTo>
                  <a:cubicBezTo>
                    <a:pt x="47208" y="22475"/>
                    <a:pt x="47208" y="11745"/>
                    <a:pt x="59995" y="13802"/>
                  </a:cubicBezTo>
                  <a:cubicBezTo>
                    <a:pt x="64734" y="13355"/>
                    <a:pt x="66880" y="22296"/>
                    <a:pt x="72065" y="17826"/>
                  </a:cubicBezTo>
                  <a:cubicBezTo>
                    <a:pt x="75910" y="14517"/>
                    <a:pt x="76446" y="9331"/>
                    <a:pt x="73586" y="4503"/>
                  </a:cubicBezTo>
                  <a:cubicBezTo>
                    <a:pt x="90841" y="-7835"/>
                    <a:pt x="88696" y="8169"/>
                    <a:pt x="91557" y="16842"/>
                  </a:cubicBezTo>
                  <a:cubicBezTo>
                    <a:pt x="94418" y="65750"/>
                    <a:pt x="94418" y="65482"/>
                    <a:pt x="141449" y="54216"/>
                  </a:cubicBezTo>
                  <a:cubicBezTo>
                    <a:pt x="149138" y="52338"/>
                    <a:pt x="158795" y="50908"/>
                    <a:pt x="164964" y="59670"/>
                  </a:cubicBezTo>
                  <a:cubicBezTo>
                    <a:pt x="170597" y="70578"/>
                    <a:pt x="168362" y="79251"/>
                    <a:pt x="157811" y="856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8" name="Freeform: Shape 17">
              <a:extLst>
                <a:ext uri="{FF2B5EF4-FFF2-40B4-BE49-F238E27FC236}">
                  <a16:creationId xmlns:a16="http://schemas.microsoft.com/office/drawing/2014/main" id="{C6FDBEA4-B130-A476-6FFA-71F2F2DB260D}"/>
                </a:ext>
              </a:extLst>
            </p:cNvPr>
            <p:cNvSpPr/>
            <p:nvPr/>
          </p:nvSpPr>
          <p:spPr>
            <a:xfrm>
              <a:off x="9053556" y="2339298"/>
              <a:ext cx="310944" cy="252318"/>
            </a:xfrm>
            <a:custGeom>
              <a:avLst/>
              <a:gdLst>
                <a:gd name="connsiteX0" fmla="*/ 105016 w 213293"/>
                <a:gd name="connsiteY0" fmla="*/ 171380 h 173078"/>
                <a:gd name="connsiteX1" fmla="*/ 97148 w 213293"/>
                <a:gd name="connsiteY1" fmla="*/ 155554 h 173078"/>
                <a:gd name="connsiteX2" fmla="*/ 96969 w 213293"/>
                <a:gd name="connsiteY2" fmla="*/ 128373 h 173078"/>
                <a:gd name="connsiteX3" fmla="*/ 89727 w 213293"/>
                <a:gd name="connsiteY3" fmla="*/ 121220 h 173078"/>
                <a:gd name="connsiteX4" fmla="*/ 78908 w 213293"/>
                <a:gd name="connsiteY4" fmla="*/ 116660 h 173078"/>
                <a:gd name="connsiteX5" fmla="*/ 112973 w 213293"/>
                <a:gd name="connsiteY5" fmla="*/ 77140 h 173078"/>
                <a:gd name="connsiteX6" fmla="*/ 125402 w 213293"/>
                <a:gd name="connsiteY6" fmla="*/ 65159 h 173078"/>
                <a:gd name="connsiteX7" fmla="*/ 104837 w 213293"/>
                <a:gd name="connsiteY7" fmla="*/ 54251 h 173078"/>
                <a:gd name="connsiteX8" fmla="*/ 67195 w 213293"/>
                <a:gd name="connsiteY8" fmla="*/ 97258 h 173078"/>
                <a:gd name="connsiteX9" fmla="*/ 12207 w 213293"/>
                <a:gd name="connsiteY9" fmla="*/ 74190 h 173078"/>
                <a:gd name="connsiteX10" fmla="*/ 6038 w 213293"/>
                <a:gd name="connsiteY10" fmla="*/ 27338 h 173078"/>
                <a:gd name="connsiteX11" fmla="*/ 31252 w 213293"/>
                <a:gd name="connsiteY11" fmla="*/ 13568 h 173078"/>
                <a:gd name="connsiteX12" fmla="*/ 94018 w 213293"/>
                <a:gd name="connsiteY12" fmla="*/ 22688 h 173078"/>
                <a:gd name="connsiteX13" fmla="*/ 104390 w 213293"/>
                <a:gd name="connsiteY13" fmla="*/ 6952 h 173078"/>
                <a:gd name="connsiteX14" fmla="*/ 155891 w 213293"/>
                <a:gd name="connsiteY14" fmla="*/ 4896 h 173078"/>
                <a:gd name="connsiteX15" fmla="*/ 155623 w 213293"/>
                <a:gd name="connsiteY15" fmla="*/ 4627 h 173078"/>
                <a:gd name="connsiteX16" fmla="*/ 156964 w 213293"/>
                <a:gd name="connsiteY16" fmla="*/ 17413 h 173078"/>
                <a:gd name="connsiteX17" fmla="*/ 213293 w 213293"/>
                <a:gd name="connsiteY17" fmla="*/ 39140 h 173078"/>
                <a:gd name="connsiteX18" fmla="*/ 165190 w 213293"/>
                <a:gd name="connsiteY18" fmla="*/ 61314 h 173078"/>
                <a:gd name="connsiteX19" fmla="*/ 152851 w 213293"/>
                <a:gd name="connsiteY19" fmla="*/ 120415 h 173078"/>
                <a:gd name="connsiteX20" fmla="*/ 107519 w 213293"/>
                <a:gd name="connsiteY20" fmla="*/ 173079 h 173078"/>
                <a:gd name="connsiteX21" fmla="*/ 106804 w 213293"/>
                <a:gd name="connsiteY21" fmla="*/ 171559 h 173078"/>
                <a:gd name="connsiteX22" fmla="*/ 105106 w 213293"/>
                <a:gd name="connsiteY22" fmla="*/ 171559 h 17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3293" h="173078">
                  <a:moveTo>
                    <a:pt x="105016" y="171380"/>
                  </a:moveTo>
                  <a:cubicBezTo>
                    <a:pt x="103317" y="165568"/>
                    <a:pt x="104211" y="157968"/>
                    <a:pt x="97148" y="155554"/>
                  </a:cubicBezTo>
                  <a:cubicBezTo>
                    <a:pt x="70861" y="146434"/>
                    <a:pt x="88833" y="137404"/>
                    <a:pt x="96969" y="128373"/>
                  </a:cubicBezTo>
                  <a:cubicBezTo>
                    <a:pt x="102244" y="118180"/>
                    <a:pt x="97237" y="118359"/>
                    <a:pt x="89727" y="121220"/>
                  </a:cubicBezTo>
                  <a:cubicBezTo>
                    <a:pt x="85346" y="121041"/>
                    <a:pt x="75957" y="125601"/>
                    <a:pt x="78908" y="116660"/>
                  </a:cubicBezTo>
                  <a:cubicBezTo>
                    <a:pt x="84630" y="99493"/>
                    <a:pt x="91246" y="81700"/>
                    <a:pt x="112973" y="77140"/>
                  </a:cubicBezTo>
                  <a:cubicBezTo>
                    <a:pt x="118785" y="75978"/>
                    <a:pt x="131571" y="77945"/>
                    <a:pt x="125402" y="65159"/>
                  </a:cubicBezTo>
                  <a:cubicBezTo>
                    <a:pt x="121915" y="57827"/>
                    <a:pt x="115924" y="51926"/>
                    <a:pt x="104837" y="54251"/>
                  </a:cubicBezTo>
                  <a:cubicBezTo>
                    <a:pt x="79444" y="59705"/>
                    <a:pt x="73364" y="65695"/>
                    <a:pt x="67195" y="97258"/>
                  </a:cubicBezTo>
                  <a:cubicBezTo>
                    <a:pt x="46451" y="95470"/>
                    <a:pt x="29731" y="83131"/>
                    <a:pt x="12207" y="74190"/>
                  </a:cubicBezTo>
                  <a:cubicBezTo>
                    <a:pt x="-9610" y="63102"/>
                    <a:pt x="4070" y="43611"/>
                    <a:pt x="6038" y="27338"/>
                  </a:cubicBezTo>
                  <a:cubicBezTo>
                    <a:pt x="8094" y="10350"/>
                    <a:pt x="18376" y="14641"/>
                    <a:pt x="31252" y="13568"/>
                  </a:cubicBezTo>
                  <a:cubicBezTo>
                    <a:pt x="53694" y="11601"/>
                    <a:pt x="73543" y="13390"/>
                    <a:pt x="94018" y="22688"/>
                  </a:cubicBezTo>
                  <a:cubicBezTo>
                    <a:pt x="99115" y="25013"/>
                    <a:pt x="107788" y="16966"/>
                    <a:pt x="104390" y="6952"/>
                  </a:cubicBezTo>
                  <a:cubicBezTo>
                    <a:pt x="121110" y="-3956"/>
                    <a:pt x="138546" y="67"/>
                    <a:pt x="155891" y="4896"/>
                  </a:cubicBezTo>
                  <a:lnTo>
                    <a:pt x="155623" y="4627"/>
                  </a:lnTo>
                  <a:cubicBezTo>
                    <a:pt x="160093" y="8472"/>
                    <a:pt x="159914" y="12764"/>
                    <a:pt x="156964" y="17413"/>
                  </a:cubicBezTo>
                  <a:cubicBezTo>
                    <a:pt x="171538" y="36011"/>
                    <a:pt x="197199" y="24298"/>
                    <a:pt x="213293" y="39140"/>
                  </a:cubicBezTo>
                  <a:cubicBezTo>
                    <a:pt x="206409" y="58721"/>
                    <a:pt x="192639" y="68378"/>
                    <a:pt x="165190" y="61314"/>
                  </a:cubicBezTo>
                  <a:cubicBezTo>
                    <a:pt x="196395" y="92340"/>
                    <a:pt x="164117" y="110938"/>
                    <a:pt x="152851" y="120415"/>
                  </a:cubicBezTo>
                  <a:cubicBezTo>
                    <a:pt x="134164" y="136062"/>
                    <a:pt x="122630" y="155643"/>
                    <a:pt x="107519" y="173079"/>
                  </a:cubicBezTo>
                  <a:lnTo>
                    <a:pt x="106804" y="171559"/>
                  </a:lnTo>
                  <a:lnTo>
                    <a:pt x="105106" y="171559"/>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 name="Freeform: Shape 18">
              <a:extLst>
                <a:ext uri="{FF2B5EF4-FFF2-40B4-BE49-F238E27FC236}">
                  <a16:creationId xmlns:a16="http://schemas.microsoft.com/office/drawing/2014/main" id="{CC5C7674-58F2-DA4B-5327-37BBC5AB4965}"/>
                </a:ext>
              </a:extLst>
            </p:cNvPr>
            <p:cNvSpPr/>
            <p:nvPr/>
          </p:nvSpPr>
          <p:spPr>
            <a:xfrm>
              <a:off x="9273903" y="2244682"/>
              <a:ext cx="303833" cy="137145"/>
            </a:xfrm>
            <a:custGeom>
              <a:avLst/>
              <a:gdLst>
                <a:gd name="connsiteX0" fmla="*/ 11449 w 208415"/>
                <a:gd name="connsiteY0" fmla="*/ 57192 h 94075"/>
                <a:gd name="connsiteX1" fmla="*/ 183 w 208415"/>
                <a:gd name="connsiteY1" fmla="*/ 43780 h 94075"/>
                <a:gd name="connsiteX2" fmla="*/ 13953 w 208415"/>
                <a:gd name="connsiteY2" fmla="*/ 39757 h 94075"/>
                <a:gd name="connsiteX3" fmla="*/ 30673 w 208415"/>
                <a:gd name="connsiteY3" fmla="*/ 23305 h 94075"/>
                <a:gd name="connsiteX4" fmla="*/ 40150 w 208415"/>
                <a:gd name="connsiteY4" fmla="*/ 11502 h 94075"/>
                <a:gd name="connsiteX5" fmla="*/ 53025 w 208415"/>
                <a:gd name="connsiteY5" fmla="*/ 58 h 94075"/>
                <a:gd name="connsiteX6" fmla="*/ 67958 w 208415"/>
                <a:gd name="connsiteY6" fmla="*/ 12754 h 94075"/>
                <a:gd name="connsiteX7" fmla="*/ 88790 w 208415"/>
                <a:gd name="connsiteY7" fmla="*/ 31620 h 94075"/>
                <a:gd name="connsiteX8" fmla="*/ 95764 w 208415"/>
                <a:gd name="connsiteY8" fmla="*/ 24825 h 94075"/>
                <a:gd name="connsiteX9" fmla="*/ 103543 w 208415"/>
                <a:gd name="connsiteY9" fmla="*/ 12844 h 94075"/>
                <a:gd name="connsiteX10" fmla="*/ 194564 w 208415"/>
                <a:gd name="connsiteY10" fmla="*/ 35822 h 94075"/>
                <a:gd name="connsiteX11" fmla="*/ 206992 w 208415"/>
                <a:gd name="connsiteY11" fmla="*/ 36627 h 94075"/>
                <a:gd name="connsiteX12" fmla="*/ 168634 w 208415"/>
                <a:gd name="connsiteY12" fmla="*/ 86787 h 94075"/>
                <a:gd name="connsiteX13" fmla="*/ 59821 w 208415"/>
                <a:gd name="connsiteY13" fmla="*/ 83747 h 94075"/>
                <a:gd name="connsiteX14" fmla="*/ 55976 w 208415"/>
                <a:gd name="connsiteY14" fmla="*/ 78829 h 94075"/>
                <a:gd name="connsiteX15" fmla="*/ 96032 w 208415"/>
                <a:gd name="connsiteY15" fmla="*/ 64971 h 94075"/>
                <a:gd name="connsiteX16" fmla="*/ 24235 w 208415"/>
                <a:gd name="connsiteY16" fmla="*/ 77131 h 94075"/>
                <a:gd name="connsiteX17" fmla="*/ 11360 w 208415"/>
                <a:gd name="connsiteY17" fmla="*/ 57192 h 9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8415" h="94075">
                  <a:moveTo>
                    <a:pt x="11449" y="57192"/>
                  </a:moveTo>
                  <a:cubicBezTo>
                    <a:pt x="5995" y="54062"/>
                    <a:pt x="-1247" y="50844"/>
                    <a:pt x="183" y="43780"/>
                  </a:cubicBezTo>
                  <a:cubicBezTo>
                    <a:pt x="1524" y="37074"/>
                    <a:pt x="10018" y="38058"/>
                    <a:pt x="13953" y="39757"/>
                  </a:cubicBezTo>
                  <a:cubicBezTo>
                    <a:pt x="34786" y="49055"/>
                    <a:pt x="32908" y="36627"/>
                    <a:pt x="30673" y="23305"/>
                  </a:cubicBezTo>
                  <a:cubicBezTo>
                    <a:pt x="33802" y="19371"/>
                    <a:pt x="37021" y="15437"/>
                    <a:pt x="40150" y="11502"/>
                  </a:cubicBezTo>
                  <a:cubicBezTo>
                    <a:pt x="42028" y="4975"/>
                    <a:pt x="46856" y="1757"/>
                    <a:pt x="53025" y="58"/>
                  </a:cubicBezTo>
                  <a:cubicBezTo>
                    <a:pt x="62146" y="-568"/>
                    <a:pt x="66884" y="3903"/>
                    <a:pt x="67958" y="12754"/>
                  </a:cubicBezTo>
                  <a:cubicBezTo>
                    <a:pt x="68851" y="25808"/>
                    <a:pt x="80296" y="27150"/>
                    <a:pt x="88790" y="31620"/>
                  </a:cubicBezTo>
                  <a:cubicBezTo>
                    <a:pt x="97553" y="36448"/>
                    <a:pt x="97910" y="31978"/>
                    <a:pt x="95764" y="24825"/>
                  </a:cubicBezTo>
                  <a:cubicBezTo>
                    <a:pt x="94959" y="18387"/>
                    <a:pt x="98536" y="11502"/>
                    <a:pt x="103543" y="12844"/>
                  </a:cubicBezTo>
                  <a:cubicBezTo>
                    <a:pt x="133854" y="20712"/>
                    <a:pt x="168813" y="10430"/>
                    <a:pt x="194564" y="35822"/>
                  </a:cubicBezTo>
                  <a:cubicBezTo>
                    <a:pt x="198677" y="36091"/>
                    <a:pt x="202879" y="36359"/>
                    <a:pt x="206992" y="36627"/>
                  </a:cubicBezTo>
                  <a:cubicBezTo>
                    <a:pt x="213877" y="55314"/>
                    <a:pt x="194922" y="84999"/>
                    <a:pt x="168634" y="86787"/>
                  </a:cubicBezTo>
                  <a:cubicBezTo>
                    <a:pt x="132602" y="89291"/>
                    <a:pt x="95406" y="103507"/>
                    <a:pt x="59821" y="83747"/>
                  </a:cubicBezTo>
                  <a:cubicBezTo>
                    <a:pt x="58122" y="82853"/>
                    <a:pt x="57228" y="80528"/>
                    <a:pt x="55976" y="78829"/>
                  </a:cubicBezTo>
                  <a:cubicBezTo>
                    <a:pt x="62503" y="65149"/>
                    <a:pt x="77077" y="72034"/>
                    <a:pt x="96032" y="64971"/>
                  </a:cubicBezTo>
                  <a:cubicBezTo>
                    <a:pt x="63665" y="56387"/>
                    <a:pt x="43995" y="66759"/>
                    <a:pt x="24235" y="77131"/>
                  </a:cubicBezTo>
                  <a:cubicBezTo>
                    <a:pt x="8409" y="77935"/>
                    <a:pt x="18870" y="61752"/>
                    <a:pt x="11360" y="571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 name="Freeform: Shape 19">
              <a:extLst>
                <a:ext uri="{FF2B5EF4-FFF2-40B4-BE49-F238E27FC236}">
                  <a16:creationId xmlns:a16="http://schemas.microsoft.com/office/drawing/2014/main" id="{BAA9A35F-68A1-0A78-CC87-C15C16D81EEF}"/>
                </a:ext>
              </a:extLst>
            </p:cNvPr>
            <p:cNvSpPr/>
            <p:nvPr/>
          </p:nvSpPr>
          <p:spPr>
            <a:xfrm>
              <a:off x="14205044" y="4670747"/>
              <a:ext cx="253914" cy="199976"/>
            </a:xfrm>
            <a:custGeom>
              <a:avLst/>
              <a:gdLst>
                <a:gd name="connsiteX0" fmla="*/ 165054 w 174173"/>
                <a:gd name="connsiteY0" fmla="*/ 67435 h 137175"/>
                <a:gd name="connsiteX1" fmla="*/ 174174 w 174173"/>
                <a:gd name="connsiteY1" fmla="*/ 85496 h 137175"/>
                <a:gd name="connsiteX2" fmla="*/ 140644 w 174173"/>
                <a:gd name="connsiteY2" fmla="*/ 96046 h 137175"/>
                <a:gd name="connsiteX3" fmla="*/ 117487 w 174173"/>
                <a:gd name="connsiteY3" fmla="*/ 137176 h 137175"/>
                <a:gd name="connsiteX4" fmla="*/ 81901 w 174173"/>
                <a:gd name="connsiteY4" fmla="*/ 112319 h 137175"/>
                <a:gd name="connsiteX5" fmla="*/ 48372 w 174173"/>
                <a:gd name="connsiteY5" fmla="*/ 118131 h 137175"/>
                <a:gd name="connsiteX6" fmla="*/ 37196 w 174173"/>
                <a:gd name="connsiteY6" fmla="*/ 125373 h 137175"/>
                <a:gd name="connsiteX7" fmla="*/ 25393 w 174173"/>
                <a:gd name="connsiteY7" fmla="*/ 131453 h 137175"/>
                <a:gd name="connsiteX8" fmla="*/ 20476 w 174173"/>
                <a:gd name="connsiteY8" fmla="*/ 127072 h 137175"/>
                <a:gd name="connsiteX9" fmla="*/ 0 w 174173"/>
                <a:gd name="connsiteY9" fmla="*/ 107491 h 137175"/>
                <a:gd name="connsiteX10" fmla="*/ 25840 w 174173"/>
                <a:gd name="connsiteY10" fmla="*/ 80578 h 137175"/>
                <a:gd name="connsiteX11" fmla="*/ 44169 w 174173"/>
                <a:gd name="connsiteY11" fmla="*/ 71011 h 137175"/>
                <a:gd name="connsiteX12" fmla="*/ 45600 w 174173"/>
                <a:gd name="connsiteY12" fmla="*/ 21388 h 137175"/>
                <a:gd name="connsiteX13" fmla="*/ 41577 w 174173"/>
                <a:gd name="connsiteY13" fmla="*/ 3058 h 137175"/>
                <a:gd name="connsiteX14" fmla="*/ 59995 w 174173"/>
                <a:gd name="connsiteY14" fmla="*/ 9407 h 137175"/>
                <a:gd name="connsiteX15" fmla="*/ 120616 w 174173"/>
                <a:gd name="connsiteY15" fmla="*/ 50894 h 137175"/>
                <a:gd name="connsiteX16" fmla="*/ 154950 w 174173"/>
                <a:gd name="connsiteY16" fmla="*/ 47228 h 137175"/>
                <a:gd name="connsiteX17" fmla="*/ 165054 w 174173"/>
                <a:gd name="connsiteY17" fmla="*/ 67345 h 1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4173" h="137175">
                  <a:moveTo>
                    <a:pt x="165054" y="67435"/>
                  </a:moveTo>
                  <a:lnTo>
                    <a:pt x="174174" y="85496"/>
                  </a:lnTo>
                  <a:cubicBezTo>
                    <a:pt x="162997" y="89251"/>
                    <a:pt x="151553" y="96672"/>
                    <a:pt x="140644" y="96046"/>
                  </a:cubicBezTo>
                  <a:cubicBezTo>
                    <a:pt x="106668" y="94079"/>
                    <a:pt x="99336" y="106865"/>
                    <a:pt x="117487" y="137176"/>
                  </a:cubicBezTo>
                  <a:cubicBezTo>
                    <a:pt x="101214" y="131006"/>
                    <a:pt x="89233" y="124837"/>
                    <a:pt x="81901" y="112319"/>
                  </a:cubicBezTo>
                  <a:cubicBezTo>
                    <a:pt x="68668" y="102395"/>
                    <a:pt x="59280" y="114912"/>
                    <a:pt x="48372" y="118131"/>
                  </a:cubicBezTo>
                  <a:cubicBezTo>
                    <a:pt x="44616" y="120545"/>
                    <a:pt x="40951" y="122959"/>
                    <a:pt x="37196" y="125373"/>
                  </a:cubicBezTo>
                  <a:cubicBezTo>
                    <a:pt x="34424" y="129665"/>
                    <a:pt x="31830" y="134314"/>
                    <a:pt x="25393" y="131453"/>
                  </a:cubicBezTo>
                  <a:cubicBezTo>
                    <a:pt x="23784" y="130023"/>
                    <a:pt x="22085" y="128592"/>
                    <a:pt x="20476" y="127072"/>
                  </a:cubicBezTo>
                  <a:cubicBezTo>
                    <a:pt x="13680" y="120545"/>
                    <a:pt x="6795" y="114018"/>
                    <a:pt x="0" y="107491"/>
                  </a:cubicBezTo>
                  <a:cubicBezTo>
                    <a:pt x="20386" y="109726"/>
                    <a:pt x="13770" y="86122"/>
                    <a:pt x="25840" y="80578"/>
                  </a:cubicBezTo>
                  <a:cubicBezTo>
                    <a:pt x="32367" y="77627"/>
                    <a:pt x="48193" y="85317"/>
                    <a:pt x="44169" y="71011"/>
                  </a:cubicBezTo>
                  <a:cubicBezTo>
                    <a:pt x="39252" y="53486"/>
                    <a:pt x="66880" y="38376"/>
                    <a:pt x="45600" y="21388"/>
                  </a:cubicBezTo>
                  <a:cubicBezTo>
                    <a:pt x="40146" y="17006"/>
                    <a:pt x="32188" y="11016"/>
                    <a:pt x="41577" y="3058"/>
                  </a:cubicBezTo>
                  <a:cubicBezTo>
                    <a:pt x="50607" y="-4631"/>
                    <a:pt x="56151" y="3952"/>
                    <a:pt x="59995" y="9407"/>
                  </a:cubicBezTo>
                  <a:cubicBezTo>
                    <a:pt x="75284" y="30955"/>
                    <a:pt x="97995" y="39717"/>
                    <a:pt x="120616" y="50894"/>
                  </a:cubicBezTo>
                  <a:cubicBezTo>
                    <a:pt x="135727" y="58404"/>
                    <a:pt x="144221" y="55006"/>
                    <a:pt x="154950" y="47228"/>
                  </a:cubicBezTo>
                  <a:cubicBezTo>
                    <a:pt x="171670" y="47228"/>
                    <a:pt x="166306" y="58315"/>
                    <a:pt x="165054" y="673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 name="Freeform: Shape 20">
              <a:extLst>
                <a:ext uri="{FF2B5EF4-FFF2-40B4-BE49-F238E27FC236}">
                  <a16:creationId xmlns:a16="http://schemas.microsoft.com/office/drawing/2014/main" id="{950BF8BC-BFB3-8D3E-49C2-044695F0B742}"/>
                </a:ext>
              </a:extLst>
            </p:cNvPr>
            <p:cNvSpPr/>
            <p:nvPr/>
          </p:nvSpPr>
          <p:spPr>
            <a:xfrm>
              <a:off x="5295007" y="6044202"/>
              <a:ext cx="368958" cy="151104"/>
            </a:xfrm>
            <a:custGeom>
              <a:avLst/>
              <a:gdLst>
                <a:gd name="connsiteX0" fmla="*/ 143 w 253088"/>
                <a:gd name="connsiteY0" fmla="*/ 21391 h 103650"/>
                <a:gd name="connsiteX1" fmla="*/ 117630 w 253088"/>
                <a:gd name="connsiteY1" fmla="*/ 16653 h 103650"/>
                <a:gd name="connsiteX2" fmla="*/ 253089 w 253088"/>
                <a:gd name="connsiteY2" fmla="*/ 87824 h 103650"/>
                <a:gd name="connsiteX3" fmla="*/ 216519 w 253088"/>
                <a:gd name="connsiteY3" fmla="*/ 100342 h 103650"/>
                <a:gd name="connsiteX4" fmla="*/ 164124 w 253088"/>
                <a:gd name="connsiteY4" fmla="*/ 93278 h 103650"/>
                <a:gd name="connsiteX5" fmla="*/ 160369 w 253088"/>
                <a:gd name="connsiteY5" fmla="*/ 77542 h 103650"/>
                <a:gd name="connsiteX6" fmla="*/ 63178 w 253088"/>
                <a:gd name="connsiteY6" fmla="*/ 41867 h 103650"/>
                <a:gd name="connsiteX7" fmla="*/ 54237 w 253088"/>
                <a:gd name="connsiteY7" fmla="*/ 39005 h 103650"/>
                <a:gd name="connsiteX8" fmla="*/ 7386 w 253088"/>
                <a:gd name="connsiteY8" fmla="*/ 27829 h 103650"/>
                <a:gd name="connsiteX9" fmla="*/ 143 w 253088"/>
                <a:gd name="connsiteY9" fmla="*/ 21391 h 10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088" h="103650">
                  <a:moveTo>
                    <a:pt x="143" y="21391"/>
                  </a:moveTo>
                  <a:cubicBezTo>
                    <a:pt x="38322" y="-7489"/>
                    <a:pt x="73640" y="-5164"/>
                    <a:pt x="117630" y="16653"/>
                  </a:cubicBezTo>
                  <a:cubicBezTo>
                    <a:pt x="163230" y="39274"/>
                    <a:pt x="207667" y="63415"/>
                    <a:pt x="253089" y="87824"/>
                  </a:cubicBezTo>
                  <a:cubicBezTo>
                    <a:pt x="242270" y="100073"/>
                    <a:pt x="229037" y="99001"/>
                    <a:pt x="216519" y="100342"/>
                  </a:cubicBezTo>
                  <a:cubicBezTo>
                    <a:pt x="198905" y="99180"/>
                    <a:pt x="179324" y="112234"/>
                    <a:pt x="164124" y="93278"/>
                  </a:cubicBezTo>
                  <a:cubicBezTo>
                    <a:pt x="174317" y="85231"/>
                    <a:pt x="167522" y="82459"/>
                    <a:pt x="160369" y="77542"/>
                  </a:cubicBezTo>
                  <a:cubicBezTo>
                    <a:pt x="130952" y="57156"/>
                    <a:pt x="99748" y="42403"/>
                    <a:pt x="63178" y="41867"/>
                  </a:cubicBezTo>
                  <a:cubicBezTo>
                    <a:pt x="60049" y="41867"/>
                    <a:pt x="54774" y="40794"/>
                    <a:pt x="54237" y="39005"/>
                  </a:cubicBezTo>
                  <a:cubicBezTo>
                    <a:pt x="44670" y="9053"/>
                    <a:pt x="24016" y="26756"/>
                    <a:pt x="7386" y="27829"/>
                  </a:cubicBezTo>
                  <a:cubicBezTo>
                    <a:pt x="769" y="30333"/>
                    <a:pt x="-483" y="26935"/>
                    <a:pt x="143" y="213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 name="Freeform: Shape 21">
              <a:extLst>
                <a:ext uri="{FF2B5EF4-FFF2-40B4-BE49-F238E27FC236}">
                  <a16:creationId xmlns:a16="http://schemas.microsoft.com/office/drawing/2014/main" id="{A1EF4DB3-C79E-F831-CD35-02DB7ED6FA33}"/>
                </a:ext>
              </a:extLst>
            </p:cNvPr>
            <p:cNvSpPr/>
            <p:nvPr/>
          </p:nvSpPr>
          <p:spPr>
            <a:xfrm>
              <a:off x="5666181" y="6173306"/>
              <a:ext cx="229279" cy="110020"/>
            </a:xfrm>
            <a:custGeom>
              <a:avLst/>
              <a:gdLst>
                <a:gd name="connsiteX0" fmla="*/ 97995 w 157274"/>
                <a:gd name="connsiteY0" fmla="*/ 1768 h 75469"/>
                <a:gd name="connsiteX1" fmla="*/ 157275 w 157274"/>
                <a:gd name="connsiteY1" fmla="*/ 48799 h 75469"/>
                <a:gd name="connsiteX2" fmla="*/ 51054 w 157274"/>
                <a:gd name="connsiteY2" fmla="*/ 67218 h 75469"/>
                <a:gd name="connsiteX3" fmla="*/ 17256 w 157274"/>
                <a:gd name="connsiteY3" fmla="*/ 72761 h 75469"/>
                <a:gd name="connsiteX4" fmla="*/ 358 w 157274"/>
                <a:gd name="connsiteY4" fmla="*/ 64804 h 75469"/>
                <a:gd name="connsiteX5" fmla="*/ 12875 w 157274"/>
                <a:gd name="connsiteY5" fmla="*/ 55415 h 75469"/>
                <a:gd name="connsiteX6" fmla="*/ 38447 w 157274"/>
                <a:gd name="connsiteY6" fmla="*/ 43971 h 75469"/>
                <a:gd name="connsiteX7" fmla="*/ 32278 w 157274"/>
                <a:gd name="connsiteY7" fmla="*/ 15538 h 75469"/>
                <a:gd name="connsiteX8" fmla="*/ 44527 w 157274"/>
                <a:gd name="connsiteY8" fmla="*/ 4630 h 75469"/>
                <a:gd name="connsiteX9" fmla="*/ 97995 w 157274"/>
                <a:gd name="connsiteY9" fmla="*/ 1858 h 7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274" h="75469">
                  <a:moveTo>
                    <a:pt x="97995" y="1768"/>
                  </a:moveTo>
                  <a:cubicBezTo>
                    <a:pt x="117755" y="17415"/>
                    <a:pt x="137515" y="33152"/>
                    <a:pt x="157275" y="48799"/>
                  </a:cubicBezTo>
                  <a:cubicBezTo>
                    <a:pt x="119633" y="46742"/>
                    <a:pt x="88696" y="75533"/>
                    <a:pt x="51054" y="67218"/>
                  </a:cubicBezTo>
                  <a:cubicBezTo>
                    <a:pt x="40772" y="64893"/>
                    <a:pt x="28075" y="62747"/>
                    <a:pt x="17256" y="72761"/>
                  </a:cubicBezTo>
                  <a:cubicBezTo>
                    <a:pt x="10104" y="79378"/>
                    <a:pt x="2235" y="72761"/>
                    <a:pt x="358" y="64804"/>
                  </a:cubicBezTo>
                  <a:cubicBezTo>
                    <a:pt x="-1967" y="54790"/>
                    <a:pt x="7600" y="57561"/>
                    <a:pt x="12875" y="55415"/>
                  </a:cubicBezTo>
                  <a:cubicBezTo>
                    <a:pt x="21816" y="51749"/>
                    <a:pt x="40682" y="65698"/>
                    <a:pt x="38447" y="43971"/>
                  </a:cubicBezTo>
                  <a:cubicBezTo>
                    <a:pt x="37553" y="35655"/>
                    <a:pt x="43365" y="26267"/>
                    <a:pt x="32278" y="15538"/>
                  </a:cubicBezTo>
                  <a:cubicBezTo>
                    <a:pt x="18508" y="2216"/>
                    <a:pt x="39788" y="8385"/>
                    <a:pt x="44527" y="4630"/>
                  </a:cubicBezTo>
                  <a:cubicBezTo>
                    <a:pt x="62678" y="9458"/>
                    <a:pt x="79755" y="-4937"/>
                    <a:pt x="97995" y="18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 name="Freeform: Shape 22">
              <a:extLst>
                <a:ext uri="{FF2B5EF4-FFF2-40B4-BE49-F238E27FC236}">
                  <a16:creationId xmlns:a16="http://schemas.microsoft.com/office/drawing/2014/main" id="{C31A2A5C-C01D-0495-DB29-357C39251936}"/>
                </a:ext>
              </a:extLst>
            </p:cNvPr>
            <p:cNvSpPr/>
            <p:nvPr/>
          </p:nvSpPr>
          <p:spPr>
            <a:xfrm>
              <a:off x="12086095" y="6419977"/>
              <a:ext cx="105227" cy="157601"/>
            </a:xfrm>
            <a:custGeom>
              <a:avLst/>
              <a:gdLst>
                <a:gd name="connsiteX0" fmla="*/ 72181 w 72180"/>
                <a:gd name="connsiteY0" fmla="*/ 83362 h 108107"/>
                <a:gd name="connsiteX1" fmla="*/ 5301 w 72180"/>
                <a:gd name="connsiteY1" fmla="*/ 76746 h 108107"/>
                <a:gd name="connsiteX2" fmla="*/ 4943 w 72180"/>
                <a:gd name="connsiteY2" fmla="*/ 44200 h 108107"/>
                <a:gd name="connsiteX3" fmla="*/ 6731 w 72180"/>
                <a:gd name="connsiteY3" fmla="*/ 38120 h 108107"/>
                <a:gd name="connsiteX4" fmla="*/ 6195 w 72180"/>
                <a:gd name="connsiteY4" fmla="*/ 1729 h 108107"/>
                <a:gd name="connsiteX5" fmla="*/ 43569 w 72180"/>
                <a:gd name="connsiteY5" fmla="*/ 14157 h 108107"/>
                <a:gd name="connsiteX6" fmla="*/ 72091 w 72180"/>
                <a:gd name="connsiteY6" fmla="*/ 83362 h 10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0" h="108107">
                  <a:moveTo>
                    <a:pt x="72181" y="83362"/>
                  </a:moveTo>
                  <a:cubicBezTo>
                    <a:pt x="40797" y="117428"/>
                    <a:pt x="39545" y="117339"/>
                    <a:pt x="5301" y="76746"/>
                  </a:cubicBezTo>
                  <a:cubicBezTo>
                    <a:pt x="-421" y="65927"/>
                    <a:pt x="1635" y="55108"/>
                    <a:pt x="4943" y="44200"/>
                  </a:cubicBezTo>
                  <a:cubicBezTo>
                    <a:pt x="5569" y="42143"/>
                    <a:pt x="5837" y="39998"/>
                    <a:pt x="6731" y="38120"/>
                  </a:cubicBezTo>
                  <a:cubicBezTo>
                    <a:pt x="13258" y="25513"/>
                    <a:pt x="-10794" y="11028"/>
                    <a:pt x="6195" y="1729"/>
                  </a:cubicBezTo>
                  <a:cubicBezTo>
                    <a:pt x="18802" y="-5155"/>
                    <a:pt x="30694" y="10492"/>
                    <a:pt x="43569" y="14157"/>
                  </a:cubicBezTo>
                  <a:cubicBezTo>
                    <a:pt x="52063" y="37584"/>
                    <a:pt x="71197" y="56717"/>
                    <a:pt x="72091" y="833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 name="Freeform: Shape 24">
              <a:extLst>
                <a:ext uri="{FF2B5EF4-FFF2-40B4-BE49-F238E27FC236}">
                  <a16:creationId xmlns:a16="http://schemas.microsoft.com/office/drawing/2014/main" id="{8DCA80DB-4395-D789-4CB6-D2D0DDA88090}"/>
                </a:ext>
              </a:extLst>
            </p:cNvPr>
            <p:cNvSpPr/>
            <p:nvPr/>
          </p:nvSpPr>
          <p:spPr>
            <a:xfrm>
              <a:off x="13908896" y="5276101"/>
              <a:ext cx="113380" cy="145465"/>
            </a:xfrm>
            <a:custGeom>
              <a:avLst/>
              <a:gdLst>
                <a:gd name="connsiteX0" fmla="*/ 28522 w 77774"/>
                <a:gd name="connsiteY0" fmla="*/ 894 h 99783"/>
                <a:gd name="connsiteX1" fmla="*/ 37284 w 77774"/>
                <a:gd name="connsiteY1" fmla="*/ 0 h 99783"/>
                <a:gd name="connsiteX2" fmla="*/ 77609 w 77774"/>
                <a:gd name="connsiteY2" fmla="*/ 29506 h 99783"/>
                <a:gd name="connsiteX3" fmla="*/ 76357 w 77774"/>
                <a:gd name="connsiteY3" fmla="*/ 82169 h 99783"/>
                <a:gd name="connsiteX4" fmla="*/ 59548 w 77774"/>
                <a:gd name="connsiteY4" fmla="*/ 99515 h 99783"/>
                <a:gd name="connsiteX5" fmla="*/ 46494 w 77774"/>
                <a:gd name="connsiteY5" fmla="*/ 99783 h 99783"/>
                <a:gd name="connsiteX6" fmla="*/ 34513 w 77774"/>
                <a:gd name="connsiteY6" fmla="*/ 61783 h 99783"/>
                <a:gd name="connsiteX7" fmla="*/ 31384 w 77774"/>
                <a:gd name="connsiteY7" fmla="*/ 48819 h 99783"/>
                <a:gd name="connsiteX8" fmla="*/ 0 w 77774"/>
                <a:gd name="connsiteY8" fmla="*/ 28075 h 99783"/>
                <a:gd name="connsiteX9" fmla="*/ 28701 w 77774"/>
                <a:gd name="connsiteY9" fmla="*/ 984 h 9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4" h="99783">
                  <a:moveTo>
                    <a:pt x="28522" y="894"/>
                  </a:moveTo>
                  <a:cubicBezTo>
                    <a:pt x="31384" y="626"/>
                    <a:pt x="34334" y="358"/>
                    <a:pt x="37284" y="0"/>
                  </a:cubicBezTo>
                  <a:cubicBezTo>
                    <a:pt x="50428" y="10193"/>
                    <a:pt x="71171" y="9925"/>
                    <a:pt x="77609" y="29506"/>
                  </a:cubicBezTo>
                  <a:cubicBezTo>
                    <a:pt x="78772" y="47120"/>
                    <a:pt x="73317" y="64555"/>
                    <a:pt x="76357" y="82169"/>
                  </a:cubicBezTo>
                  <a:cubicBezTo>
                    <a:pt x="74569" y="91647"/>
                    <a:pt x="71350" y="99783"/>
                    <a:pt x="59548" y="99515"/>
                  </a:cubicBezTo>
                  <a:cubicBezTo>
                    <a:pt x="55167" y="99515"/>
                    <a:pt x="50786" y="99694"/>
                    <a:pt x="46494" y="99783"/>
                  </a:cubicBezTo>
                  <a:cubicBezTo>
                    <a:pt x="26019" y="92541"/>
                    <a:pt x="35228" y="75106"/>
                    <a:pt x="34513" y="61783"/>
                  </a:cubicBezTo>
                  <a:cubicBezTo>
                    <a:pt x="34155" y="56508"/>
                    <a:pt x="39967" y="45153"/>
                    <a:pt x="31384" y="48819"/>
                  </a:cubicBezTo>
                  <a:cubicBezTo>
                    <a:pt x="7153" y="59369"/>
                    <a:pt x="13590" y="29595"/>
                    <a:pt x="0" y="28075"/>
                  </a:cubicBezTo>
                  <a:cubicBezTo>
                    <a:pt x="3845" y="13054"/>
                    <a:pt x="15200" y="5901"/>
                    <a:pt x="28701" y="9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 name="Freeform: Shape 25">
              <a:extLst>
                <a:ext uri="{FF2B5EF4-FFF2-40B4-BE49-F238E27FC236}">
                  <a16:creationId xmlns:a16="http://schemas.microsoft.com/office/drawing/2014/main" id="{3A581858-6BE0-E001-0D60-C09B782FFF8A}"/>
                </a:ext>
              </a:extLst>
            </p:cNvPr>
            <p:cNvSpPr/>
            <p:nvPr/>
          </p:nvSpPr>
          <p:spPr>
            <a:xfrm>
              <a:off x="14048923" y="5276285"/>
              <a:ext cx="97926" cy="94977"/>
            </a:xfrm>
            <a:custGeom>
              <a:avLst/>
              <a:gdLst>
                <a:gd name="connsiteX0" fmla="*/ 67124 w 67173"/>
                <a:gd name="connsiteY0" fmla="*/ 11230 h 65150"/>
                <a:gd name="connsiteX1" fmla="*/ 42983 w 67173"/>
                <a:gd name="connsiteY1" fmla="*/ 44133 h 65150"/>
                <a:gd name="connsiteX2" fmla="*/ 16964 w 67173"/>
                <a:gd name="connsiteY2" fmla="*/ 62552 h 65150"/>
                <a:gd name="connsiteX3" fmla="*/ 16964 w 67173"/>
                <a:gd name="connsiteY3" fmla="*/ 62552 h 65150"/>
                <a:gd name="connsiteX4" fmla="*/ 334 w 67173"/>
                <a:gd name="connsiteY4" fmla="*/ 40110 h 65150"/>
                <a:gd name="connsiteX5" fmla="*/ 28945 w 67173"/>
                <a:gd name="connsiteY5" fmla="*/ 7296 h 65150"/>
                <a:gd name="connsiteX6" fmla="*/ 67035 w 67173"/>
                <a:gd name="connsiteY6" fmla="*/ 11230 h 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73" h="65150">
                  <a:moveTo>
                    <a:pt x="67124" y="11230"/>
                  </a:moveTo>
                  <a:cubicBezTo>
                    <a:pt x="67482" y="28397"/>
                    <a:pt x="66498" y="44402"/>
                    <a:pt x="42983" y="44133"/>
                  </a:cubicBezTo>
                  <a:cubicBezTo>
                    <a:pt x="29124" y="42971"/>
                    <a:pt x="38244" y="74175"/>
                    <a:pt x="16964" y="62552"/>
                  </a:cubicBezTo>
                  <a:lnTo>
                    <a:pt x="16964" y="62552"/>
                  </a:lnTo>
                  <a:cubicBezTo>
                    <a:pt x="9901" y="56293"/>
                    <a:pt x="2927" y="49855"/>
                    <a:pt x="334" y="40110"/>
                  </a:cubicBezTo>
                  <a:cubicBezTo>
                    <a:pt x="-2438" y="18472"/>
                    <a:pt x="12494" y="12213"/>
                    <a:pt x="28945" y="7296"/>
                  </a:cubicBezTo>
                  <a:cubicBezTo>
                    <a:pt x="42357" y="1752"/>
                    <a:pt x="56216" y="-7636"/>
                    <a:pt x="67035" y="112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 name="Freeform: Shape 27">
              <a:extLst>
                <a:ext uri="{FF2B5EF4-FFF2-40B4-BE49-F238E27FC236}">
                  <a16:creationId xmlns:a16="http://schemas.microsoft.com/office/drawing/2014/main" id="{9C8BC889-F936-25D0-9201-5710F5EB7153}"/>
                </a:ext>
              </a:extLst>
            </p:cNvPr>
            <p:cNvSpPr/>
            <p:nvPr/>
          </p:nvSpPr>
          <p:spPr>
            <a:xfrm>
              <a:off x="10249339" y="2192623"/>
              <a:ext cx="105013" cy="95204"/>
            </a:xfrm>
            <a:custGeom>
              <a:avLst/>
              <a:gdLst>
                <a:gd name="connsiteX0" fmla="*/ 43600 w 72033"/>
                <a:gd name="connsiteY0" fmla="*/ 7156 h 65305"/>
                <a:gd name="connsiteX1" fmla="*/ 68009 w 72033"/>
                <a:gd name="connsiteY1" fmla="*/ 3133 h 65305"/>
                <a:gd name="connsiteX2" fmla="*/ 68009 w 72033"/>
                <a:gd name="connsiteY2" fmla="*/ 18690 h 65305"/>
                <a:gd name="connsiteX3" fmla="*/ 56654 w 72033"/>
                <a:gd name="connsiteY3" fmla="*/ 52488 h 65305"/>
                <a:gd name="connsiteX4" fmla="*/ 10339 w 72033"/>
                <a:gd name="connsiteY4" fmla="*/ 65274 h 65305"/>
                <a:gd name="connsiteX5" fmla="*/ 4795 w 72033"/>
                <a:gd name="connsiteY5" fmla="*/ 58478 h 65305"/>
                <a:gd name="connsiteX6" fmla="*/ 414 w 72033"/>
                <a:gd name="connsiteY6" fmla="*/ 47212 h 65305"/>
                <a:gd name="connsiteX7" fmla="*/ 29652 w 72033"/>
                <a:gd name="connsiteY7" fmla="*/ 22356 h 65305"/>
                <a:gd name="connsiteX8" fmla="*/ 43600 w 72033"/>
                <a:gd name="connsiteY8" fmla="*/ 7245 h 6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33" h="65305">
                  <a:moveTo>
                    <a:pt x="43600" y="7156"/>
                  </a:moveTo>
                  <a:cubicBezTo>
                    <a:pt x="50932" y="1255"/>
                    <a:pt x="58442" y="-3305"/>
                    <a:pt x="68009" y="3133"/>
                  </a:cubicBezTo>
                  <a:cubicBezTo>
                    <a:pt x="75878" y="8408"/>
                    <a:pt x="70155" y="13504"/>
                    <a:pt x="68009" y="18690"/>
                  </a:cubicBezTo>
                  <a:cubicBezTo>
                    <a:pt x="59784" y="28436"/>
                    <a:pt x="62466" y="41937"/>
                    <a:pt x="56654" y="52488"/>
                  </a:cubicBezTo>
                  <a:cubicBezTo>
                    <a:pt x="42974" y="63128"/>
                    <a:pt x="27059" y="65631"/>
                    <a:pt x="10339" y="65274"/>
                  </a:cubicBezTo>
                  <a:cubicBezTo>
                    <a:pt x="8462" y="63038"/>
                    <a:pt x="6584" y="60714"/>
                    <a:pt x="4795" y="58478"/>
                  </a:cubicBezTo>
                  <a:cubicBezTo>
                    <a:pt x="-301" y="56154"/>
                    <a:pt x="-480" y="51862"/>
                    <a:pt x="414" y="47212"/>
                  </a:cubicBezTo>
                  <a:cubicBezTo>
                    <a:pt x="8372" y="36841"/>
                    <a:pt x="21784" y="32817"/>
                    <a:pt x="29652" y="22356"/>
                  </a:cubicBezTo>
                  <a:cubicBezTo>
                    <a:pt x="34212" y="17260"/>
                    <a:pt x="37162" y="10554"/>
                    <a:pt x="43600" y="724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9" name="Freeform: Shape 28">
              <a:extLst>
                <a:ext uri="{FF2B5EF4-FFF2-40B4-BE49-F238E27FC236}">
                  <a16:creationId xmlns:a16="http://schemas.microsoft.com/office/drawing/2014/main" id="{04810625-13CB-AD80-32C6-A34E53316921}"/>
                </a:ext>
              </a:extLst>
            </p:cNvPr>
            <p:cNvSpPr/>
            <p:nvPr/>
          </p:nvSpPr>
          <p:spPr>
            <a:xfrm>
              <a:off x="1708213" y="3606227"/>
              <a:ext cx="133299" cy="53708"/>
            </a:xfrm>
            <a:custGeom>
              <a:avLst/>
              <a:gdLst>
                <a:gd name="connsiteX0" fmla="*/ 74837 w 91437"/>
                <a:gd name="connsiteY0" fmla="*/ 36842 h 36841"/>
                <a:gd name="connsiteX1" fmla="*/ 0 w 91437"/>
                <a:gd name="connsiteY1" fmla="*/ 3938 h 36841"/>
                <a:gd name="connsiteX2" fmla="*/ 91379 w 91437"/>
                <a:gd name="connsiteY2" fmla="*/ 13684 h 36841"/>
                <a:gd name="connsiteX3" fmla="*/ 76715 w 91437"/>
                <a:gd name="connsiteY3" fmla="*/ 36752 h 36841"/>
                <a:gd name="connsiteX4" fmla="*/ 74837 w 91437"/>
                <a:gd name="connsiteY4" fmla="*/ 36752 h 36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37" h="36841">
                  <a:moveTo>
                    <a:pt x="74837" y="36842"/>
                  </a:moveTo>
                  <a:cubicBezTo>
                    <a:pt x="52753" y="20032"/>
                    <a:pt x="26376" y="12432"/>
                    <a:pt x="0" y="3938"/>
                  </a:cubicBezTo>
                  <a:cubicBezTo>
                    <a:pt x="32009" y="-3125"/>
                    <a:pt x="62141" y="-1158"/>
                    <a:pt x="91379" y="13684"/>
                  </a:cubicBezTo>
                  <a:cubicBezTo>
                    <a:pt x="92452" y="24592"/>
                    <a:pt x="78593" y="27096"/>
                    <a:pt x="76715" y="36752"/>
                  </a:cubicBezTo>
                  <a:lnTo>
                    <a:pt x="74837" y="36752"/>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0" name="Freeform: Shape 29">
              <a:extLst>
                <a:ext uri="{FF2B5EF4-FFF2-40B4-BE49-F238E27FC236}">
                  <a16:creationId xmlns:a16="http://schemas.microsoft.com/office/drawing/2014/main" id="{6BDCC8AA-72CF-3909-3E1D-875834C5A622}"/>
                </a:ext>
              </a:extLst>
            </p:cNvPr>
            <p:cNvSpPr/>
            <p:nvPr/>
          </p:nvSpPr>
          <p:spPr>
            <a:xfrm>
              <a:off x="5482784" y="6265669"/>
              <a:ext cx="86027" cy="28319"/>
            </a:xfrm>
            <a:custGeom>
              <a:avLst/>
              <a:gdLst>
                <a:gd name="connsiteX0" fmla="*/ 0 w 59011"/>
                <a:gd name="connsiteY0" fmla="*/ 9583 h 19425"/>
                <a:gd name="connsiteX1" fmla="*/ 59012 w 59011"/>
                <a:gd name="connsiteY1" fmla="*/ 11639 h 19425"/>
                <a:gd name="connsiteX2" fmla="*/ 0 w 59011"/>
                <a:gd name="connsiteY2" fmla="*/ 9583 h 19425"/>
              </a:gdLst>
              <a:ahLst/>
              <a:cxnLst>
                <a:cxn ang="0">
                  <a:pos x="connsiteX0" y="connsiteY0"/>
                </a:cxn>
                <a:cxn ang="0">
                  <a:pos x="connsiteX1" y="connsiteY1"/>
                </a:cxn>
                <a:cxn ang="0">
                  <a:pos x="connsiteX2" y="connsiteY2"/>
                </a:cxn>
              </a:cxnLst>
              <a:rect l="l" t="t" r="r" b="b"/>
              <a:pathLst>
                <a:path w="59011" h="19425">
                  <a:moveTo>
                    <a:pt x="0" y="9583"/>
                  </a:moveTo>
                  <a:cubicBezTo>
                    <a:pt x="22532" y="1893"/>
                    <a:pt x="41487" y="-8389"/>
                    <a:pt x="59012" y="11639"/>
                  </a:cubicBezTo>
                  <a:cubicBezTo>
                    <a:pt x="45064" y="22664"/>
                    <a:pt x="25393" y="21984"/>
                    <a:pt x="0" y="95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1" name="Freeform: Shape 30">
              <a:extLst>
                <a:ext uri="{FF2B5EF4-FFF2-40B4-BE49-F238E27FC236}">
                  <a16:creationId xmlns:a16="http://schemas.microsoft.com/office/drawing/2014/main" id="{0AC70D3F-558C-137F-B527-3CFB7EB3D06F}"/>
                </a:ext>
              </a:extLst>
            </p:cNvPr>
            <p:cNvSpPr/>
            <p:nvPr/>
          </p:nvSpPr>
          <p:spPr>
            <a:xfrm>
              <a:off x="5934459" y="6242452"/>
              <a:ext cx="84831" cy="30039"/>
            </a:xfrm>
            <a:custGeom>
              <a:avLst/>
              <a:gdLst>
                <a:gd name="connsiteX0" fmla="*/ 58190 w 58190"/>
                <a:gd name="connsiteY0" fmla="*/ 2350 h 20605"/>
                <a:gd name="connsiteX1" fmla="*/ 2934 w 58190"/>
                <a:gd name="connsiteY1" fmla="*/ 19606 h 20605"/>
                <a:gd name="connsiteX2" fmla="*/ 2666 w 58190"/>
                <a:gd name="connsiteY2" fmla="*/ 9235 h 20605"/>
                <a:gd name="connsiteX3" fmla="*/ 58190 w 58190"/>
                <a:gd name="connsiteY3" fmla="*/ 2350 h 20605"/>
              </a:gdLst>
              <a:ahLst/>
              <a:cxnLst>
                <a:cxn ang="0">
                  <a:pos x="connsiteX0" y="connsiteY0"/>
                </a:cxn>
                <a:cxn ang="0">
                  <a:pos x="connsiteX1" y="connsiteY1"/>
                </a:cxn>
                <a:cxn ang="0">
                  <a:pos x="connsiteX2" y="connsiteY2"/>
                </a:cxn>
                <a:cxn ang="0">
                  <a:pos x="connsiteX3" y="connsiteY3"/>
                </a:cxn>
              </a:cxnLst>
              <a:rect l="l" t="t" r="r" b="b"/>
              <a:pathLst>
                <a:path w="58190" h="20605">
                  <a:moveTo>
                    <a:pt x="58190" y="2350"/>
                  </a:moveTo>
                  <a:cubicBezTo>
                    <a:pt x="41381" y="23809"/>
                    <a:pt x="21710" y="21126"/>
                    <a:pt x="2934" y="19606"/>
                  </a:cubicBezTo>
                  <a:cubicBezTo>
                    <a:pt x="-1626" y="19249"/>
                    <a:pt x="-196" y="12364"/>
                    <a:pt x="2666" y="9235"/>
                  </a:cubicBezTo>
                  <a:cubicBezTo>
                    <a:pt x="19117" y="-8111"/>
                    <a:pt x="37626" y="4764"/>
                    <a:pt x="58190" y="23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2" name="Freeform: Shape 31">
              <a:extLst>
                <a:ext uri="{FF2B5EF4-FFF2-40B4-BE49-F238E27FC236}">
                  <a16:creationId xmlns:a16="http://schemas.microsoft.com/office/drawing/2014/main" id="{5798CECF-CA43-F066-CF9E-8EB93D4D5577}"/>
                </a:ext>
              </a:extLst>
            </p:cNvPr>
            <p:cNvSpPr/>
            <p:nvPr/>
          </p:nvSpPr>
          <p:spPr>
            <a:xfrm>
              <a:off x="8938920" y="4012292"/>
              <a:ext cx="28479" cy="26768"/>
            </a:xfrm>
            <a:custGeom>
              <a:avLst/>
              <a:gdLst>
                <a:gd name="connsiteX0" fmla="*/ 0 w 19535"/>
                <a:gd name="connsiteY0" fmla="*/ 3200 h 18361"/>
                <a:gd name="connsiteX1" fmla="*/ 11355 w 19535"/>
                <a:gd name="connsiteY1" fmla="*/ 696 h 18361"/>
                <a:gd name="connsiteX2" fmla="*/ 19134 w 19535"/>
                <a:gd name="connsiteY2" fmla="*/ 8296 h 18361"/>
                <a:gd name="connsiteX3" fmla="*/ 536 w 19535"/>
                <a:gd name="connsiteY3" fmla="*/ 18132 h 18361"/>
                <a:gd name="connsiteX4" fmla="*/ 0 w 19535"/>
                <a:gd name="connsiteY4" fmla="*/ 3200 h 1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35" h="18361">
                  <a:moveTo>
                    <a:pt x="0" y="3200"/>
                  </a:moveTo>
                  <a:cubicBezTo>
                    <a:pt x="3756" y="2395"/>
                    <a:pt x="7600" y="1590"/>
                    <a:pt x="11355" y="696"/>
                  </a:cubicBezTo>
                  <a:cubicBezTo>
                    <a:pt x="18598" y="-1539"/>
                    <a:pt x="20476" y="1769"/>
                    <a:pt x="19134" y="8296"/>
                  </a:cubicBezTo>
                  <a:cubicBezTo>
                    <a:pt x="15021" y="15449"/>
                    <a:pt x="9210" y="19383"/>
                    <a:pt x="536" y="18132"/>
                  </a:cubicBezTo>
                  <a:cubicBezTo>
                    <a:pt x="358" y="13125"/>
                    <a:pt x="179" y="8118"/>
                    <a:pt x="0" y="32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3" name="Freeform: Shape 32">
              <a:extLst>
                <a:ext uri="{FF2B5EF4-FFF2-40B4-BE49-F238E27FC236}">
                  <a16:creationId xmlns:a16="http://schemas.microsoft.com/office/drawing/2014/main" id="{571E27C0-C6F5-D075-C88A-76FED72C3F23}"/>
                </a:ext>
              </a:extLst>
            </p:cNvPr>
            <p:cNvSpPr/>
            <p:nvPr/>
          </p:nvSpPr>
          <p:spPr>
            <a:xfrm>
              <a:off x="5513677" y="5848280"/>
              <a:ext cx="25156" cy="22085"/>
            </a:xfrm>
            <a:custGeom>
              <a:avLst/>
              <a:gdLst>
                <a:gd name="connsiteX0" fmla="*/ 17256 w 17256"/>
                <a:gd name="connsiteY0" fmla="*/ 4948 h 15149"/>
                <a:gd name="connsiteX1" fmla="*/ 6169 w 17256"/>
                <a:gd name="connsiteY1" fmla="*/ 14872 h 15149"/>
                <a:gd name="connsiteX2" fmla="*/ 0 w 17256"/>
                <a:gd name="connsiteY2" fmla="*/ 9776 h 15149"/>
                <a:gd name="connsiteX3" fmla="*/ 10729 w 17256"/>
                <a:gd name="connsiteY3" fmla="*/ 298 h 15149"/>
                <a:gd name="connsiteX4" fmla="*/ 17256 w 17256"/>
                <a:gd name="connsiteY4" fmla="*/ 5037 h 1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56" h="15149">
                  <a:moveTo>
                    <a:pt x="17256" y="4948"/>
                  </a:moveTo>
                  <a:cubicBezTo>
                    <a:pt x="16004" y="10938"/>
                    <a:pt x="11445" y="13352"/>
                    <a:pt x="6169" y="14872"/>
                  </a:cubicBezTo>
                  <a:cubicBezTo>
                    <a:pt x="1788" y="16124"/>
                    <a:pt x="89" y="12905"/>
                    <a:pt x="0" y="9776"/>
                  </a:cubicBezTo>
                  <a:cubicBezTo>
                    <a:pt x="0" y="2981"/>
                    <a:pt x="5901" y="1818"/>
                    <a:pt x="10729" y="298"/>
                  </a:cubicBezTo>
                  <a:cubicBezTo>
                    <a:pt x="14127" y="-775"/>
                    <a:pt x="16720" y="1103"/>
                    <a:pt x="17256" y="503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4" name="Freeform: Shape 33">
              <a:extLst>
                <a:ext uri="{FF2B5EF4-FFF2-40B4-BE49-F238E27FC236}">
                  <a16:creationId xmlns:a16="http://schemas.microsoft.com/office/drawing/2014/main" id="{A08B3A14-41DF-19EE-B12C-5711CA9C78A5}"/>
                </a:ext>
              </a:extLst>
            </p:cNvPr>
            <p:cNvSpPr/>
            <p:nvPr/>
          </p:nvSpPr>
          <p:spPr>
            <a:xfrm>
              <a:off x="9474984" y="5142912"/>
              <a:ext cx="99503" cy="89446"/>
            </a:xfrm>
            <a:custGeom>
              <a:avLst/>
              <a:gdLst>
                <a:gd name="connsiteX0" fmla="*/ 68256 w 68255"/>
                <a:gd name="connsiteY0" fmla="*/ 8746 h 61355"/>
                <a:gd name="connsiteX1" fmla="*/ 54576 w 68255"/>
                <a:gd name="connsiteY1" fmla="*/ 46031 h 61355"/>
                <a:gd name="connsiteX2" fmla="*/ 35085 w 68255"/>
                <a:gd name="connsiteY2" fmla="*/ 53094 h 61355"/>
                <a:gd name="connsiteX3" fmla="*/ 1823 w 68255"/>
                <a:gd name="connsiteY3" fmla="*/ 15809 h 61355"/>
                <a:gd name="connsiteX4" fmla="*/ 20242 w 68255"/>
                <a:gd name="connsiteY4" fmla="*/ 2487 h 61355"/>
                <a:gd name="connsiteX5" fmla="*/ 59762 w 68255"/>
                <a:gd name="connsiteY5" fmla="*/ 73 h 61355"/>
                <a:gd name="connsiteX6" fmla="*/ 68256 w 68255"/>
                <a:gd name="connsiteY6" fmla="*/ 8746 h 6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55" h="61355">
                  <a:moveTo>
                    <a:pt x="68256" y="8746"/>
                  </a:moveTo>
                  <a:cubicBezTo>
                    <a:pt x="57885" y="19028"/>
                    <a:pt x="53414" y="31456"/>
                    <a:pt x="54576" y="46031"/>
                  </a:cubicBezTo>
                  <a:cubicBezTo>
                    <a:pt x="56543" y="71513"/>
                    <a:pt x="44473" y="58816"/>
                    <a:pt x="35085" y="53094"/>
                  </a:cubicBezTo>
                  <a:cubicBezTo>
                    <a:pt x="9959" y="53809"/>
                    <a:pt x="10228" y="29132"/>
                    <a:pt x="1823" y="15809"/>
                  </a:cubicBezTo>
                  <a:cubicBezTo>
                    <a:pt x="-5509" y="4007"/>
                    <a:pt x="11033" y="3560"/>
                    <a:pt x="20242" y="2487"/>
                  </a:cubicBezTo>
                  <a:cubicBezTo>
                    <a:pt x="33833" y="8478"/>
                    <a:pt x="46440" y="-911"/>
                    <a:pt x="59762" y="73"/>
                  </a:cubicBezTo>
                  <a:cubicBezTo>
                    <a:pt x="62623" y="2934"/>
                    <a:pt x="65395" y="5885"/>
                    <a:pt x="68256" y="87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5" name="Freeform: Shape 34">
              <a:extLst>
                <a:ext uri="{FF2B5EF4-FFF2-40B4-BE49-F238E27FC236}">
                  <a16:creationId xmlns:a16="http://schemas.microsoft.com/office/drawing/2014/main" id="{8722BDE3-D850-43E9-E589-6E0F95DE6EA0}"/>
                </a:ext>
              </a:extLst>
            </p:cNvPr>
            <p:cNvSpPr/>
            <p:nvPr/>
          </p:nvSpPr>
          <p:spPr>
            <a:xfrm>
              <a:off x="5535964" y="9462329"/>
              <a:ext cx="45343" cy="68661"/>
            </a:xfrm>
            <a:custGeom>
              <a:avLst/>
              <a:gdLst>
                <a:gd name="connsiteX0" fmla="*/ 5275 w 31102"/>
                <a:gd name="connsiteY0" fmla="*/ 19386 h 47098"/>
                <a:gd name="connsiteX1" fmla="*/ 19313 w 31102"/>
                <a:gd name="connsiteY1" fmla="*/ 162 h 47098"/>
                <a:gd name="connsiteX2" fmla="*/ 27450 w 31102"/>
                <a:gd name="connsiteY2" fmla="*/ 36017 h 47098"/>
                <a:gd name="connsiteX3" fmla="*/ 25661 w 31102"/>
                <a:gd name="connsiteY3" fmla="*/ 46835 h 47098"/>
                <a:gd name="connsiteX4" fmla="*/ 6796 w 31102"/>
                <a:gd name="connsiteY4" fmla="*/ 40576 h 47098"/>
                <a:gd name="connsiteX5" fmla="*/ 5275 w 31102"/>
                <a:gd name="connsiteY5" fmla="*/ 19475 h 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02" h="47098">
                  <a:moveTo>
                    <a:pt x="5275" y="19386"/>
                  </a:moveTo>
                  <a:cubicBezTo>
                    <a:pt x="6438" y="10444"/>
                    <a:pt x="3487" y="-1536"/>
                    <a:pt x="19313" y="162"/>
                  </a:cubicBezTo>
                  <a:cubicBezTo>
                    <a:pt x="30042" y="10266"/>
                    <a:pt x="35049" y="21710"/>
                    <a:pt x="27450" y="36017"/>
                  </a:cubicBezTo>
                  <a:cubicBezTo>
                    <a:pt x="26824" y="39593"/>
                    <a:pt x="26287" y="43169"/>
                    <a:pt x="25661" y="46835"/>
                  </a:cubicBezTo>
                  <a:cubicBezTo>
                    <a:pt x="18240" y="48087"/>
                    <a:pt x="12428" y="44689"/>
                    <a:pt x="6796" y="40576"/>
                  </a:cubicBezTo>
                  <a:cubicBezTo>
                    <a:pt x="-8226" y="34586"/>
                    <a:pt x="6527" y="26450"/>
                    <a:pt x="5275" y="194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6" name="Freeform: Shape 35">
              <a:extLst>
                <a:ext uri="{FF2B5EF4-FFF2-40B4-BE49-F238E27FC236}">
                  <a16:creationId xmlns:a16="http://schemas.microsoft.com/office/drawing/2014/main" id="{6F70B434-33AD-742F-8999-479066B91E6F}"/>
                </a:ext>
              </a:extLst>
            </p:cNvPr>
            <p:cNvSpPr/>
            <p:nvPr/>
          </p:nvSpPr>
          <p:spPr>
            <a:xfrm>
              <a:off x="5559579" y="2744562"/>
              <a:ext cx="976789" cy="957457"/>
            </a:xfrm>
            <a:custGeom>
              <a:avLst/>
              <a:gdLst>
                <a:gd name="connsiteX0" fmla="*/ 531895 w 670032"/>
                <a:gd name="connsiteY0" fmla="*/ 289482 h 656770"/>
                <a:gd name="connsiteX1" fmla="*/ 565424 w 670032"/>
                <a:gd name="connsiteY1" fmla="*/ 335082 h 656770"/>
                <a:gd name="connsiteX2" fmla="*/ 608520 w 670032"/>
                <a:gd name="connsiteY2" fmla="*/ 382470 h 656770"/>
                <a:gd name="connsiteX3" fmla="*/ 643391 w 670032"/>
                <a:gd name="connsiteY3" fmla="*/ 398832 h 656770"/>
                <a:gd name="connsiteX4" fmla="*/ 667264 w 670032"/>
                <a:gd name="connsiteY4" fmla="*/ 398832 h 656770"/>
                <a:gd name="connsiteX5" fmla="*/ 661363 w 670032"/>
                <a:gd name="connsiteY5" fmla="*/ 423689 h 656770"/>
                <a:gd name="connsiteX6" fmla="*/ 640440 w 670032"/>
                <a:gd name="connsiteY6" fmla="*/ 458112 h 656770"/>
                <a:gd name="connsiteX7" fmla="*/ 601904 w 670032"/>
                <a:gd name="connsiteY7" fmla="*/ 510507 h 656770"/>
                <a:gd name="connsiteX8" fmla="*/ 559255 w 670032"/>
                <a:gd name="connsiteY8" fmla="*/ 445773 h 656770"/>
                <a:gd name="connsiteX9" fmla="*/ 516784 w 670032"/>
                <a:gd name="connsiteY9" fmla="*/ 427176 h 656770"/>
                <a:gd name="connsiteX10" fmla="*/ 512671 w 670032"/>
                <a:gd name="connsiteY10" fmla="*/ 447383 h 656770"/>
                <a:gd name="connsiteX11" fmla="*/ 539584 w 670032"/>
                <a:gd name="connsiteY11" fmla="*/ 511133 h 656770"/>
                <a:gd name="connsiteX12" fmla="*/ 551655 w 670032"/>
                <a:gd name="connsiteY12" fmla="*/ 599204 h 656770"/>
                <a:gd name="connsiteX13" fmla="*/ 513387 w 670032"/>
                <a:gd name="connsiteY13" fmla="*/ 607072 h 656770"/>
                <a:gd name="connsiteX14" fmla="*/ 463853 w 670032"/>
                <a:gd name="connsiteY14" fmla="*/ 578549 h 656770"/>
                <a:gd name="connsiteX15" fmla="*/ 494699 w 670032"/>
                <a:gd name="connsiteY15" fmla="*/ 621109 h 656770"/>
                <a:gd name="connsiteX16" fmla="*/ 508201 w 670032"/>
                <a:gd name="connsiteY16" fmla="*/ 651152 h 656770"/>
                <a:gd name="connsiteX17" fmla="*/ 478158 w 670032"/>
                <a:gd name="connsiteY17" fmla="*/ 651420 h 656770"/>
                <a:gd name="connsiteX18" fmla="*/ 345829 w 670032"/>
                <a:gd name="connsiteY18" fmla="*/ 538761 h 656770"/>
                <a:gd name="connsiteX19" fmla="*/ 313194 w 670032"/>
                <a:gd name="connsiteY19" fmla="*/ 517928 h 656770"/>
                <a:gd name="connsiteX20" fmla="*/ 282436 w 670032"/>
                <a:gd name="connsiteY20" fmla="*/ 494056 h 656770"/>
                <a:gd name="connsiteX21" fmla="*/ 277161 w 670032"/>
                <a:gd name="connsiteY21" fmla="*/ 529999 h 656770"/>
                <a:gd name="connsiteX22" fmla="*/ 230399 w 670032"/>
                <a:gd name="connsiteY22" fmla="*/ 524545 h 656770"/>
                <a:gd name="connsiteX23" fmla="*/ 224498 w 670032"/>
                <a:gd name="connsiteY23" fmla="*/ 517660 h 656770"/>
                <a:gd name="connsiteX24" fmla="*/ 296385 w 670032"/>
                <a:gd name="connsiteY24" fmla="*/ 476799 h 656770"/>
                <a:gd name="connsiteX25" fmla="*/ 341895 w 670032"/>
                <a:gd name="connsiteY25" fmla="*/ 443270 h 656770"/>
                <a:gd name="connsiteX26" fmla="*/ 364874 w 670032"/>
                <a:gd name="connsiteY26" fmla="*/ 409562 h 656770"/>
                <a:gd name="connsiteX27" fmla="*/ 393396 w 670032"/>
                <a:gd name="connsiteY27" fmla="*/ 328644 h 656770"/>
                <a:gd name="connsiteX28" fmla="*/ 384723 w 670032"/>
                <a:gd name="connsiteY28" fmla="*/ 290465 h 656770"/>
                <a:gd name="connsiteX29" fmla="*/ 345740 w 670032"/>
                <a:gd name="connsiteY29" fmla="*/ 289124 h 656770"/>
                <a:gd name="connsiteX30" fmla="*/ 317665 w 670032"/>
                <a:gd name="connsiteY30" fmla="*/ 296009 h 656770"/>
                <a:gd name="connsiteX31" fmla="*/ 270008 w 670032"/>
                <a:gd name="connsiteY31" fmla="*/ 210263 h 656770"/>
                <a:gd name="connsiteX32" fmla="*/ 255792 w 670032"/>
                <a:gd name="connsiteY32" fmla="*/ 203468 h 656770"/>
                <a:gd name="connsiteX33" fmla="*/ 222799 w 670032"/>
                <a:gd name="connsiteY33" fmla="*/ 236282 h 656770"/>
                <a:gd name="connsiteX34" fmla="*/ 223693 w 670032"/>
                <a:gd name="connsiteY34" fmla="*/ 236997 h 656770"/>
                <a:gd name="connsiteX35" fmla="*/ 185067 w 670032"/>
                <a:gd name="connsiteY35" fmla="*/ 227877 h 656770"/>
                <a:gd name="connsiteX36" fmla="*/ 157528 w 670032"/>
                <a:gd name="connsiteY36" fmla="*/ 216611 h 656770"/>
                <a:gd name="connsiteX37" fmla="*/ 72856 w 670032"/>
                <a:gd name="connsiteY37" fmla="*/ 192292 h 656770"/>
                <a:gd name="connsiteX38" fmla="*/ 52023 w 670032"/>
                <a:gd name="connsiteY38" fmla="*/ 187284 h 656770"/>
                <a:gd name="connsiteX39" fmla="*/ 8032 w 670032"/>
                <a:gd name="connsiteY39" fmla="*/ 171280 h 656770"/>
                <a:gd name="connsiteX40" fmla="*/ 20282 w 670032"/>
                <a:gd name="connsiteY40" fmla="*/ 146334 h 656770"/>
                <a:gd name="connsiteX41" fmla="*/ 32352 w 670032"/>
                <a:gd name="connsiteY41" fmla="*/ 148569 h 656770"/>
                <a:gd name="connsiteX42" fmla="*/ 35214 w 670032"/>
                <a:gd name="connsiteY42" fmla="*/ 149910 h 656770"/>
                <a:gd name="connsiteX43" fmla="*/ 32442 w 670032"/>
                <a:gd name="connsiteY43" fmla="*/ 147765 h 656770"/>
                <a:gd name="connsiteX44" fmla="*/ 14291 w 670032"/>
                <a:gd name="connsiteY44" fmla="*/ 139449 h 656770"/>
                <a:gd name="connsiteX45" fmla="*/ 14559 w 670032"/>
                <a:gd name="connsiteY45" fmla="*/ 72569 h 656770"/>
                <a:gd name="connsiteX46" fmla="*/ 148677 w 670032"/>
                <a:gd name="connsiteY46" fmla="*/ 2560 h 656770"/>
                <a:gd name="connsiteX47" fmla="*/ 150376 w 670032"/>
                <a:gd name="connsiteY47" fmla="*/ 6047 h 656770"/>
                <a:gd name="connsiteX48" fmla="*/ 128559 w 670032"/>
                <a:gd name="connsiteY48" fmla="*/ 21158 h 656770"/>
                <a:gd name="connsiteX49" fmla="*/ 108889 w 670032"/>
                <a:gd name="connsiteY49" fmla="*/ 45388 h 656770"/>
                <a:gd name="connsiteX50" fmla="*/ 105312 w 670032"/>
                <a:gd name="connsiteY50" fmla="*/ 137572 h 656770"/>
                <a:gd name="connsiteX51" fmla="*/ 120333 w 670032"/>
                <a:gd name="connsiteY51" fmla="*/ 150715 h 656770"/>
                <a:gd name="connsiteX52" fmla="*/ 130169 w 670032"/>
                <a:gd name="connsiteY52" fmla="*/ 137661 h 656770"/>
                <a:gd name="connsiteX53" fmla="*/ 124804 w 670032"/>
                <a:gd name="connsiteY53" fmla="*/ 114861 h 656770"/>
                <a:gd name="connsiteX54" fmla="*/ 144206 w 670032"/>
                <a:gd name="connsiteY54" fmla="*/ 91078 h 656770"/>
                <a:gd name="connsiteX55" fmla="*/ 132762 w 670032"/>
                <a:gd name="connsiteY55" fmla="*/ 47802 h 656770"/>
                <a:gd name="connsiteX56" fmla="*/ 162357 w 670032"/>
                <a:gd name="connsiteY56" fmla="*/ 40381 h 656770"/>
                <a:gd name="connsiteX57" fmla="*/ 227985 w 670032"/>
                <a:gd name="connsiteY57" fmla="*/ 15704 h 656770"/>
                <a:gd name="connsiteX58" fmla="*/ 234691 w 670032"/>
                <a:gd name="connsiteY58" fmla="*/ 82852 h 656770"/>
                <a:gd name="connsiteX59" fmla="*/ 232098 w 670032"/>
                <a:gd name="connsiteY59" fmla="*/ 112805 h 656770"/>
                <a:gd name="connsiteX60" fmla="*/ 259368 w 670032"/>
                <a:gd name="connsiteY60" fmla="*/ 84282 h 656770"/>
                <a:gd name="connsiteX61" fmla="*/ 266789 w 670032"/>
                <a:gd name="connsiteY61" fmla="*/ 100466 h 656770"/>
                <a:gd name="connsiteX62" fmla="*/ 278234 w 670032"/>
                <a:gd name="connsiteY62" fmla="*/ 112000 h 656770"/>
                <a:gd name="connsiteX63" fmla="*/ 294060 w 670032"/>
                <a:gd name="connsiteY63" fmla="*/ 103685 h 656770"/>
                <a:gd name="connsiteX64" fmla="*/ 313909 w 670032"/>
                <a:gd name="connsiteY64" fmla="*/ 82405 h 656770"/>
                <a:gd name="connsiteX65" fmla="*/ 358526 w 670032"/>
                <a:gd name="connsiteY65" fmla="*/ 114325 h 656770"/>
                <a:gd name="connsiteX66" fmla="*/ 366036 w 670032"/>
                <a:gd name="connsiteY66" fmla="*/ 121388 h 656770"/>
                <a:gd name="connsiteX67" fmla="*/ 378554 w 670032"/>
                <a:gd name="connsiteY67" fmla="*/ 136856 h 656770"/>
                <a:gd name="connsiteX68" fmla="*/ 412530 w 670032"/>
                <a:gd name="connsiteY68" fmla="*/ 164574 h 656770"/>
                <a:gd name="connsiteX69" fmla="*/ 428267 w 670032"/>
                <a:gd name="connsiteY69" fmla="*/ 151073 h 656770"/>
                <a:gd name="connsiteX70" fmla="*/ 481288 w 670032"/>
                <a:gd name="connsiteY70" fmla="*/ 157332 h 656770"/>
                <a:gd name="connsiteX71" fmla="*/ 473509 w 670032"/>
                <a:gd name="connsiteY71" fmla="*/ 171369 h 656770"/>
                <a:gd name="connsiteX72" fmla="*/ 445434 w 670032"/>
                <a:gd name="connsiteY72" fmla="*/ 179237 h 656770"/>
                <a:gd name="connsiteX73" fmla="*/ 438460 w 670032"/>
                <a:gd name="connsiteY73" fmla="*/ 192649 h 656770"/>
                <a:gd name="connsiteX74" fmla="*/ 451246 w 670032"/>
                <a:gd name="connsiteY74" fmla="*/ 197030 h 656770"/>
                <a:gd name="connsiteX75" fmla="*/ 530285 w 670032"/>
                <a:gd name="connsiteY75" fmla="*/ 198550 h 656770"/>
                <a:gd name="connsiteX76" fmla="*/ 537528 w 670032"/>
                <a:gd name="connsiteY76" fmla="*/ 203110 h 656770"/>
                <a:gd name="connsiteX77" fmla="*/ 533683 w 670032"/>
                <a:gd name="connsiteY77" fmla="*/ 214019 h 656770"/>
                <a:gd name="connsiteX78" fmla="*/ 502121 w 670032"/>
                <a:gd name="connsiteY78" fmla="*/ 226179 h 656770"/>
                <a:gd name="connsiteX79" fmla="*/ 545843 w 670032"/>
                <a:gd name="connsiteY79" fmla="*/ 231811 h 656770"/>
                <a:gd name="connsiteX80" fmla="*/ 567659 w 670032"/>
                <a:gd name="connsiteY80" fmla="*/ 237087 h 656770"/>
                <a:gd name="connsiteX81" fmla="*/ 555142 w 670032"/>
                <a:gd name="connsiteY81" fmla="*/ 251840 h 656770"/>
                <a:gd name="connsiteX82" fmla="*/ 539763 w 670032"/>
                <a:gd name="connsiteY82" fmla="*/ 274729 h 656770"/>
                <a:gd name="connsiteX83" fmla="*/ 532074 w 670032"/>
                <a:gd name="connsiteY83" fmla="*/ 289929 h 65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70032" h="656770">
                  <a:moveTo>
                    <a:pt x="531895" y="289482"/>
                  </a:moveTo>
                  <a:cubicBezTo>
                    <a:pt x="534756" y="310762"/>
                    <a:pt x="550671" y="327124"/>
                    <a:pt x="565424" y="335082"/>
                  </a:cubicBezTo>
                  <a:cubicBezTo>
                    <a:pt x="586883" y="346705"/>
                    <a:pt x="600831" y="360475"/>
                    <a:pt x="608520" y="382470"/>
                  </a:cubicBezTo>
                  <a:cubicBezTo>
                    <a:pt x="614600" y="399637"/>
                    <a:pt x="626224" y="406253"/>
                    <a:pt x="643391" y="398832"/>
                  </a:cubicBezTo>
                  <a:cubicBezTo>
                    <a:pt x="651796" y="395256"/>
                    <a:pt x="660290" y="391679"/>
                    <a:pt x="667264" y="398832"/>
                  </a:cubicBezTo>
                  <a:cubicBezTo>
                    <a:pt x="677099" y="409025"/>
                    <a:pt x="657250" y="413853"/>
                    <a:pt x="661363" y="423689"/>
                  </a:cubicBezTo>
                  <a:cubicBezTo>
                    <a:pt x="648934" y="431825"/>
                    <a:pt x="647593" y="446757"/>
                    <a:pt x="640440" y="458112"/>
                  </a:cubicBezTo>
                  <a:cubicBezTo>
                    <a:pt x="615048" y="465086"/>
                    <a:pt x="608073" y="485651"/>
                    <a:pt x="601904" y="510507"/>
                  </a:cubicBezTo>
                  <a:cubicBezTo>
                    <a:pt x="594840" y="483773"/>
                    <a:pt x="551834" y="484131"/>
                    <a:pt x="559255" y="445773"/>
                  </a:cubicBezTo>
                  <a:cubicBezTo>
                    <a:pt x="559970" y="441929"/>
                    <a:pt x="533504" y="425566"/>
                    <a:pt x="516784" y="427176"/>
                  </a:cubicBezTo>
                  <a:cubicBezTo>
                    <a:pt x="499885" y="428875"/>
                    <a:pt x="514549" y="444790"/>
                    <a:pt x="512671" y="447383"/>
                  </a:cubicBezTo>
                  <a:cubicBezTo>
                    <a:pt x="485222" y="484757"/>
                    <a:pt x="524026" y="493251"/>
                    <a:pt x="539584" y="511133"/>
                  </a:cubicBezTo>
                  <a:cubicBezTo>
                    <a:pt x="561132" y="536079"/>
                    <a:pt x="565156" y="576940"/>
                    <a:pt x="551655" y="599204"/>
                  </a:cubicBezTo>
                  <a:cubicBezTo>
                    <a:pt x="540031" y="618427"/>
                    <a:pt x="529481" y="617801"/>
                    <a:pt x="513387" y="607072"/>
                  </a:cubicBezTo>
                  <a:cubicBezTo>
                    <a:pt x="499170" y="597594"/>
                    <a:pt x="483791" y="589905"/>
                    <a:pt x="463853" y="578549"/>
                  </a:cubicBezTo>
                  <a:cubicBezTo>
                    <a:pt x="465730" y="604032"/>
                    <a:pt x="483166" y="610469"/>
                    <a:pt x="494699" y="621109"/>
                  </a:cubicBezTo>
                  <a:cubicBezTo>
                    <a:pt x="503641" y="629425"/>
                    <a:pt x="515085" y="639528"/>
                    <a:pt x="508201" y="651152"/>
                  </a:cubicBezTo>
                  <a:cubicBezTo>
                    <a:pt x="502121" y="661434"/>
                    <a:pt x="488083" y="655175"/>
                    <a:pt x="478158" y="651420"/>
                  </a:cubicBezTo>
                  <a:cubicBezTo>
                    <a:pt x="420756" y="629693"/>
                    <a:pt x="372116" y="597862"/>
                    <a:pt x="345829" y="538761"/>
                  </a:cubicBezTo>
                  <a:cubicBezTo>
                    <a:pt x="340643" y="527138"/>
                    <a:pt x="338587" y="507020"/>
                    <a:pt x="313194" y="517928"/>
                  </a:cubicBezTo>
                  <a:cubicBezTo>
                    <a:pt x="299425" y="523830"/>
                    <a:pt x="303180" y="491910"/>
                    <a:pt x="282436" y="494056"/>
                  </a:cubicBezTo>
                  <a:cubicBezTo>
                    <a:pt x="277161" y="504964"/>
                    <a:pt x="293434" y="522488"/>
                    <a:pt x="277161" y="529999"/>
                  </a:cubicBezTo>
                  <a:cubicBezTo>
                    <a:pt x="261782" y="537063"/>
                    <a:pt x="245241" y="533039"/>
                    <a:pt x="230399" y="524545"/>
                  </a:cubicBezTo>
                  <a:cubicBezTo>
                    <a:pt x="227448" y="523025"/>
                    <a:pt x="225481" y="520790"/>
                    <a:pt x="224498" y="517660"/>
                  </a:cubicBezTo>
                  <a:cubicBezTo>
                    <a:pt x="251321" y="464729"/>
                    <a:pt x="248192" y="469825"/>
                    <a:pt x="296385" y="476799"/>
                  </a:cubicBezTo>
                  <a:cubicBezTo>
                    <a:pt x="317128" y="479839"/>
                    <a:pt x="349674" y="487528"/>
                    <a:pt x="341895" y="443270"/>
                  </a:cubicBezTo>
                  <a:cubicBezTo>
                    <a:pt x="339392" y="429053"/>
                    <a:pt x="353876" y="418145"/>
                    <a:pt x="364874" y="409562"/>
                  </a:cubicBezTo>
                  <a:cubicBezTo>
                    <a:pt x="391876" y="388550"/>
                    <a:pt x="419505" y="369773"/>
                    <a:pt x="393396" y="328644"/>
                  </a:cubicBezTo>
                  <a:cubicBezTo>
                    <a:pt x="387763" y="319703"/>
                    <a:pt x="391608" y="303341"/>
                    <a:pt x="384723" y="290465"/>
                  </a:cubicBezTo>
                  <a:cubicBezTo>
                    <a:pt x="371848" y="293505"/>
                    <a:pt x="359509" y="314696"/>
                    <a:pt x="345740" y="289124"/>
                  </a:cubicBezTo>
                  <a:cubicBezTo>
                    <a:pt x="340018" y="278574"/>
                    <a:pt x="328305" y="297082"/>
                    <a:pt x="317665" y="296009"/>
                  </a:cubicBezTo>
                  <a:cubicBezTo>
                    <a:pt x="331613" y="266682"/>
                    <a:pt x="308187" y="224659"/>
                    <a:pt x="270008" y="210263"/>
                  </a:cubicBezTo>
                  <a:cubicBezTo>
                    <a:pt x="266163" y="206061"/>
                    <a:pt x="264375" y="197746"/>
                    <a:pt x="255792" y="203468"/>
                  </a:cubicBezTo>
                  <a:cubicBezTo>
                    <a:pt x="256927" y="226775"/>
                    <a:pt x="245930" y="237713"/>
                    <a:pt x="222799" y="236282"/>
                  </a:cubicBezTo>
                  <a:lnTo>
                    <a:pt x="223693" y="236997"/>
                  </a:lnTo>
                  <a:cubicBezTo>
                    <a:pt x="213142" y="225016"/>
                    <a:pt x="207241" y="200875"/>
                    <a:pt x="185067" y="227877"/>
                  </a:cubicBezTo>
                  <a:cubicBezTo>
                    <a:pt x="177914" y="236550"/>
                    <a:pt x="167722" y="217237"/>
                    <a:pt x="157528" y="216611"/>
                  </a:cubicBezTo>
                  <a:cubicBezTo>
                    <a:pt x="127307" y="214823"/>
                    <a:pt x="99232" y="207223"/>
                    <a:pt x="72856" y="192292"/>
                  </a:cubicBezTo>
                  <a:cubicBezTo>
                    <a:pt x="66597" y="188715"/>
                    <a:pt x="54079" y="184781"/>
                    <a:pt x="52023" y="187284"/>
                  </a:cubicBezTo>
                  <a:cubicBezTo>
                    <a:pt x="21265" y="224301"/>
                    <a:pt x="23053" y="174767"/>
                    <a:pt x="8032" y="171280"/>
                  </a:cubicBezTo>
                  <a:cubicBezTo>
                    <a:pt x="701" y="157332"/>
                    <a:pt x="5797" y="149463"/>
                    <a:pt x="20282" y="146334"/>
                  </a:cubicBezTo>
                  <a:cubicBezTo>
                    <a:pt x="24484" y="145887"/>
                    <a:pt x="28418" y="146870"/>
                    <a:pt x="32352" y="148569"/>
                  </a:cubicBezTo>
                  <a:cubicBezTo>
                    <a:pt x="36376" y="150268"/>
                    <a:pt x="30922" y="148927"/>
                    <a:pt x="35214" y="149910"/>
                  </a:cubicBezTo>
                  <a:cubicBezTo>
                    <a:pt x="35214" y="148033"/>
                    <a:pt x="33336" y="148748"/>
                    <a:pt x="32442" y="147765"/>
                  </a:cubicBezTo>
                  <a:cubicBezTo>
                    <a:pt x="26362" y="144635"/>
                    <a:pt x="19030" y="144814"/>
                    <a:pt x="14291" y="139449"/>
                  </a:cubicBezTo>
                  <a:cubicBezTo>
                    <a:pt x="-11549" y="117275"/>
                    <a:pt x="3383" y="90809"/>
                    <a:pt x="14559" y="72569"/>
                  </a:cubicBezTo>
                  <a:cubicBezTo>
                    <a:pt x="44244" y="23930"/>
                    <a:pt x="85373" y="-9779"/>
                    <a:pt x="148677" y="2560"/>
                  </a:cubicBezTo>
                  <a:cubicBezTo>
                    <a:pt x="149213" y="2650"/>
                    <a:pt x="149482" y="4259"/>
                    <a:pt x="150376" y="6047"/>
                  </a:cubicBezTo>
                  <a:cubicBezTo>
                    <a:pt x="148051" y="17402"/>
                    <a:pt x="136517" y="17224"/>
                    <a:pt x="128559" y="21158"/>
                  </a:cubicBezTo>
                  <a:cubicBezTo>
                    <a:pt x="118098" y="26344"/>
                    <a:pt x="109515" y="34301"/>
                    <a:pt x="108889" y="45388"/>
                  </a:cubicBezTo>
                  <a:cubicBezTo>
                    <a:pt x="107369" y="76056"/>
                    <a:pt x="112376" y="106903"/>
                    <a:pt x="105312" y="137572"/>
                  </a:cubicBezTo>
                  <a:cubicBezTo>
                    <a:pt x="103345" y="146066"/>
                    <a:pt x="113896" y="149374"/>
                    <a:pt x="120333" y="150715"/>
                  </a:cubicBezTo>
                  <a:cubicBezTo>
                    <a:pt x="129900" y="152682"/>
                    <a:pt x="128470" y="143473"/>
                    <a:pt x="130169" y="137661"/>
                  </a:cubicBezTo>
                  <a:cubicBezTo>
                    <a:pt x="132762" y="128720"/>
                    <a:pt x="128917" y="122908"/>
                    <a:pt x="124804" y="114861"/>
                  </a:cubicBezTo>
                  <a:cubicBezTo>
                    <a:pt x="116757" y="99125"/>
                    <a:pt x="116489" y="82673"/>
                    <a:pt x="144206" y="91078"/>
                  </a:cubicBezTo>
                  <a:cubicBezTo>
                    <a:pt x="143938" y="74984"/>
                    <a:pt x="127218" y="64165"/>
                    <a:pt x="132762" y="47802"/>
                  </a:cubicBezTo>
                  <a:cubicBezTo>
                    <a:pt x="140898" y="38504"/>
                    <a:pt x="154220" y="49680"/>
                    <a:pt x="162357" y="40381"/>
                  </a:cubicBezTo>
                  <a:cubicBezTo>
                    <a:pt x="172639" y="22141"/>
                    <a:pt x="225571" y="4080"/>
                    <a:pt x="227985" y="15704"/>
                  </a:cubicBezTo>
                  <a:cubicBezTo>
                    <a:pt x="232545" y="37073"/>
                    <a:pt x="249533" y="60499"/>
                    <a:pt x="234691" y="82852"/>
                  </a:cubicBezTo>
                  <a:cubicBezTo>
                    <a:pt x="227359" y="93849"/>
                    <a:pt x="227448" y="101718"/>
                    <a:pt x="232098" y="112805"/>
                  </a:cubicBezTo>
                  <a:cubicBezTo>
                    <a:pt x="246135" y="107440"/>
                    <a:pt x="254808" y="97873"/>
                    <a:pt x="259368" y="84282"/>
                  </a:cubicBezTo>
                  <a:cubicBezTo>
                    <a:pt x="267952" y="87233"/>
                    <a:pt x="266700" y="93939"/>
                    <a:pt x="266789" y="100466"/>
                  </a:cubicBezTo>
                  <a:cubicBezTo>
                    <a:pt x="266789" y="107619"/>
                    <a:pt x="269651" y="114146"/>
                    <a:pt x="278234" y="112000"/>
                  </a:cubicBezTo>
                  <a:cubicBezTo>
                    <a:pt x="284046" y="110569"/>
                    <a:pt x="294149" y="103953"/>
                    <a:pt x="294060" y="103685"/>
                  </a:cubicBezTo>
                  <a:cubicBezTo>
                    <a:pt x="282258" y="78918"/>
                    <a:pt x="303895" y="77755"/>
                    <a:pt x="313909" y="82405"/>
                  </a:cubicBezTo>
                  <a:cubicBezTo>
                    <a:pt x="330093" y="89915"/>
                    <a:pt x="359062" y="83478"/>
                    <a:pt x="358526" y="114325"/>
                  </a:cubicBezTo>
                  <a:cubicBezTo>
                    <a:pt x="358436" y="120852"/>
                    <a:pt x="362013" y="121656"/>
                    <a:pt x="366036" y="121388"/>
                  </a:cubicBezTo>
                  <a:cubicBezTo>
                    <a:pt x="378464" y="120315"/>
                    <a:pt x="385528" y="117275"/>
                    <a:pt x="378554" y="136856"/>
                  </a:cubicBezTo>
                  <a:cubicBezTo>
                    <a:pt x="375156" y="146334"/>
                    <a:pt x="401443" y="153219"/>
                    <a:pt x="412530" y="164574"/>
                  </a:cubicBezTo>
                  <a:cubicBezTo>
                    <a:pt x="420130" y="172353"/>
                    <a:pt x="423796" y="158315"/>
                    <a:pt x="428267" y="151073"/>
                  </a:cubicBezTo>
                  <a:cubicBezTo>
                    <a:pt x="434257" y="141416"/>
                    <a:pt x="476012" y="147407"/>
                    <a:pt x="481288" y="157332"/>
                  </a:cubicBezTo>
                  <a:cubicBezTo>
                    <a:pt x="485848" y="166004"/>
                    <a:pt x="479142" y="169313"/>
                    <a:pt x="473509" y="171369"/>
                  </a:cubicBezTo>
                  <a:cubicBezTo>
                    <a:pt x="464389" y="174767"/>
                    <a:pt x="454554" y="176019"/>
                    <a:pt x="445434" y="179237"/>
                  </a:cubicBezTo>
                  <a:cubicBezTo>
                    <a:pt x="439890" y="181205"/>
                    <a:pt x="437476" y="187195"/>
                    <a:pt x="438460" y="192649"/>
                  </a:cubicBezTo>
                  <a:cubicBezTo>
                    <a:pt x="439890" y="200070"/>
                    <a:pt x="447043" y="199176"/>
                    <a:pt x="451246" y="197030"/>
                  </a:cubicBezTo>
                  <a:cubicBezTo>
                    <a:pt x="477890" y="183261"/>
                    <a:pt x="503551" y="216254"/>
                    <a:pt x="530285" y="198550"/>
                  </a:cubicBezTo>
                  <a:cubicBezTo>
                    <a:pt x="531358" y="197835"/>
                    <a:pt x="536187" y="200875"/>
                    <a:pt x="537528" y="203110"/>
                  </a:cubicBezTo>
                  <a:cubicBezTo>
                    <a:pt x="540299" y="207670"/>
                    <a:pt x="537528" y="212230"/>
                    <a:pt x="533683" y="214019"/>
                  </a:cubicBezTo>
                  <a:cubicBezTo>
                    <a:pt x="523848" y="218489"/>
                    <a:pt x="513476" y="221887"/>
                    <a:pt x="502121" y="226179"/>
                  </a:cubicBezTo>
                  <a:cubicBezTo>
                    <a:pt x="515353" y="242362"/>
                    <a:pt x="530643" y="237802"/>
                    <a:pt x="545843" y="231811"/>
                  </a:cubicBezTo>
                  <a:cubicBezTo>
                    <a:pt x="554695" y="228324"/>
                    <a:pt x="563457" y="226000"/>
                    <a:pt x="567659" y="237087"/>
                  </a:cubicBezTo>
                  <a:cubicBezTo>
                    <a:pt x="571683" y="247816"/>
                    <a:pt x="561758" y="249068"/>
                    <a:pt x="555142" y="251840"/>
                  </a:cubicBezTo>
                  <a:cubicBezTo>
                    <a:pt x="544949" y="256131"/>
                    <a:pt x="533862" y="259618"/>
                    <a:pt x="539763" y="274729"/>
                  </a:cubicBezTo>
                  <a:cubicBezTo>
                    <a:pt x="543071" y="282776"/>
                    <a:pt x="535740" y="285369"/>
                    <a:pt x="532074" y="2899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7" name="Freeform: Shape 36">
              <a:extLst>
                <a:ext uri="{FF2B5EF4-FFF2-40B4-BE49-F238E27FC236}">
                  <a16:creationId xmlns:a16="http://schemas.microsoft.com/office/drawing/2014/main" id="{D8E55603-3F11-8B6E-1406-988D9976107F}"/>
                </a:ext>
              </a:extLst>
            </p:cNvPr>
            <p:cNvSpPr/>
            <p:nvPr/>
          </p:nvSpPr>
          <p:spPr>
            <a:xfrm>
              <a:off x="4130179" y="2628770"/>
              <a:ext cx="964107" cy="529660"/>
            </a:xfrm>
            <a:custGeom>
              <a:avLst/>
              <a:gdLst>
                <a:gd name="connsiteX0" fmla="*/ 642601 w 661332"/>
                <a:gd name="connsiteY0" fmla="*/ 257771 h 363322"/>
                <a:gd name="connsiteX1" fmla="*/ 587702 w 661332"/>
                <a:gd name="connsiteY1" fmla="*/ 224778 h 363322"/>
                <a:gd name="connsiteX2" fmla="*/ 583053 w 661332"/>
                <a:gd name="connsiteY2" fmla="*/ 211992 h 363322"/>
                <a:gd name="connsiteX3" fmla="*/ 542013 w 661332"/>
                <a:gd name="connsiteY3" fmla="*/ 93611 h 363322"/>
                <a:gd name="connsiteX4" fmla="*/ 509467 w 661332"/>
                <a:gd name="connsiteY4" fmla="*/ 91554 h 363322"/>
                <a:gd name="connsiteX5" fmla="*/ 506338 w 661332"/>
                <a:gd name="connsiteY5" fmla="*/ 122491 h 363322"/>
                <a:gd name="connsiteX6" fmla="*/ 499811 w 661332"/>
                <a:gd name="connsiteY6" fmla="*/ 151997 h 363322"/>
                <a:gd name="connsiteX7" fmla="*/ 479246 w 661332"/>
                <a:gd name="connsiteY7" fmla="*/ 130180 h 363322"/>
                <a:gd name="connsiteX8" fmla="*/ 432841 w 661332"/>
                <a:gd name="connsiteY8" fmla="*/ 95131 h 363322"/>
                <a:gd name="connsiteX9" fmla="*/ 406286 w 661332"/>
                <a:gd name="connsiteY9" fmla="*/ 132505 h 363322"/>
                <a:gd name="connsiteX10" fmla="*/ 394752 w 661332"/>
                <a:gd name="connsiteY10" fmla="*/ 136618 h 363322"/>
                <a:gd name="connsiteX11" fmla="*/ 406197 w 661332"/>
                <a:gd name="connsiteY11" fmla="*/ 125978 h 363322"/>
                <a:gd name="connsiteX12" fmla="*/ 406644 w 661332"/>
                <a:gd name="connsiteY12" fmla="*/ 105234 h 363322"/>
                <a:gd name="connsiteX13" fmla="*/ 374992 w 661332"/>
                <a:gd name="connsiteY13" fmla="*/ 97008 h 363322"/>
                <a:gd name="connsiteX14" fmla="*/ 326978 w 661332"/>
                <a:gd name="connsiteY14" fmla="*/ 110688 h 363322"/>
                <a:gd name="connsiteX15" fmla="*/ 347543 w 661332"/>
                <a:gd name="connsiteY15" fmla="*/ 81987 h 363322"/>
                <a:gd name="connsiteX16" fmla="*/ 308291 w 661332"/>
                <a:gd name="connsiteY16" fmla="*/ 67682 h 363322"/>
                <a:gd name="connsiteX17" fmla="*/ 301496 w 661332"/>
                <a:gd name="connsiteY17" fmla="*/ 71347 h 363322"/>
                <a:gd name="connsiteX18" fmla="*/ 307933 w 661332"/>
                <a:gd name="connsiteY18" fmla="*/ 60082 h 363322"/>
                <a:gd name="connsiteX19" fmla="*/ 266357 w 661332"/>
                <a:gd name="connsiteY19" fmla="*/ 24853 h 363322"/>
                <a:gd name="connsiteX20" fmla="*/ 221920 w 661332"/>
                <a:gd name="connsiteY20" fmla="*/ 24764 h 363322"/>
                <a:gd name="connsiteX21" fmla="*/ 186334 w 661332"/>
                <a:gd name="connsiteY21" fmla="*/ 23065 h 363322"/>
                <a:gd name="connsiteX22" fmla="*/ 54094 w 661332"/>
                <a:gd name="connsiteY22" fmla="*/ 10548 h 363322"/>
                <a:gd name="connsiteX23" fmla="*/ 54720 w 661332"/>
                <a:gd name="connsiteY23" fmla="*/ 14392 h 363322"/>
                <a:gd name="connsiteX24" fmla="*/ 54541 w 661332"/>
                <a:gd name="connsiteY24" fmla="*/ 70990 h 363322"/>
                <a:gd name="connsiteX25" fmla="*/ 32904 w 661332"/>
                <a:gd name="connsiteY25" fmla="*/ 93253 h 363322"/>
                <a:gd name="connsiteX26" fmla="*/ 0 w 661332"/>
                <a:gd name="connsiteY26" fmla="*/ 145201 h 363322"/>
                <a:gd name="connsiteX27" fmla="*/ 39878 w 661332"/>
                <a:gd name="connsiteY27" fmla="*/ 195898 h 363322"/>
                <a:gd name="connsiteX28" fmla="*/ 51769 w 661332"/>
                <a:gd name="connsiteY28" fmla="*/ 206448 h 363322"/>
                <a:gd name="connsiteX29" fmla="*/ 121957 w 661332"/>
                <a:gd name="connsiteY29" fmla="*/ 178284 h 363322"/>
                <a:gd name="connsiteX30" fmla="*/ 203322 w 661332"/>
                <a:gd name="connsiteY30" fmla="*/ 119630 h 363322"/>
                <a:gd name="connsiteX31" fmla="*/ 191162 w 661332"/>
                <a:gd name="connsiteY31" fmla="*/ 147615 h 363322"/>
                <a:gd name="connsiteX32" fmla="*/ 192682 w 661332"/>
                <a:gd name="connsiteY32" fmla="*/ 179982 h 363322"/>
                <a:gd name="connsiteX33" fmla="*/ 203769 w 661332"/>
                <a:gd name="connsiteY33" fmla="*/ 191069 h 363322"/>
                <a:gd name="connsiteX34" fmla="*/ 239534 w 661332"/>
                <a:gd name="connsiteY34" fmla="*/ 192053 h 363322"/>
                <a:gd name="connsiteX35" fmla="*/ 216197 w 661332"/>
                <a:gd name="connsiteY35" fmla="*/ 203140 h 363322"/>
                <a:gd name="connsiteX36" fmla="*/ 215214 w 661332"/>
                <a:gd name="connsiteY36" fmla="*/ 229516 h 363322"/>
                <a:gd name="connsiteX37" fmla="*/ 286117 w 661332"/>
                <a:gd name="connsiteY37" fmla="*/ 236312 h 363322"/>
                <a:gd name="connsiteX38" fmla="*/ 342983 w 661332"/>
                <a:gd name="connsiteY38" fmla="*/ 245163 h 363322"/>
                <a:gd name="connsiteX39" fmla="*/ 267788 w 661332"/>
                <a:gd name="connsiteY39" fmla="*/ 246952 h 363322"/>
                <a:gd name="connsiteX40" fmla="*/ 211101 w 661332"/>
                <a:gd name="connsiteY40" fmla="*/ 273507 h 363322"/>
                <a:gd name="connsiteX41" fmla="*/ 257058 w 661332"/>
                <a:gd name="connsiteY41" fmla="*/ 312133 h 363322"/>
                <a:gd name="connsiteX42" fmla="*/ 287011 w 661332"/>
                <a:gd name="connsiteY42" fmla="*/ 347182 h 363322"/>
                <a:gd name="connsiteX43" fmla="*/ 300244 w 661332"/>
                <a:gd name="connsiteY43" fmla="*/ 362382 h 363322"/>
                <a:gd name="connsiteX44" fmla="*/ 471467 w 661332"/>
                <a:gd name="connsiteY44" fmla="*/ 329121 h 363322"/>
                <a:gd name="connsiteX45" fmla="*/ 533698 w 661332"/>
                <a:gd name="connsiteY45" fmla="*/ 333055 h 363322"/>
                <a:gd name="connsiteX46" fmla="*/ 613363 w 661332"/>
                <a:gd name="connsiteY46" fmla="*/ 320984 h 363322"/>
                <a:gd name="connsiteX47" fmla="*/ 604154 w 661332"/>
                <a:gd name="connsiteY47" fmla="*/ 320806 h 363322"/>
                <a:gd name="connsiteX48" fmla="*/ 586450 w 661332"/>
                <a:gd name="connsiteY48" fmla="*/ 323488 h 363322"/>
                <a:gd name="connsiteX49" fmla="*/ 596912 w 661332"/>
                <a:gd name="connsiteY49" fmla="*/ 302476 h 363322"/>
                <a:gd name="connsiteX50" fmla="*/ 634643 w 661332"/>
                <a:gd name="connsiteY50" fmla="*/ 298632 h 363322"/>
                <a:gd name="connsiteX51" fmla="*/ 661020 w 661332"/>
                <a:gd name="connsiteY51" fmla="*/ 290763 h 363322"/>
                <a:gd name="connsiteX52" fmla="*/ 642601 w 661332"/>
                <a:gd name="connsiteY52" fmla="*/ 257860 h 3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61332" h="363322">
                  <a:moveTo>
                    <a:pt x="642601" y="257771"/>
                  </a:moveTo>
                  <a:cubicBezTo>
                    <a:pt x="617655" y="255982"/>
                    <a:pt x="609519" y="229874"/>
                    <a:pt x="587702" y="224778"/>
                  </a:cubicBezTo>
                  <a:cubicBezTo>
                    <a:pt x="582516" y="223526"/>
                    <a:pt x="580460" y="218698"/>
                    <a:pt x="583053" y="211992"/>
                  </a:cubicBezTo>
                  <a:cubicBezTo>
                    <a:pt x="600130" y="168985"/>
                    <a:pt x="580460" y="112477"/>
                    <a:pt x="542013" y="93611"/>
                  </a:cubicBezTo>
                  <a:cubicBezTo>
                    <a:pt x="531731" y="88514"/>
                    <a:pt x="521180" y="80199"/>
                    <a:pt x="509467" y="91554"/>
                  </a:cubicBezTo>
                  <a:cubicBezTo>
                    <a:pt x="499453" y="101211"/>
                    <a:pt x="499989" y="109973"/>
                    <a:pt x="506338" y="122491"/>
                  </a:cubicBezTo>
                  <a:cubicBezTo>
                    <a:pt x="510540" y="130806"/>
                    <a:pt x="517246" y="146721"/>
                    <a:pt x="499811" y="151997"/>
                  </a:cubicBezTo>
                  <a:cubicBezTo>
                    <a:pt x="481034" y="157630"/>
                    <a:pt x="481481" y="139837"/>
                    <a:pt x="479246" y="130180"/>
                  </a:cubicBezTo>
                  <a:cubicBezTo>
                    <a:pt x="473702" y="106397"/>
                    <a:pt x="459486" y="96293"/>
                    <a:pt x="432841" y="95131"/>
                  </a:cubicBezTo>
                  <a:cubicBezTo>
                    <a:pt x="450634" y="129018"/>
                    <a:pt x="423990" y="127051"/>
                    <a:pt x="406286" y="132505"/>
                  </a:cubicBezTo>
                  <a:cubicBezTo>
                    <a:pt x="402442" y="133757"/>
                    <a:pt x="398507" y="135098"/>
                    <a:pt x="394752" y="136618"/>
                  </a:cubicBezTo>
                  <a:cubicBezTo>
                    <a:pt x="399133" y="133667"/>
                    <a:pt x="403693" y="130895"/>
                    <a:pt x="406197" y="125978"/>
                  </a:cubicBezTo>
                  <a:cubicBezTo>
                    <a:pt x="411114" y="119093"/>
                    <a:pt x="419340" y="111583"/>
                    <a:pt x="406644" y="105234"/>
                  </a:cubicBezTo>
                  <a:cubicBezTo>
                    <a:pt x="396630" y="100227"/>
                    <a:pt x="383754" y="87710"/>
                    <a:pt x="374992" y="97008"/>
                  </a:cubicBezTo>
                  <a:cubicBezTo>
                    <a:pt x="361402" y="111493"/>
                    <a:pt x="346828" y="105324"/>
                    <a:pt x="326978" y="110688"/>
                  </a:cubicBezTo>
                  <a:cubicBezTo>
                    <a:pt x="336813" y="97992"/>
                    <a:pt x="353802" y="94773"/>
                    <a:pt x="347543" y="81987"/>
                  </a:cubicBezTo>
                  <a:cubicBezTo>
                    <a:pt x="339943" y="66251"/>
                    <a:pt x="324385" y="64284"/>
                    <a:pt x="308291" y="67682"/>
                  </a:cubicBezTo>
                  <a:cubicBezTo>
                    <a:pt x="305877" y="68665"/>
                    <a:pt x="303642" y="70006"/>
                    <a:pt x="301496" y="71347"/>
                  </a:cubicBezTo>
                  <a:cubicBezTo>
                    <a:pt x="303999" y="67860"/>
                    <a:pt x="305877" y="63926"/>
                    <a:pt x="307933" y="60082"/>
                  </a:cubicBezTo>
                  <a:cubicBezTo>
                    <a:pt x="294164" y="48190"/>
                    <a:pt x="281289" y="34957"/>
                    <a:pt x="266357" y="24853"/>
                  </a:cubicBezTo>
                  <a:cubicBezTo>
                    <a:pt x="253035" y="15912"/>
                    <a:pt x="237656" y="2232"/>
                    <a:pt x="221920" y="24764"/>
                  </a:cubicBezTo>
                  <a:cubicBezTo>
                    <a:pt x="220847" y="26284"/>
                    <a:pt x="200103" y="33347"/>
                    <a:pt x="186334" y="23065"/>
                  </a:cubicBezTo>
                  <a:cubicBezTo>
                    <a:pt x="145562" y="-7603"/>
                    <a:pt x="99962" y="-3222"/>
                    <a:pt x="54094" y="10548"/>
                  </a:cubicBezTo>
                  <a:cubicBezTo>
                    <a:pt x="55525" y="11620"/>
                    <a:pt x="55703" y="12962"/>
                    <a:pt x="54720" y="14392"/>
                  </a:cubicBezTo>
                  <a:cubicBezTo>
                    <a:pt x="83779" y="37818"/>
                    <a:pt x="83600" y="51409"/>
                    <a:pt x="54541" y="70990"/>
                  </a:cubicBezTo>
                  <a:cubicBezTo>
                    <a:pt x="45779" y="76980"/>
                    <a:pt x="31830" y="81898"/>
                    <a:pt x="32904" y="93253"/>
                  </a:cubicBezTo>
                  <a:cubicBezTo>
                    <a:pt x="35318" y="118825"/>
                    <a:pt x="17703" y="129823"/>
                    <a:pt x="0" y="145201"/>
                  </a:cubicBezTo>
                  <a:cubicBezTo>
                    <a:pt x="24588" y="153874"/>
                    <a:pt x="37195" y="171399"/>
                    <a:pt x="39878" y="195898"/>
                  </a:cubicBezTo>
                  <a:cubicBezTo>
                    <a:pt x="40682" y="203229"/>
                    <a:pt x="43186" y="209399"/>
                    <a:pt x="51769" y="206448"/>
                  </a:cubicBezTo>
                  <a:cubicBezTo>
                    <a:pt x="76089" y="197954"/>
                    <a:pt x="110423" y="195629"/>
                    <a:pt x="121957" y="178284"/>
                  </a:cubicBezTo>
                  <a:cubicBezTo>
                    <a:pt x="143237" y="146364"/>
                    <a:pt x="181505" y="145648"/>
                    <a:pt x="203322" y="119630"/>
                  </a:cubicBezTo>
                  <a:cubicBezTo>
                    <a:pt x="206988" y="132326"/>
                    <a:pt x="205647" y="140284"/>
                    <a:pt x="191162" y="147615"/>
                  </a:cubicBezTo>
                  <a:cubicBezTo>
                    <a:pt x="174710" y="155931"/>
                    <a:pt x="157722" y="170505"/>
                    <a:pt x="192682" y="179982"/>
                  </a:cubicBezTo>
                  <a:cubicBezTo>
                    <a:pt x="197063" y="181145"/>
                    <a:pt x="200103" y="187225"/>
                    <a:pt x="203769" y="191069"/>
                  </a:cubicBezTo>
                  <a:cubicBezTo>
                    <a:pt x="215482" y="199206"/>
                    <a:pt x="227463" y="195093"/>
                    <a:pt x="239534" y="192053"/>
                  </a:cubicBezTo>
                  <a:cubicBezTo>
                    <a:pt x="231844" y="195987"/>
                    <a:pt x="221651" y="194557"/>
                    <a:pt x="216197" y="203140"/>
                  </a:cubicBezTo>
                  <a:cubicBezTo>
                    <a:pt x="196974" y="211276"/>
                    <a:pt x="194470" y="220486"/>
                    <a:pt x="215214" y="229516"/>
                  </a:cubicBezTo>
                  <a:cubicBezTo>
                    <a:pt x="237924" y="239441"/>
                    <a:pt x="262244" y="235865"/>
                    <a:pt x="286117" y="236312"/>
                  </a:cubicBezTo>
                  <a:cubicBezTo>
                    <a:pt x="304089" y="236669"/>
                    <a:pt x="323133" y="232109"/>
                    <a:pt x="342983" y="245163"/>
                  </a:cubicBezTo>
                  <a:cubicBezTo>
                    <a:pt x="315176" y="253300"/>
                    <a:pt x="291392" y="245253"/>
                    <a:pt x="267788" y="246952"/>
                  </a:cubicBezTo>
                  <a:cubicBezTo>
                    <a:pt x="245792" y="248472"/>
                    <a:pt x="216465" y="245700"/>
                    <a:pt x="211101" y="273507"/>
                  </a:cubicBezTo>
                  <a:cubicBezTo>
                    <a:pt x="204842" y="305784"/>
                    <a:pt x="237209" y="304622"/>
                    <a:pt x="257058" y="312133"/>
                  </a:cubicBezTo>
                  <a:cubicBezTo>
                    <a:pt x="273778" y="318481"/>
                    <a:pt x="294790" y="319196"/>
                    <a:pt x="287011" y="347182"/>
                  </a:cubicBezTo>
                  <a:cubicBezTo>
                    <a:pt x="285044" y="354246"/>
                    <a:pt x="290588" y="361756"/>
                    <a:pt x="300244" y="362382"/>
                  </a:cubicBezTo>
                  <a:cubicBezTo>
                    <a:pt x="360239" y="366227"/>
                    <a:pt x="419966" y="358895"/>
                    <a:pt x="471467" y="329121"/>
                  </a:cubicBezTo>
                  <a:cubicBezTo>
                    <a:pt x="498648" y="313385"/>
                    <a:pt x="511792" y="309897"/>
                    <a:pt x="533698" y="333055"/>
                  </a:cubicBezTo>
                  <a:cubicBezTo>
                    <a:pt x="559716" y="360594"/>
                    <a:pt x="600488" y="353083"/>
                    <a:pt x="613363" y="320984"/>
                  </a:cubicBezTo>
                  <a:cubicBezTo>
                    <a:pt x="610055" y="320984"/>
                    <a:pt x="606747" y="321879"/>
                    <a:pt x="604154" y="320806"/>
                  </a:cubicBezTo>
                  <a:cubicBezTo>
                    <a:pt x="597359" y="317944"/>
                    <a:pt x="594229" y="342890"/>
                    <a:pt x="586450" y="323488"/>
                  </a:cubicBezTo>
                  <a:cubicBezTo>
                    <a:pt x="582874" y="314547"/>
                    <a:pt x="581086" y="304443"/>
                    <a:pt x="596912" y="302476"/>
                  </a:cubicBezTo>
                  <a:cubicBezTo>
                    <a:pt x="609519" y="300867"/>
                    <a:pt x="621589" y="298453"/>
                    <a:pt x="634643" y="298632"/>
                  </a:cubicBezTo>
                  <a:cubicBezTo>
                    <a:pt x="643048" y="298810"/>
                    <a:pt x="659321" y="307662"/>
                    <a:pt x="661020" y="290763"/>
                  </a:cubicBezTo>
                  <a:cubicBezTo>
                    <a:pt x="662361" y="277620"/>
                    <a:pt x="659947" y="259112"/>
                    <a:pt x="642601" y="25786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8" name="Freeform: Shape 37">
              <a:extLst>
                <a:ext uri="{FF2B5EF4-FFF2-40B4-BE49-F238E27FC236}">
                  <a16:creationId xmlns:a16="http://schemas.microsoft.com/office/drawing/2014/main" id="{493381DA-6BB2-2038-A43C-8B917BFBFC1D}"/>
                </a:ext>
              </a:extLst>
            </p:cNvPr>
            <p:cNvSpPr/>
            <p:nvPr/>
          </p:nvSpPr>
          <p:spPr>
            <a:xfrm>
              <a:off x="5388050" y="2437200"/>
              <a:ext cx="619362" cy="264907"/>
            </a:xfrm>
            <a:custGeom>
              <a:avLst/>
              <a:gdLst>
                <a:gd name="connsiteX0" fmla="*/ 153857 w 424853"/>
                <a:gd name="connsiteY0" fmla="*/ 53349 h 181713"/>
                <a:gd name="connsiteX1" fmla="*/ 138389 w 424853"/>
                <a:gd name="connsiteY1" fmla="*/ 72841 h 181713"/>
                <a:gd name="connsiteX2" fmla="*/ 163067 w 424853"/>
                <a:gd name="connsiteY2" fmla="*/ 87057 h 181713"/>
                <a:gd name="connsiteX3" fmla="*/ 174333 w 424853"/>
                <a:gd name="connsiteY3" fmla="*/ 90902 h 181713"/>
                <a:gd name="connsiteX4" fmla="*/ 227890 w 424853"/>
                <a:gd name="connsiteY4" fmla="*/ 111288 h 181713"/>
                <a:gd name="connsiteX5" fmla="*/ 372379 w 424853"/>
                <a:gd name="connsiteY5" fmla="*/ 101810 h 181713"/>
                <a:gd name="connsiteX6" fmla="*/ 415386 w 424853"/>
                <a:gd name="connsiteY6" fmla="*/ 127740 h 181713"/>
                <a:gd name="connsiteX7" fmla="*/ 409128 w 424853"/>
                <a:gd name="connsiteY7" fmla="*/ 168780 h 181713"/>
                <a:gd name="connsiteX8" fmla="*/ 327584 w 424853"/>
                <a:gd name="connsiteY8" fmla="*/ 174860 h 181713"/>
                <a:gd name="connsiteX9" fmla="*/ 261330 w 424853"/>
                <a:gd name="connsiteY9" fmla="*/ 169763 h 181713"/>
                <a:gd name="connsiteX10" fmla="*/ 196417 w 424853"/>
                <a:gd name="connsiteY10" fmla="*/ 150003 h 181713"/>
                <a:gd name="connsiteX11" fmla="*/ 177730 w 424853"/>
                <a:gd name="connsiteY11" fmla="*/ 156620 h 181713"/>
                <a:gd name="connsiteX12" fmla="*/ 134724 w 424853"/>
                <a:gd name="connsiteY12" fmla="*/ 156709 h 181713"/>
                <a:gd name="connsiteX13" fmla="*/ 119971 w 424853"/>
                <a:gd name="connsiteY13" fmla="*/ 152328 h 181713"/>
                <a:gd name="connsiteX14" fmla="*/ 85279 w 424853"/>
                <a:gd name="connsiteY14" fmla="*/ 123448 h 181713"/>
                <a:gd name="connsiteX15" fmla="*/ 87872 w 424853"/>
                <a:gd name="connsiteY15" fmla="*/ 98234 h 181713"/>
                <a:gd name="connsiteX16" fmla="*/ 57830 w 424853"/>
                <a:gd name="connsiteY16" fmla="*/ 67566 h 181713"/>
                <a:gd name="connsiteX17" fmla="*/ 1947 w 424853"/>
                <a:gd name="connsiteY17" fmla="*/ 24648 h 181713"/>
                <a:gd name="connsiteX18" fmla="*/ 5703 w 424853"/>
                <a:gd name="connsiteY18" fmla="*/ 10610 h 181713"/>
                <a:gd name="connsiteX19" fmla="*/ 48441 w 424853"/>
                <a:gd name="connsiteY19" fmla="*/ 3636 h 181713"/>
                <a:gd name="connsiteX20" fmla="*/ 87067 w 424853"/>
                <a:gd name="connsiteY20" fmla="*/ 35735 h 181713"/>
                <a:gd name="connsiteX21" fmla="*/ 96992 w 424853"/>
                <a:gd name="connsiteY21" fmla="*/ 34841 h 181713"/>
                <a:gd name="connsiteX22" fmla="*/ 153768 w 424853"/>
                <a:gd name="connsiteY22" fmla="*/ 53349 h 18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853" h="181713">
                  <a:moveTo>
                    <a:pt x="153857" y="53349"/>
                  </a:moveTo>
                  <a:cubicBezTo>
                    <a:pt x="153321" y="63274"/>
                    <a:pt x="129895" y="59876"/>
                    <a:pt x="138389" y="72841"/>
                  </a:cubicBezTo>
                  <a:cubicBezTo>
                    <a:pt x="141340" y="77311"/>
                    <a:pt x="144201" y="101542"/>
                    <a:pt x="163067" y="87057"/>
                  </a:cubicBezTo>
                  <a:cubicBezTo>
                    <a:pt x="164855" y="85627"/>
                    <a:pt x="172455" y="88130"/>
                    <a:pt x="174333" y="90902"/>
                  </a:cubicBezTo>
                  <a:cubicBezTo>
                    <a:pt x="187387" y="109857"/>
                    <a:pt x="202587" y="109053"/>
                    <a:pt x="227890" y="111288"/>
                  </a:cubicBezTo>
                  <a:cubicBezTo>
                    <a:pt x="277067" y="115669"/>
                    <a:pt x="323471" y="88667"/>
                    <a:pt x="372379" y="101810"/>
                  </a:cubicBezTo>
                  <a:cubicBezTo>
                    <a:pt x="389010" y="106281"/>
                    <a:pt x="402243" y="115580"/>
                    <a:pt x="415386" y="127740"/>
                  </a:cubicBezTo>
                  <a:cubicBezTo>
                    <a:pt x="436577" y="147321"/>
                    <a:pt x="416638" y="167617"/>
                    <a:pt x="409128" y="168780"/>
                  </a:cubicBezTo>
                  <a:cubicBezTo>
                    <a:pt x="382662" y="172982"/>
                    <a:pt x="357001" y="191579"/>
                    <a:pt x="327584" y="174860"/>
                  </a:cubicBezTo>
                  <a:cubicBezTo>
                    <a:pt x="307735" y="163594"/>
                    <a:pt x="283594" y="174860"/>
                    <a:pt x="261330" y="169763"/>
                  </a:cubicBezTo>
                  <a:cubicBezTo>
                    <a:pt x="239335" y="164667"/>
                    <a:pt x="209203" y="189881"/>
                    <a:pt x="196417" y="150003"/>
                  </a:cubicBezTo>
                  <a:cubicBezTo>
                    <a:pt x="194450" y="143834"/>
                    <a:pt x="181575" y="150987"/>
                    <a:pt x="177730" y="156620"/>
                  </a:cubicBezTo>
                  <a:cubicBezTo>
                    <a:pt x="162888" y="178525"/>
                    <a:pt x="148940" y="182638"/>
                    <a:pt x="134724" y="156709"/>
                  </a:cubicBezTo>
                  <a:cubicBezTo>
                    <a:pt x="130879" y="149645"/>
                    <a:pt x="128018" y="149645"/>
                    <a:pt x="119971" y="152328"/>
                  </a:cubicBezTo>
                  <a:cubicBezTo>
                    <a:pt x="94846" y="160732"/>
                    <a:pt x="88766" y="142940"/>
                    <a:pt x="85279" y="123448"/>
                  </a:cubicBezTo>
                  <a:cubicBezTo>
                    <a:pt x="83759" y="114864"/>
                    <a:pt x="88140" y="107175"/>
                    <a:pt x="87872" y="98234"/>
                  </a:cubicBezTo>
                  <a:cubicBezTo>
                    <a:pt x="87246" y="77043"/>
                    <a:pt x="84295" y="65062"/>
                    <a:pt x="57830" y="67566"/>
                  </a:cubicBezTo>
                  <a:cubicBezTo>
                    <a:pt x="28681" y="70248"/>
                    <a:pt x="20008" y="39937"/>
                    <a:pt x="1947" y="24648"/>
                  </a:cubicBezTo>
                  <a:cubicBezTo>
                    <a:pt x="-2166" y="21161"/>
                    <a:pt x="785" y="14098"/>
                    <a:pt x="5703" y="10610"/>
                  </a:cubicBezTo>
                  <a:cubicBezTo>
                    <a:pt x="18935" y="1133"/>
                    <a:pt x="38159" y="-3874"/>
                    <a:pt x="48441" y="3636"/>
                  </a:cubicBezTo>
                  <a:cubicBezTo>
                    <a:pt x="61317" y="13025"/>
                    <a:pt x="86531" y="9180"/>
                    <a:pt x="87067" y="35735"/>
                  </a:cubicBezTo>
                  <a:cubicBezTo>
                    <a:pt x="87246" y="46643"/>
                    <a:pt x="93505" y="36003"/>
                    <a:pt x="96992" y="34841"/>
                  </a:cubicBezTo>
                  <a:cubicBezTo>
                    <a:pt x="120149" y="26883"/>
                    <a:pt x="140803" y="27062"/>
                    <a:pt x="153768" y="533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39" name="Freeform: Shape 38">
              <a:extLst>
                <a:ext uri="{FF2B5EF4-FFF2-40B4-BE49-F238E27FC236}">
                  <a16:creationId xmlns:a16="http://schemas.microsoft.com/office/drawing/2014/main" id="{33D6ABE1-892C-4B7E-9675-2ABA97384C94}"/>
                </a:ext>
              </a:extLst>
            </p:cNvPr>
            <p:cNvSpPr/>
            <p:nvPr/>
          </p:nvSpPr>
          <p:spPr>
            <a:xfrm>
              <a:off x="4555759" y="2433288"/>
              <a:ext cx="474634" cy="221191"/>
            </a:xfrm>
            <a:custGeom>
              <a:avLst/>
              <a:gdLst>
                <a:gd name="connsiteX0" fmla="*/ 107830 w 325577"/>
                <a:gd name="connsiteY0" fmla="*/ 103421 h 151727"/>
                <a:gd name="connsiteX1" fmla="*/ 75821 w 325577"/>
                <a:gd name="connsiteY1" fmla="*/ 94748 h 151727"/>
                <a:gd name="connsiteX2" fmla="*/ 3576 w 325577"/>
                <a:gd name="connsiteY2" fmla="*/ 87505 h 151727"/>
                <a:gd name="connsiteX3" fmla="*/ 0 w 325577"/>
                <a:gd name="connsiteY3" fmla="*/ 79011 h 151727"/>
                <a:gd name="connsiteX4" fmla="*/ 11623 w 325577"/>
                <a:gd name="connsiteY4" fmla="*/ 71501 h 151727"/>
                <a:gd name="connsiteX5" fmla="*/ 51143 w 325577"/>
                <a:gd name="connsiteY5" fmla="*/ 69623 h 151727"/>
                <a:gd name="connsiteX6" fmla="*/ 18866 w 325577"/>
                <a:gd name="connsiteY6" fmla="*/ 55317 h 151727"/>
                <a:gd name="connsiteX7" fmla="*/ 46583 w 325577"/>
                <a:gd name="connsiteY7" fmla="*/ 28762 h 151727"/>
                <a:gd name="connsiteX8" fmla="*/ 149943 w 325577"/>
                <a:gd name="connsiteY8" fmla="*/ 52546 h 151727"/>
                <a:gd name="connsiteX9" fmla="*/ 226390 w 325577"/>
                <a:gd name="connsiteY9" fmla="*/ 74809 h 151727"/>
                <a:gd name="connsiteX10" fmla="*/ 202517 w 325577"/>
                <a:gd name="connsiteY10" fmla="*/ 25186 h 151727"/>
                <a:gd name="connsiteX11" fmla="*/ 214051 w 325577"/>
                <a:gd name="connsiteY11" fmla="*/ 17943 h 151727"/>
                <a:gd name="connsiteX12" fmla="*/ 264032 w 325577"/>
                <a:gd name="connsiteY12" fmla="*/ 44409 h 151727"/>
                <a:gd name="connsiteX13" fmla="*/ 273242 w 325577"/>
                <a:gd name="connsiteY13" fmla="*/ 65421 h 151727"/>
                <a:gd name="connsiteX14" fmla="*/ 290409 w 325577"/>
                <a:gd name="connsiteY14" fmla="*/ 56390 h 151727"/>
                <a:gd name="connsiteX15" fmla="*/ 312940 w 325577"/>
                <a:gd name="connsiteY15" fmla="*/ 51294 h 151727"/>
                <a:gd name="connsiteX16" fmla="*/ 325547 w 325577"/>
                <a:gd name="connsiteY16" fmla="*/ 71233 h 151727"/>
                <a:gd name="connsiteX17" fmla="*/ 274046 w 325577"/>
                <a:gd name="connsiteY17" fmla="*/ 118263 h 151727"/>
                <a:gd name="connsiteX18" fmla="*/ 176498 w 325577"/>
                <a:gd name="connsiteY18" fmla="*/ 138917 h 151727"/>
                <a:gd name="connsiteX19" fmla="*/ 101035 w 325577"/>
                <a:gd name="connsiteY19" fmla="*/ 146249 h 151727"/>
                <a:gd name="connsiteX20" fmla="*/ 94776 w 325577"/>
                <a:gd name="connsiteY20" fmla="*/ 115759 h 151727"/>
                <a:gd name="connsiteX21" fmla="*/ 107830 w 325577"/>
                <a:gd name="connsiteY21" fmla="*/ 103421 h 15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5577" h="151727">
                  <a:moveTo>
                    <a:pt x="107830" y="103421"/>
                  </a:moveTo>
                  <a:cubicBezTo>
                    <a:pt x="98442" y="96089"/>
                    <a:pt x="93346" y="89562"/>
                    <a:pt x="75821" y="94748"/>
                  </a:cubicBezTo>
                  <a:cubicBezTo>
                    <a:pt x="54273" y="101185"/>
                    <a:pt x="27807" y="91082"/>
                    <a:pt x="3576" y="87505"/>
                  </a:cubicBezTo>
                  <a:cubicBezTo>
                    <a:pt x="1967" y="87237"/>
                    <a:pt x="0" y="81962"/>
                    <a:pt x="0" y="79011"/>
                  </a:cubicBezTo>
                  <a:cubicBezTo>
                    <a:pt x="0" y="71322"/>
                    <a:pt x="6348" y="71769"/>
                    <a:pt x="11623" y="71501"/>
                  </a:cubicBezTo>
                  <a:cubicBezTo>
                    <a:pt x="23873" y="70785"/>
                    <a:pt x="36122" y="70338"/>
                    <a:pt x="51143" y="69623"/>
                  </a:cubicBezTo>
                  <a:cubicBezTo>
                    <a:pt x="41219" y="54513"/>
                    <a:pt x="27986" y="62291"/>
                    <a:pt x="18866" y="55317"/>
                  </a:cubicBezTo>
                  <a:cubicBezTo>
                    <a:pt x="27986" y="46376"/>
                    <a:pt x="35765" y="34753"/>
                    <a:pt x="46583" y="28762"/>
                  </a:cubicBezTo>
                  <a:cubicBezTo>
                    <a:pt x="86908" y="6677"/>
                    <a:pt x="120080" y="15082"/>
                    <a:pt x="149943" y="52546"/>
                  </a:cubicBezTo>
                  <a:cubicBezTo>
                    <a:pt x="164312" y="70607"/>
                    <a:pt x="189794" y="78028"/>
                    <a:pt x="226390" y="74809"/>
                  </a:cubicBezTo>
                  <a:cubicBezTo>
                    <a:pt x="214945" y="58715"/>
                    <a:pt x="236225" y="33233"/>
                    <a:pt x="202517" y="25186"/>
                  </a:cubicBezTo>
                  <a:cubicBezTo>
                    <a:pt x="209044" y="21073"/>
                    <a:pt x="211458" y="19463"/>
                    <a:pt x="214051" y="17943"/>
                  </a:cubicBezTo>
                  <a:cubicBezTo>
                    <a:pt x="260724" y="-9327"/>
                    <a:pt x="260277" y="-9238"/>
                    <a:pt x="264032" y="44409"/>
                  </a:cubicBezTo>
                  <a:cubicBezTo>
                    <a:pt x="264479" y="50847"/>
                    <a:pt x="259562" y="62291"/>
                    <a:pt x="273242" y="65421"/>
                  </a:cubicBezTo>
                  <a:cubicBezTo>
                    <a:pt x="282898" y="67656"/>
                    <a:pt x="286922" y="64437"/>
                    <a:pt x="290409" y="56390"/>
                  </a:cubicBezTo>
                  <a:cubicBezTo>
                    <a:pt x="295326" y="45035"/>
                    <a:pt x="304714" y="49774"/>
                    <a:pt x="312940" y="51294"/>
                  </a:cubicBezTo>
                  <a:cubicBezTo>
                    <a:pt x="324117" y="53350"/>
                    <a:pt x="325190" y="62381"/>
                    <a:pt x="325547" y="71233"/>
                  </a:cubicBezTo>
                  <a:cubicBezTo>
                    <a:pt x="326620" y="95910"/>
                    <a:pt x="298813" y="119872"/>
                    <a:pt x="274046" y="118263"/>
                  </a:cubicBezTo>
                  <a:cubicBezTo>
                    <a:pt x="239981" y="116028"/>
                    <a:pt x="206898" y="112004"/>
                    <a:pt x="176498" y="138917"/>
                  </a:cubicBezTo>
                  <a:cubicBezTo>
                    <a:pt x="156738" y="156442"/>
                    <a:pt x="126338" y="152955"/>
                    <a:pt x="101035" y="146249"/>
                  </a:cubicBezTo>
                  <a:cubicBezTo>
                    <a:pt x="88964" y="143030"/>
                    <a:pt x="69115" y="131585"/>
                    <a:pt x="94776" y="115759"/>
                  </a:cubicBezTo>
                  <a:cubicBezTo>
                    <a:pt x="111586" y="107981"/>
                    <a:pt x="120259" y="112362"/>
                    <a:pt x="107830" y="1034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0" name="Freeform: Shape 39">
              <a:extLst>
                <a:ext uri="{FF2B5EF4-FFF2-40B4-BE49-F238E27FC236}">
                  <a16:creationId xmlns:a16="http://schemas.microsoft.com/office/drawing/2014/main" id="{64F273A5-A835-A43F-3021-9ABDFCAF6FE8}"/>
                </a:ext>
              </a:extLst>
            </p:cNvPr>
            <p:cNvSpPr/>
            <p:nvPr/>
          </p:nvSpPr>
          <p:spPr>
            <a:xfrm>
              <a:off x="5494350" y="2089201"/>
              <a:ext cx="363343" cy="255999"/>
            </a:xfrm>
            <a:custGeom>
              <a:avLst/>
              <a:gdLst>
                <a:gd name="connsiteX0" fmla="*/ 203 w 249236"/>
                <a:gd name="connsiteY0" fmla="*/ 85074 h 175603"/>
                <a:gd name="connsiteX1" fmla="*/ 27473 w 249236"/>
                <a:gd name="connsiteY1" fmla="*/ 52796 h 175603"/>
                <a:gd name="connsiteX2" fmla="*/ 48306 w 249236"/>
                <a:gd name="connsiteY2" fmla="*/ 52617 h 175603"/>
                <a:gd name="connsiteX3" fmla="*/ 45445 w 249236"/>
                <a:gd name="connsiteY3" fmla="*/ 19982 h 175603"/>
                <a:gd name="connsiteX4" fmla="*/ 106334 w 249236"/>
                <a:gd name="connsiteY4" fmla="*/ 6034 h 175603"/>
                <a:gd name="connsiteX5" fmla="*/ 165972 w 249236"/>
                <a:gd name="connsiteY5" fmla="*/ 58608 h 175603"/>
                <a:gd name="connsiteX6" fmla="*/ 196908 w 249236"/>
                <a:gd name="connsiteY6" fmla="*/ 66029 h 175603"/>
                <a:gd name="connsiteX7" fmla="*/ 222838 w 249236"/>
                <a:gd name="connsiteY7" fmla="*/ 92763 h 175603"/>
                <a:gd name="connsiteX8" fmla="*/ 239468 w 249236"/>
                <a:gd name="connsiteY8" fmla="*/ 110645 h 175603"/>
                <a:gd name="connsiteX9" fmla="*/ 249124 w 249236"/>
                <a:gd name="connsiteY9" fmla="*/ 115563 h 175603"/>
                <a:gd name="connsiteX10" fmla="*/ 242150 w 249236"/>
                <a:gd name="connsiteY10" fmla="*/ 128528 h 175603"/>
                <a:gd name="connsiteX11" fmla="*/ 187967 w 249236"/>
                <a:gd name="connsiteY11" fmla="*/ 147304 h 175603"/>
                <a:gd name="connsiteX12" fmla="*/ 163736 w 249236"/>
                <a:gd name="connsiteY12" fmla="*/ 162057 h 175603"/>
                <a:gd name="connsiteX13" fmla="*/ 117600 w 249236"/>
                <a:gd name="connsiteY13" fmla="*/ 172429 h 175603"/>
                <a:gd name="connsiteX14" fmla="*/ 42852 w 249236"/>
                <a:gd name="connsiteY14" fmla="*/ 135859 h 175603"/>
                <a:gd name="connsiteX15" fmla="*/ 52151 w 249236"/>
                <a:gd name="connsiteY15" fmla="*/ 115563 h 175603"/>
                <a:gd name="connsiteX16" fmla="*/ 100522 w 249236"/>
                <a:gd name="connsiteY16" fmla="*/ 113417 h 175603"/>
                <a:gd name="connsiteX17" fmla="*/ 52330 w 249236"/>
                <a:gd name="connsiteY17" fmla="*/ 111271 h 175603"/>
                <a:gd name="connsiteX18" fmla="*/ 1633 w 249236"/>
                <a:gd name="connsiteY18" fmla="*/ 99022 h 175603"/>
                <a:gd name="connsiteX19" fmla="*/ 20410 w 249236"/>
                <a:gd name="connsiteY19" fmla="*/ 83643 h 175603"/>
                <a:gd name="connsiteX20" fmla="*/ 203 w 249236"/>
                <a:gd name="connsiteY20" fmla="*/ 85074 h 17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9236" h="175603">
                  <a:moveTo>
                    <a:pt x="203" y="85074"/>
                  </a:moveTo>
                  <a:cubicBezTo>
                    <a:pt x="-2033" y="74434"/>
                    <a:pt x="14687" y="54227"/>
                    <a:pt x="27473" y="52796"/>
                  </a:cubicBezTo>
                  <a:cubicBezTo>
                    <a:pt x="34894" y="51991"/>
                    <a:pt x="42405" y="52617"/>
                    <a:pt x="48306" y="52617"/>
                  </a:cubicBezTo>
                  <a:cubicBezTo>
                    <a:pt x="60198" y="38401"/>
                    <a:pt x="25327" y="32053"/>
                    <a:pt x="45445" y="19982"/>
                  </a:cubicBezTo>
                  <a:cubicBezTo>
                    <a:pt x="63685" y="9074"/>
                    <a:pt x="79690" y="-9703"/>
                    <a:pt x="106334" y="6034"/>
                  </a:cubicBezTo>
                  <a:cubicBezTo>
                    <a:pt x="130028" y="19982"/>
                    <a:pt x="137986" y="50293"/>
                    <a:pt x="165972" y="58608"/>
                  </a:cubicBezTo>
                  <a:cubicBezTo>
                    <a:pt x="175897" y="61558"/>
                    <a:pt x="180546" y="74434"/>
                    <a:pt x="196908" y="66029"/>
                  </a:cubicBezTo>
                  <a:cubicBezTo>
                    <a:pt x="206028" y="61290"/>
                    <a:pt x="226146" y="84805"/>
                    <a:pt x="222838" y="92763"/>
                  </a:cubicBezTo>
                  <a:cubicBezTo>
                    <a:pt x="212645" y="117441"/>
                    <a:pt x="221228" y="116278"/>
                    <a:pt x="239468" y="110645"/>
                  </a:cubicBezTo>
                  <a:cubicBezTo>
                    <a:pt x="243849" y="109304"/>
                    <a:pt x="248588" y="109930"/>
                    <a:pt x="249124" y="115563"/>
                  </a:cubicBezTo>
                  <a:cubicBezTo>
                    <a:pt x="249661" y="121107"/>
                    <a:pt x="248409" y="127902"/>
                    <a:pt x="242150" y="128528"/>
                  </a:cubicBezTo>
                  <a:cubicBezTo>
                    <a:pt x="222659" y="130674"/>
                    <a:pt x="209157" y="148914"/>
                    <a:pt x="187967" y="147304"/>
                  </a:cubicBezTo>
                  <a:cubicBezTo>
                    <a:pt x="178132" y="146589"/>
                    <a:pt x="169191" y="144890"/>
                    <a:pt x="163736" y="162057"/>
                  </a:cubicBezTo>
                  <a:cubicBezTo>
                    <a:pt x="158193" y="179582"/>
                    <a:pt x="131548" y="176542"/>
                    <a:pt x="117600" y="172429"/>
                  </a:cubicBezTo>
                  <a:cubicBezTo>
                    <a:pt x="91313" y="164650"/>
                    <a:pt x="65741" y="151328"/>
                    <a:pt x="42852" y="135859"/>
                  </a:cubicBezTo>
                  <a:cubicBezTo>
                    <a:pt x="26490" y="124862"/>
                    <a:pt x="45713" y="121107"/>
                    <a:pt x="52151" y="115563"/>
                  </a:cubicBezTo>
                  <a:cubicBezTo>
                    <a:pt x="67440" y="110377"/>
                    <a:pt x="83087" y="108589"/>
                    <a:pt x="100522" y="113417"/>
                  </a:cubicBezTo>
                  <a:cubicBezTo>
                    <a:pt x="83534" y="93925"/>
                    <a:pt x="67977" y="120660"/>
                    <a:pt x="52330" y="111271"/>
                  </a:cubicBezTo>
                  <a:cubicBezTo>
                    <a:pt x="38560" y="94462"/>
                    <a:pt x="15671" y="114937"/>
                    <a:pt x="1633" y="99022"/>
                  </a:cubicBezTo>
                  <a:cubicBezTo>
                    <a:pt x="1991" y="87309"/>
                    <a:pt x="14419" y="89991"/>
                    <a:pt x="20410" y="83643"/>
                  </a:cubicBezTo>
                  <a:cubicBezTo>
                    <a:pt x="13346" y="89544"/>
                    <a:pt x="6819" y="88382"/>
                    <a:pt x="203" y="850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1" name="Freeform: Shape 40">
              <a:extLst>
                <a:ext uri="{FF2B5EF4-FFF2-40B4-BE49-F238E27FC236}">
                  <a16:creationId xmlns:a16="http://schemas.microsoft.com/office/drawing/2014/main" id="{BAEEC4AA-3D2A-014E-1248-A43CA2AF797C}"/>
                </a:ext>
              </a:extLst>
            </p:cNvPr>
            <p:cNvSpPr/>
            <p:nvPr/>
          </p:nvSpPr>
          <p:spPr>
            <a:xfrm>
              <a:off x="6437469" y="4396617"/>
              <a:ext cx="255448" cy="274415"/>
            </a:xfrm>
            <a:custGeom>
              <a:avLst/>
              <a:gdLst>
                <a:gd name="connsiteX0" fmla="*/ 80451 w 175226"/>
                <a:gd name="connsiteY0" fmla="*/ 12722 h 188236"/>
                <a:gd name="connsiteX1" fmla="*/ 112013 w 175226"/>
                <a:gd name="connsiteY1" fmla="*/ 383 h 188236"/>
                <a:gd name="connsiteX2" fmla="*/ 86084 w 175226"/>
                <a:gd name="connsiteY2" fmla="*/ 57785 h 188236"/>
                <a:gd name="connsiteX3" fmla="*/ 98780 w 175226"/>
                <a:gd name="connsiteY3" fmla="*/ 86040 h 188236"/>
                <a:gd name="connsiteX4" fmla="*/ 150818 w 175226"/>
                <a:gd name="connsiteY4" fmla="*/ 102134 h 188236"/>
                <a:gd name="connsiteX5" fmla="*/ 174512 w 175226"/>
                <a:gd name="connsiteY5" fmla="*/ 145766 h 188236"/>
                <a:gd name="connsiteX6" fmla="*/ 163514 w 175226"/>
                <a:gd name="connsiteY6" fmla="*/ 180101 h 188236"/>
                <a:gd name="connsiteX7" fmla="*/ 134903 w 175226"/>
                <a:gd name="connsiteY7" fmla="*/ 188237 h 188236"/>
                <a:gd name="connsiteX8" fmla="*/ 112371 w 175226"/>
                <a:gd name="connsiteY8" fmla="*/ 175988 h 188236"/>
                <a:gd name="connsiteX9" fmla="*/ 105754 w 175226"/>
                <a:gd name="connsiteY9" fmla="*/ 176971 h 188236"/>
                <a:gd name="connsiteX10" fmla="*/ 80361 w 175226"/>
                <a:gd name="connsiteY10" fmla="*/ 169282 h 188236"/>
                <a:gd name="connsiteX11" fmla="*/ 14286 w 175226"/>
                <a:gd name="connsiteY11" fmla="*/ 163470 h 188236"/>
                <a:gd name="connsiteX12" fmla="*/ 18578 w 175226"/>
                <a:gd name="connsiteY12" fmla="*/ 115277 h 188236"/>
                <a:gd name="connsiteX13" fmla="*/ 54164 w 175226"/>
                <a:gd name="connsiteY13" fmla="*/ 59753 h 188236"/>
                <a:gd name="connsiteX14" fmla="*/ 71510 w 175226"/>
                <a:gd name="connsiteY14" fmla="*/ 38562 h 188236"/>
                <a:gd name="connsiteX15" fmla="*/ 80540 w 175226"/>
                <a:gd name="connsiteY15" fmla="*/ 12811 h 1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226" h="188236">
                  <a:moveTo>
                    <a:pt x="80451" y="12722"/>
                  </a:moveTo>
                  <a:cubicBezTo>
                    <a:pt x="89750" y="5480"/>
                    <a:pt x="99048" y="-1763"/>
                    <a:pt x="112013" y="383"/>
                  </a:cubicBezTo>
                  <a:cubicBezTo>
                    <a:pt x="111656" y="23273"/>
                    <a:pt x="90823" y="36953"/>
                    <a:pt x="86084" y="57785"/>
                  </a:cubicBezTo>
                  <a:cubicBezTo>
                    <a:pt x="74997" y="74058"/>
                    <a:pt x="98780" y="74684"/>
                    <a:pt x="98780" y="86040"/>
                  </a:cubicBezTo>
                  <a:cubicBezTo>
                    <a:pt x="111477" y="106425"/>
                    <a:pt x="137048" y="85235"/>
                    <a:pt x="150818" y="102134"/>
                  </a:cubicBezTo>
                  <a:cubicBezTo>
                    <a:pt x="148761" y="122072"/>
                    <a:pt x="161637" y="133875"/>
                    <a:pt x="174512" y="145766"/>
                  </a:cubicBezTo>
                  <a:cubicBezTo>
                    <a:pt x="176479" y="159089"/>
                    <a:pt x="174870" y="171159"/>
                    <a:pt x="163514" y="180101"/>
                  </a:cubicBezTo>
                  <a:cubicBezTo>
                    <a:pt x="156987" y="193423"/>
                    <a:pt x="143933" y="183677"/>
                    <a:pt x="134903" y="188237"/>
                  </a:cubicBezTo>
                  <a:cubicBezTo>
                    <a:pt x="129270" y="180726"/>
                    <a:pt x="118987" y="181710"/>
                    <a:pt x="112371" y="175988"/>
                  </a:cubicBezTo>
                  <a:lnTo>
                    <a:pt x="105754" y="176971"/>
                  </a:lnTo>
                  <a:cubicBezTo>
                    <a:pt x="95383" y="180637"/>
                    <a:pt x="85905" y="181531"/>
                    <a:pt x="80361" y="169282"/>
                  </a:cubicBezTo>
                  <a:cubicBezTo>
                    <a:pt x="60423" y="143084"/>
                    <a:pt x="37176" y="155423"/>
                    <a:pt x="14286" y="163470"/>
                  </a:cubicBezTo>
                  <a:cubicBezTo>
                    <a:pt x="-15488" y="145141"/>
                    <a:pt x="9011" y="126722"/>
                    <a:pt x="18578" y="115277"/>
                  </a:cubicBezTo>
                  <a:cubicBezTo>
                    <a:pt x="33152" y="97931"/>
                    <a:pt x="42809" y="78529"/>
                    <a:pt x="54164" y="59753"/>
                  </a:cubicBezTo>
                  <a:cubicBezTo>
                    <a:pt x="56399" y="49828"/>
                    <a:pt x="61943" y="42586"/>
                    <a:pt x="71510" y="38562"/>
                  </a:cubicBezTo>
                  <a:cubicBezTo>
                    <a:pt x="70437" y="28548"/>
                    <a:pt x="85190" y="24077"/>
                    <a:pt x="80540" y="128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2" name="Freeform: Shape 41">
              <a:extLst>
                <a:ext uri="{FF2B5EF4-FFF2-40B4-BE49-F238E27FC236}">
                  <a16:creationId xmlns:a16="http://schemas.microsoft.com/office/drawing/2014/main" id="{EA5B636E-DFE3-23A1-2B97-2EA939CA4B65}"/>
                </a:ext>
              </a:extLst>
            </p:cNvPr>
            <p:cNvSpPr/>
            <p:nvPr/>
          </p:nvSpPr>
          <p:spPr>
            <a:xfrm>
              <a:off x="4345029" y="2346815"/>
              <a:ext cx="349350" cy="151718"/>
            </a:xfrm>
            <a:custGeom>
              <a:avLst/>
              <a:gdLst>
                <a:gd name="connsiteX0" fmla="*/ 134806 w 239638"/>
                <a:gd name="connsiteY0" fmla="*/ 10022 h 104071"/>
                <a:gd name="connsiteX1" fmla="*/ 203475 w 239638"/>
                <a:gd name="connsiteY1" fmla="*/ 1707 h 104071"/>
                <a:gd name="connsiteX2" fmla="*/ 238703 w 239638"/>
                <a:gd name="connsiteY2" fmla="*/ 9844 h 104071"/>
                <a:gd name="connsiteX3" fmla="*/ 217512 w 239638"/>
                <a:gd name="connsiteY3" fmla="*/ 33180 h 104071"/>
                <a:gd name="connsiteX4" fmla="*/ 188275 w 239638"/>
                <a:gd name="connsiteY4" fmla="*/ 64474 h 104071"/>
                <a:gd name="connsiteX5" fmla="*/ 156444 w 239638"/>
                <a:gd name="connsiteY5" fmla="*/ 78780 h 104071"/>
                <a:gd name="connsiteX6" fmla="*/ 155103 w 239638"/>
                <a:gd name="connsiteY6" fmla="*/ 55712 h 104071"/>
                <a:gd name="connsiteX7" fmla="*/ 150811 w 239638"/>
                <a:gd name="connsiteY7" fmla="*/ 44535 h 104071"/>
                <a:gd name="connsiteX8" fmla="*/ 139635 w 239638"/>
                <a:gd name="connsiteY8" fmla="*/ 49989 h 104071"/>
                <a:gd name="connsiteX9" fmla="*/ 121484 w 239638"/>
                <a:gd name="connsiteY9" fmla="*/ 74935 h 104071"/>
                <a:gd name="connsiteX10" fmla="*/ 48435 w 239638"/>
                <a:gd name="connsiteY10" fmla="*/ 98987 h 104071"/>
                <a:gd name="connsiteX11" fmla="*/ 20270 w 239638"/>
                <a:gd name="connsiteY11" fmla="*/ 103636 h 104071"/>
                <a:gd name="connsiteX12" fmla="*/ 331 w 239638"/>
                <a:gd name="connsiteY12" fmla="*/ 89778 h 104071"/>
                <a:gd name="connsiteX13" fmla="*/ 12491 w 239638"/>
                <a:gd name="connsiteY13" fmla="*/ 64564 h 104071"/>
                <a:gd name="connsiteX14" fmla="*/ 113258 w 239638"/>
                <a:gd name="connsiteY14" fmla="*/ 19232 h 104071"/>
                <a:gd name="connsiteX15" fmla="*/ 134806 w 239638"/>
                <a:gd name="connsiteY15" fmla="*/ 1011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638" h="104071">
                  <a:moveTo>
                    <a:pt x="134806" y="10022"/>
                  </a:moveTo>
                  <a:cubicBezTo>
                    <a:pt x="159216" y="29872"/>
                    <a:pt x="180138" y="5284"/>
                    <a:pt x="203475" y="1707"/>
                  </a:cubicBezTo>
                  <a:cubicBezTo>
                    <a:pt x="216797" y="-349"/>
                    <a:pt x="233606" y="-2942"/>
                    <a:pt x="238703" y="9844"/>
                  </a:cubicBezTo>
                  <a:cubicBezTo>
                    <a:pt x="243620" y="22451"/>
                    <a:pt x="228063" y="26832"/>
                    <a:pt x="217512" y="33180"/>
                  </a:cubicBezTo>
                  <a:cubicBezTo>
                    <a:pt x="205620" y="40244"/>
                    <a:pt x="195338" y="52314"/>
                    <a:pt x="188275" y="64474"/>
                  </a:cubicBezTo>
                  <a:cubicBezTo>
                    <a:pt x="180227" y="78243"/>
                    <a:pt x="170482" y="83429"/>
                    <a:pt x="156444" y="78780"/>
                  </a:cubicBezTo>
                  <a:cubicBezTo>
                    <a:pt x="138562" y="72789"/>
                    <a:pt x="155908" y="63401"/>
                    <a:pt x="155103" y="55712"/>
                  </a:cubicBezTo>
                  <a:cubicBezTo>
                    <a:pt x="154656" y="51867"/>
                    <a:pt x="152242" y="48291"/>
                    <a:pt x="150811" y="44535"/>
                  </a:cubicBezTo>
                  <a:cubicBezTo>
                    <a:pt x="147056" y="46324"/>
                    <a:pt x="142138" y="47128"/>
                    <a:pt x="139635" y="49989"/>
                  </a:cubicBezTo>
                  <a:cubicBezTo>
                    <a:pt x="132839" y="57947"/>
                    <a:pt x="124435" y="68676"/>
                    <a:pt x="121484" y="74935"/>
                  </a:cubicBezTo>
                  <a:cubicBezTo>
                    <a:pt x="104317" y="111683"/>
                    <a:pt x="77494" y="104262"/>
                    <a:pt x="48435" y="98987"/>
                  </a:cubicBezTo>
                  <a:cubicBezTo>
                    <a:pt x="39583" y="97378"/>
                    <a:pt x="29748" y="102563"/>
                    <a:pt x="20270" y="103636"/>
                  </a:cubicBezTo>
                  <a:cubicBezTo>
                    <a:pt x="10167" y="104709"/>
                    <a:pt x="510" y="104978"/>
                    <a:pt x="331" y="89778"/>
                  </a:cubicBezTo>
                  <a:cubicBezTo>
                    <a:pt x="331" y="78780"/>
                    <a:pt x="-3156" y="68140"/>
                    <a:pt x="12491" y="64564"/>
                  </a:cubicBezTo>
                  <a:cubicBezTo>
                    <a:pt x="48971" y="56159"/>
                    <a:pt x="87418" y="52135"/>
                    <a:pt x="113258" y="19232"/>
                  </a:cubicBezTo>
                  <a:cubicBezTo>
                    <a:pt x="117461" y="13957"/>
                    <a:pt x="124703" y="9039"/>
                    <a:pt x="134806" y="101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3" name="Freeform: Shape 42">
              <a:extLst>
                <a:ext uri="{FF2B5EF4-FFF2-40B4-BE49-F238E27FC236}">
                  <a16:creationId xmlns:a16="http://schemas.microsoft.com/office/drawing/2014/main" id="{550F4D28-92F0-46E7-062A-1A6D014B3F68}"/>
                </a:ext>
              </a:extLst>
            </p:cNvPr>
            <p:cNvSpPr/>
            <p:nvPr/>
          </p:nvSpPr>
          <p:spPr>
            <a:xfrm>
              <a:off x="5537790" y="3394204"/>
              <a:ext cx="261924" cy="199641"/>
            </a:xfrm>
            <a:custGeom>
              <a:avLst/>
              <a:gdLst>
                <a:gd name="connsiteX0" fmla="*/ 178913 w 179668"/>
                <a:gd name="connsiteY0" fmla="*/ 116742 h 136944"/>
                <a:gd name="connsiteX1" fmla="*/ 113732 w 179668"/>
                <a:gd name="connsiteY1" fmla="*/ 95014 h 136944"/>
                <a:gd name="connsiteX2" fmla="*/ 83153 w 179668"/>
                <a:gd name="connsiteY2" fmla="*/ 103509 h 136944"/>
                <a:gd name="connsiteX3" fmla="*/ 30937 w 179668"/>
                <a:gd name="connsiteY3" fmla="*/ 135876 h 136944"/>
                <a:gd name="connsiteX4" fmla="*/ 31205 w 179668"/>
                <a:gd name="connsiteY4" fmla="*/ 136412 h 136944"/>
                <a:gd name="connsiteX5" fmla="*/ 0 w 179668"/>
                <a:gd name="connsiteY5" fmla="*/ 105833 h 136944"/>
                <a:gd name="connsiteX6" fmla="*/ 36480 w 179668"/>
                <a:gd name="connsiteY6" fmla="*/ 24022 h 136944"/>
                <a:gd name="connsiteX7" fmla="*/ 55793 w 179668"/>
                <a:gd name="connsiteY7" fmla="*/ 1401 h 136944"/>
                <a:gd name="connsiteX8" fmla="*/ 66075 w 179668"/>
                <a:gd name="connsiteY8" fmla="*/ 16064 h 136944"/>
                <a:gd name="connsiteX9" fmla="*/ 119186 w 179668"/>
                <a:gd name="connsiteY9" fmla="*/ 43513 h 136944"/>
                <a:gd name="connsiteX10" fmla="*/ 147440 w 179668"/>
                <a:gd name="connsiteY10" fmla="*/ 71768 h 136944"/>
                <a:gd name="connsiteX11" fmla="*/ 169882 w 179668"/>
                <a:gd name="connsiteY11" fmla="*/ 93942 h 136944"/>
                <a:gd name="connsiteX12" fmla="*/ 178734 w 179668"/>
                <a:gd name="connsiteY12" fmla="*/ 117099 h 136944"/>
                <a:gd name="connsiteX13" fmla="*/ 178734 w 179668"/>
                <a:gd name="connsiteY13" fmla="*/ 116831 h 13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668" h="136944">
                  <a:moveTo>
                    <a:pt x="178913" y="116742"/>
                  </a:moveTo>
                  <a:cubicBezTo>
                    <a:pt x="154771" y="117099"/>
                    <a:pt x="131435" y="119513"/>
                    <a:pt x="113732" y="95014"/>
                  </a:cubicBezTo>
                  <a:cubicBezTo>
                    <a:pt x="104433" y="82139"/>
                    <a:pt x="88786" y="83749"/>
                    <a:pt x="83153" y="103509"/>
                  </a:cubicBezTo>
                  <a:cubicBezTo>
                    <a:pt x="75553" y="130064"/>
                    <a:pt x="57939" y="140525"/>
                    <a:pt x="30937" y="135876"/>
                  </a:cubicBezTo>
                  <a:lnTo>
                    <a:pt x="31205" y="136412"/>
                  </a:lnTo>
                  <a:cubicBezTo>
                    <a:pt x="47031" y="104045"/>
                    <a:pt x="15647" y="113612"/>
                    <a:pt x="0" y="105833"/>
                  </a:cubicBezTo>
                  <a:cubicBezTo>
                    <a:pt x="26198" y="83212"/>
                    <a:pt x="28970" y="52097"/>
                    <a:pt x="36480" y="24022"/>
                  </a:cubicBezTo>
                  <a:cubicBezTo>
                    <a:pt x="39967" y="10878"/>
                    <a:pt x="48014" y="4530"/>
                    <a:pt x="55793" y="1401"/>
                  </a:cubicBezTo>
                  <a:cubicBezTo>
                    <a:pt x="71976" y="-5126"/>
                    <a:pt x="61247" y="13114"/>
                    <a:pt x="66075" y="16064"/>
                  </a:cubicBezTo>
                  <a:cubicBezTo>
                    <a:pt x="83242" y="26615"/>
                    <a:pt x="100767" y="41725"/>
                    <a:pt x="119186" y="43513"/>
                  </a:cubicBezTo>
                  <a:cubicBezTo>
                    <a:pt x="140913" y="45570"/>
                    <a:pt x="145652" y="52991"/>
                    <a:pt x="147440" y="71768"/>
                  </a:cubicBezTo>
                  <a:cubicBezTo>
                    <a:pt x="148513" y="82586"/>
                    <a:pt x="149586" y="96356"/>
                    <a:pt x="169882" y="93942"/>
                  </a:cubicBezTo>
                  <a:cubicBezTo>
                    <a:pt x="182400" y="92511"/>
                    <a:pt x="179717" y="107532"/>
                    <a:pt x="178734" y="117099"/>
                  </a:cubicBezTo>
                  <a:lnTo>
                    <a:pt x="178734" y="116831"/>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4" name="Freeform: Shape 43">
              <a:extLst>
                <a:ext uri="{FF2B5EF4-FFF2-40B4-BE49-F238E27FC236}">
                  <a16:creationId xmlns:a16="http://schemas.microsoft.com/office/drawing/2014/main" id="{00621C71-79CC-8CA2-152E-7FF7B8561B06}"/>
                </a:ext>
              </a:extLst>
            </p:cNvPr>
            <p:cNvSpPr/>
            <p:nvPr/>
          </p:nvSpPr>
          <p:spPr>
            <a:xfrm>
              <a:off x="5099536" y="2708955"/>
              <a:ext cx="210675" cy="219108"/>
            </a:xfrm>
            <a:custGeom>
              <a:avLst/>
              <a:gdLst>
                <a:gd name="connsiteX0" fmla="*/ 120726 w 144513"/>
                <a:gd name="connsiteY0" fmla="*/ 51841 h 150298"/>
                <a:gd name="connsiteX1" fmla="*/ 129309 w 144513"/>
                <a:gd name="connsiteY1" fmla="*/ 100391 h 150298"/>
                <a:gd name="connsiteX2" fmla="*/ 113394 w 144513"/>
                <a:gd name="connsiteY2" fmla="*/ 125784 h 150298"/>
                <a:gd name="connsiteX3" fmla="*/ 91131 w 144513"/>
                <a:gd name="connsiteY3" fmla="*/ 112015 h 150298"/>
                <a:gd name="connsiteX4" fmla="*/ 87018 w 144513"/>
                <a:gd name="connsiteY4" fmla="*/ 128646 h 150298"/>
                <a:gd name="connsiteX5" fmla="*/ 68241 w 144513"/>
                <a:gd name="connsiteY5" fmla="*/ 150194 h 150298"/>
                <a:gd name="connsiteX6" fmla="*/ 59390 w 144513"/>
                <a:gd name="connsiteY6" fmla="*/ 131686 h 150298"/>
                <a:gd name="connsiteX7" fmla="*/ 30867 w 144513"/>
                <a:gd name="connsiteY7" fmla="*/ 100839 h 150298"/>
                <a:gd name="connsiteX8" fmla="*/ 378 w 144513"/>
                <a:gd name="connsiteY8" fmla="*/ 64716 h 150298"/>
                <a:gd name="connsiteX9" fmla="*/ 26218 w 144513"/>
                <a:gd name="connsiteY9" fmla="*/ 55865 h 150298"/>
                <a:gd name="connsiteX10" fmla="*/ 50448 w 144513"/>
                <a:gd name="connsiteY10" fmla="*/ 51126 h 150298"/>
                <a:gd name="connsiteX11" fmla="*/ 45620 w 144513"/>
                <a:gd name="connsiteY11" fmla="*/ 34406 h 150298"/>
                <a:gd name="connsiteX12" fmla="*/ 44547 w 144513"/>
                <a:gd name="connsiteY12" fmla="*/ 20368 h 150298"/>
                <a:gd name="connsiteX13" fmla="*/ 84514 w 144513"/>
                <a:gd name="connsiteY13" fmla="*/ 3201 h 150298"/>
                <a:gd name="connsiteX14" fmla="*/ 114914 w 144513"/>
                <a:gd name="connsiteY14" fmla="*/ 4900 h 150298"/>
                <a:gd name="connsiteX15" fmla="*/ 143436 w 144513"/>
                <a:gd name="connsiteY15" fmla="*/ 15451 h 150298"/>
                <a:gd name="connsiteX16" fmla="*/ 126448 w 144513"/>
                <a:gd name="connsiteY16" fmla="*/ 33869 h 150298"/>
                <a:gd name="connsiteX17" fmla="*/ 114556 w 144513"/>
                <a:gd name="connsiteY17" fmla="*/ 39234 h 150298"/>
                <a:gd name="connsiteX18" fmla="*/ 103022 w 144513"/>
                <a:gd name="connsiteY18" fmla="*/ 48980 h 150298"/>
                <a:gd name="connsiteX19" fmla="*/ 120726 w 144513"/>
                <a:gd name="connsiteY19" fmla="*/ 51841 h 15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513" h="150298">
                  <a:moveTo>
                    <a:pt x="120726" y="51841"/>
                  </a:moveTo>
                  <a:cubicBezTo>
                    <a:pt x="123677" y="68024"/>
                    <a:pt x="127253" y="84119"/>
                    <a:pt x="129309" y="100391"/>
                  </a:cubicBezTo>
                  <a:cubicBezTo>
                    <a:pt x="130919" y="112462"/>
                    <a:pt x="125107" y="120777"/>
                    <a:pt x="113394" y="125784"/>
                  </a:cubicBezTo>
                  <a:cubicBezTo>
                    <a:pt x="98909" y="132043"/>
                    <a:pt x="95780" y="120420"/>
                    <a:pt x="91131" y="112015"/>
                  </a:cubicBezTo>
                  <a:cubicBezTo>
                    <a:pt x="80133" y="116307"/>
                    <a:pt x="86481" y="122923"/>
                    <a:pt x="87018" y="128646"/>
                  </a:cubicBezTo>
                  <a:cubicBezTo>
                    <a:pt x="88269" y="142236"/>
                    <a:pt x="80401" y="149210"/>
                    <a:pt x="68241" y="150194"/>
                  </a:cubicBezTo>
                  <a:cubicBezTo>
                    <a:pt x="51968" y="151624"/>
                    <a:pt x="60552" y="138034"/>
                    <a:pt x="59390" y="131686"/>
                  </a:cubicBezTo>
                  <a:cubicBezTo>
                    <a:pt x="56260" y="114787"/>
                    <a:pt x="53131" y="101733"/>
                    <a:pt x="30867" y="100839"/>
                  </a:cubicBezTo>
                  <a:cubicBezTo>
                    <a:pt x="11644" y="100034"/>
                    <a:pt x="13253" y="75356"/>
                    <a:pt x="378" y="64716"/>
                  </a:cubicBezTo>
                  <a:cubicBezTo>
                    <a:pt x="-2752" y="62123"/>
                    <a:pt x="14237" y="45046"/>
                    <a:pt x="26218" y="55865"/>
                  </a:cubicBezTo>
                  <a:cubicBezTo>
                    <a:pt x="38646" y="67130"/>
                    <a:pt x="43832" y="55865"/>
                    <a:pt x="50448" y="51126"/>
                  </a:cubicBezTo>
                  <a:cubicBezTo>
                    <a:pt x="62340" y="42721"/>
                    <a:pt x="49644" y="39145"/>
                    <a:pt x="45620" y="34406"/>
                  </a:cubicBezTo>
                  <a:cubicBezTo>
                    <a:pt x="41686" y="29667"/>
                    <a:pt x="39272" y="23319"/>
                    <a:pt x="44547" y="20368"/>
                  </a:cubicBezTo>
                  <a:cubicBezTo>
                    <a:pt x="57154" y="13305"/>
                    <a:pt x="66632" y="-2432"/>
                    <a:pt x="84514" y="3201"/>
                  </a:cubicBezTo>
                  <a:cubicBezTo>
                    <a:pt x="94618" y="6331"/>
                    <a:pt x="103559" y="11785"/>
                    <a:pt x="114914" y="4900"/>
                  </a:cubicBezTo>
                  <a:cubicBezTo>
                    <a:pt x="127432" y="-2700"/>
                    <a:pt x="137982" y="-3058"/>
                    <a:pt x="143436" y="15451"/>
                  </a:cubicBezTo>
                  <a:cubicBezTo>
                    <a:pt x="148712" y="33601"/>
                    <a:pt x="133243" y="29130"/>
                    <a:pt x="126448" y="33869"/>
                  </a:cubicBezTo>
                  <a:cubicBezTo>
                    <a:pt x="122961" y="36373"/>
                    <a:pt x="118580" y="37535"/>
                    <a:pt x="114556" y="39234"/>
                  </a:cubicBezTo>
                  <a:cubicBezTo>
                    <a:pt x="111606" y="43526"/>
                    <a:pt x="105347" y="43973"/>
                    <a:pt x="103022" y="48980"/>
                  </a:cubicBezTo>
                  <a:cubicBezTo>
                    <a:pt x="109549" y="46029"/>
                    <a:pt x="115451" y="47102"/>
                    <a:pt x="120726" y="5184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5" name="Freeform: Shape 44">
              <a:extLst>
                <a:ext uri="{FF2B5EF4-FFF2-40B4-BE49-F238E27FC236}">
                  <a16:creationId xmlns:a16="http://schemas.microsoft.com/office/drawing/2014/main" id="{8BD9E5A6-5964-F745-83FD-830D326FC202}"/>
                </a:ext>
              </a:extLst>
            </p:cNvPr>
            <p:cNvSpPr/>
            <p:nvPr/>
          </p:nvSpPr>
          <p:spPr>
            <a:xfrm>
              <a:off x="5349437" y="2707855"/>
              <a:ext cx="243610" cy="162900"/>
            </a:xfrm>
            <a:custGeom>
              <a:avLst/>
              <a:gdLst>
                <a:gd name="connsiteX0" fmla="*/ 167023 w 167105"/>
                <a:gd name="connsiteY0" fmla="*/ 13076 h 111742"/>
                <a:gd name="connsiteX1" fmla="*/ 120976 w 167105"/>
                <a:gd name="connsiteY1" fmla="*/ 60107 h 111742"/>
                <a:gd name="connsiteX2" fmla="*/ 51503 w 167105"/>
                <a:gd name="connsiteY2" fmla="*/ 72892 h 111742"/>
                <a:gd name="connsiteX3" fmla="*/ 40864 w 167105"/>
                <a:gd name="connsiteY3" fmla="*/ 109193 h 111742"/>
                <a:gd name="connsiteX4" fmla="*/ 19494 w 167105"/>
                <a:gd name="connsiteY4" fmla="*/ 89433 h 111742"/>
                <a:gd name="connsiteX5" fmla="*/ 5814 w 167105"/>
                <a:gd name="connsiteY5" fmla="*/ 71998 h 111742"/>
                <a:gd name="connsiteX6" fmla="*/ 9748 w 167105"/>
                <a:gd name="connsiteY6" fmla="*/ 37128 h 111742"/>
                <a:gd name="connsiteX7" fmla="*/ 112393 w 167105"/>
                <a:gd name="connsiteY7" fmla="*/ 6638 h 111742"/>
                <a:gd name="connsiteX8" fmla="*/ 167023 w 167105"/>
                <a:gd name="connsiteY8" fmla="*/ 13255 h 11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05" h="111742">
                  <a:moveTo>
                    <a:pt x="167023" y="13076"/>
                  </a:moveTo>
                  <a:cubicBezTo>
                    <a:pt x="169080" y="47231"/>
                    <a:pt x="131974" y="40794"/>
                    <a:pt x="120976" y="60107"/>
                  </a:cubicBezTo>
                  <a:cubicBezTo>
                    <a:pt x="102289" y="93099"/>
                    <a:pt x="74661" y="60643"/>
                    <a:pt x="51503" y="72892"/>
                  </a:cubicBezTo>
                  <a:cubicBezTo>
                    <a:pt x="70012" y="90417"/>
                    <a:pt x="55706" y="102219"/>
                    <a:pt x="40864" y="109193"/>
                  </a:cubicBezTo>
                  <a:cubicBezTo>
                    <a:pt x="22802" y="117688"/>
                    <a:pt x="21372" y="103382"/>
                    <a:pt x="19494" y="89433"/>
                  </a:cubicBezTo>
                  <a:cubicBezTo>
                    <a:pt x="18600" y="83085"/>
                    <a:pt x="10374" y="77899"/>
                    <a:pt x="5814" y="71998"/>
                  </a:cubicBezTo>
                  <a:cubicBezTo>
                    <a:pt x="-4110" y="59034"/>
                    <a:pt x="-355" y="51076"/>
                    <a:pt x="9748" y="37128"/>
                  </a:cubicBezTo>
                  <a:cubicBezTo>
                    <a:pt x="37466" y="-1230"/>
                    <a:pt x="69207" y="-6863"/>
                    <a:pt x="112393" y="6638"/>
                  </a:cubicBezTo>
                  <a:cubicBezTo>
                    <a:pt x="129023" y="11824"/>
                    <a:pt x="149945" y="6817"/>
                    <a:pt x="167023" y="13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6" name="Freeform: Shape 45">
              <a:extLst>
                <a:ext uri="{FF2B5EF4-FFF2-40B4-BE49-F238E27FC236}">
                  <a16:creationId xmlns:a16="http://schemas.microsoft.com/office/drawing/2014/main" id="{0E4D4696-72CA-AD4D-EDFB-1AE2A8C09C82}"/>
                </a:ext>
              </a:extLst>
            </p:cNvPr>
            <p:cNvSpPr/>
            <p:nvPr/>
          </p:nvSpPr>
          <p:spPr>
            <a:xfrm>
              <a:off x="5204422" y="2480170"/>
              <a:ext cx="148701" cy="152435"/>
            </a:xfrm>
            <a:custGeom>
              <a:avLst/>
              <a:gdLst>
                <a:gd name="connsiteX0" fmla="*/ 49941 w 102002"/>
                <a:gd name="connsiteY0" fmla="*/ 0 h 104564"/>
                <a:gd name="connsiteX1" fmla="*/ 101889 w 102002"/>
                <a:gd name="connsiteY1" fmla="*/ 45958 h 104564"/>
                <a:gd name="connsiteX2" fmla="*/ 49315 w 102002"/>
                <a:gd name="connsiteY2" fmla="*/ 104522 h 104564"/>
                <a:gd name="connsiteX3" fmla="*/ 24101 w 102002"/>
                <a:gd name="connsiteY3" fmla="*/ 73139 h 104564"/>
                <a:gd name="connsiteX4" fmla="*/ 3268 w 102002"/>
                <a:gd name="connsiteY4" fmla="*/ 50875 h 104564"/>
                <a:gd name="connsiteX5" fmla="*/ 1748 w 102002"/>
                <a:gd name="connsiteY5" fmla="*/ 42739 h 104564"/>
                <a:gd name="connsiteX6" fmla="*/ 18021 w 102002"/>
                <a:gd name="connsiteY6" fmla="*/ 19581 h 104564"/>
                <a:gd name="connsiteX7" fmla="*/ 31880 w 102002"/>
                <a:gd name="connsiteY7" fmla="*/ 6616 h 104564"/>
                <a:gd name="connsiteX8" fmla="*/ 49852 w 102002"/>
                <a:gd name="connsiteY8" fmla="*/ 89 h 10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002" h="104564">
                  <a:moveTo>
                    <a:pt x="49941" y="0"/>
                  </a:moveTo>
                  <a:cubicBezTo>
                    <a:pt x="95899" y="1699"/>
                    <a:pt x="103052" y="8047"/>
                    <a:pt x="101889" y="45958"/>
                  </a:cubicBezTo>
                  <a:cubicBezTo>
                    <a:pt x="100727" y="85567"/>
                    <a:pt x="83560" y="103449"/>
                    <a:pt x="49315" y="104522"/>
                  </a:cubicBezTo>
                  <a:cubicBezTo>
                    <a:pt x="24817" y="105327"/>
                    <a:pt x="18021" y="94597"/>
                    <a:pt x="24101" y="73139"/>
                  </a:cubicBezTo>
                  <a:cubicBezTo>
                    <a:pt x="29645" y="53379"/>
                    <a:pt x="24280" y="45153"/>
                    <a:pt x="3268" y="50875"/>
                  </a:cubicBezTo>
                  <a:cubicBezTo>
                    <a:pt x="-487" y="48729"/>
                    <a:pt x="-1024" y="46047"/>
                    <a:pt x="1748" y="42739"/>
                  </a:cubicBezTo>
                  <a:cubicBezTo>
                    <a:pt x="1748" y="31205"/>
                    <a:pt x="32148" y="41040"/>
                    <a:pt x="18021" y="19581"/>
                  </a:cubicBezTo>
                  <a:cubicBezTo>
                    <a:pt x="20972" y="13501"/>
                    <a:pt x="27320" y="11087"/>
                    <a:pt x="31880" y="6616"/>
                  </a:cubicBezTo>
                  <a:cubicBezTo>
                    <a:pt x="36708" y="1252"/>
                    <a:pt x="44219" y="3219"/>
                    <a:pt x="49852"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7" name="Freeform: Shape 46">
              <a:extLst>
                <a:ext uri="{FF2B5EF4-FFF2-40B4-BE49-F238E27FC236}">
                  <a16:creationId xmlns:a16="http://schemas.microsoft.com/office/drawing/2014/main" id="{307657EF-E43B-E53A-1953-E568BB651D63}"/>
                </a:ext>
              </a:extLst>
            </p:cNvPr>
            <p:cNvSpPr/>
            <p:nvPr/>
          </p:nvSpPr>
          <p:spPr>
            <a:xfrm>
              <a:off x="5123548" y="2235528"/>
              <a:ext cx="236008" cy="119583"/>
            </a:xfrm>
            <a:custGeom>
              <a:avLst/>
              <a:gdLst>
                <a:gd name="connsiteX0" fmla="*/ 7064 w 161891"/>
                <a:gd name="connsiteY0" fmla="*/ 46751 h 82028"/>
                <a:gd name="connsiteX1" fmla="*/ 42470 w 161891"/>
                <a:gd name="connsiteY1" fmla="*/ 38972 h 82028"/>
                <a:gd name="connsiteX2" fmla="*/ 0 w 161891"/>
                <a:gd name="connsiteY2" fmla="*/ 19480 h 82028"/>
                <a:gd name="connsiteX3" fmla="*/ 70367 w 161891"/>
                <a:gd name="connsiteY3" fmla="*/ 5264 h 82028"/>
                <a:gd name="connsiteX4" fmla="*/ 122315 w 161891"/>
                <a:gd name="connsiteY4" fmla="*/ 21000 h 82028"/>
                <a:gd name="connsiteX5" fmla="*/ 159331 w 161891"/>
                <a:gd name="connsiteY5" fmla="*/ 64812 h 82028"/>
                <a:gd name="connsiteX6" fmla="*/ 145294 w 161891"/>
                <a:gd name="connsiteY6" fmla="*/ 81889 h 82028"/>
                <a:gd name="connsiteX7" fmla="*/ 130988 w 161891"/>
                <a:gd name="connsiteY7" fmla="*/ 74915 h 82028"/>
                <a:gd name="connsiteX8" fmla="*/ 41666 w 161891"/>
                <a:gd name="connsiteY8" fmla="*/ 59268 h 82028"/>
                <a:gd name="connsiteX9" fmla="*/ 6974 w 161891"/>
                <a:gd name="connsiteY9" fmla="*/ 46751 h 8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891" h="82028">
                  <a:moveTo>
                    <a:pt x="7064" y="46751"/>
                  </a:moveTo>
                  <a:cubicBezTo>
                    <a:pt x="17882" y="35932"/>
                    <a:pt x="31384" y="46930"/>
                    <a:pt x="42470" y="38972"/>
                  </a:cubicBezTo>
                  <a:cubicBezTo>
                    <a:pt x="34871" y="20285"/>
                    <a:pt x="14216" y="28511"/>
                    <a:pt x="0" y="19480"/>
                  </a:cubicBezTo>
                  <a:cubicBezTo>
                    <a:pt x="19671" y="-5555"/>
                    <a:pt x="48193" y="-1800"/>
                    <a:pt x="70367" y="5264"/>
                  </a:cubicBezTo>
                  <a:cubicBezTo>
                    <a:pt x="87266" y="10718"/>
                    <a:pt x="105327" y="16261"/>
                    <a:pt x="122315" y="21000"/>
                  </a:cubicBezTo>
                  <a:cubicBezTo>
                    <a:pt x="147082" y="27885"/>
                    <a:pt x="149139" y="49165"/>
                    <a:pt x="159331" y="64812"/>
                  </a:cubicBezTo>
                  <a:cubicBezTo>
                    <a:pt x="166485" y="75809"/>
                    <a:pt x="157633" y="83141"/>
                    <a:pt x="145294" y="81889"/>
                  </a:cubicBezTo>
                  <a:cubicBezTo>
                    <a:pt x="140287" y="81353"/>
                    <a:pt x="134833" y="78402"/>
                    <a:pt x="130988" y="74915"/>
                  </a:cubicBezTo>
                  <a:cubicBezTo>
                    <a:pt x="104433" y="50774"/>
                    <a:pt x="75016" y="47734"/>
                    <a:pt x="41666" y="59268"/>
                  </a:cubicBezTo>
                  <a:cubicBezTo>
                    <a:pt x="29327" y="63560"/>
                    <a:pt x="13591" y="64544"/>
                    <a:pt x="6974" y="4675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8" name="Freeform: Shape 47">
              <a:extLst>
                <a:ext uri="{FF2B5EF4-FFF2-40B4-BE49-F238E27FC236}">
                  <a16:creationId xmlns:a16="http://schemas.microsoft.com/office/drawing/2014/main" id="{BB175EAE-E7C7-0100-512D-25D9C7AD0062}"/>
                </a:ext>
              </a:extLst>
            </p:cNvPr>
            <p:cNvSpPr/>
            <p:nvPr/>
          </p:nvSpPr>
          <p:spPr>
            <a:xfrm>
              <a:off x="5390500" y="2271016"/>
              <a:ext cx="133574" cy="100741"/>
            </a:xfrm>
            <a:custGeom>
              <a:avLst/>
              <a:gdLst>
                <a:gd name="connsiteX0" fmla="*/ 89 w 91625"/>
                <a:gd name="connsiteY0" fmla="*/ 47800 h 69104"/>
                <a:gd name="connsiteX1" fmla="*/ 805 w 91625"/>
                <a:gd name="connsiteY1" fmla="*/ 14002 h 69104"/>
                <a:gd name="connsiteX2" fmla="*/ 22263 w 91625"/>
                <a:gd name="connsiteY2" fmla="*/ 1127 h 69104"/>
                <a:gd name="connsiteX3" fmla="*/ 83689 w 91625"/>
                <a:gd name="connsiteY3" fmla="*/ 27861 h 69104"/>
                <a:gd name="connsiteX4" fmla="*/ 89948 w 91625"/>
                <a:gd name="connsiteY4" fmla="*/ 43955 h 69104"/>
                <a:gd name="connsiteX5" fmla="*/ 35854 w 91625"/>
                <a:gd name="connsiteY5" fmla="*/ 67381 h 69104"/>
                <a:gd name="connsiteX6" fmla="*/ 4292 w 91625"/>
                <a:gd name="connsiteY6" fmla="*/ 55311 h 69104"/>
                <a:gd name="connsiteX7" fmla="*/ 0 w 91625"/>
                <a:gd name="connsiteY7" fmla="*/ 47800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5" h="69104">
                  <a:moveTo>
                    <a:pt x="89" y="47800"/>
                  </a:moveTo>
                  <a:cubicBezTo>
                    <a:pt x="27986" y="36624"/>
                    <a:pt x="3845" y="26520"/>
                    <a:pt x="805" y="14002"/>
                  </a:cubicBezTo>
                  <a:cubicBezTo>
                    <a:pt x="-894" y="6849"/>
                    <a:pt x="10640" y="-3433"/>
                    <a:pt x="22263" y="1127"/>
                  </a:cubicBezTo>
                  <a:cubicBezTo>
                    <a:pt x="43007" y="9264"/>
                    <a:pt x="63482" y="18473"/>
                    <a:pt x="83689" y="27861"/>
                  </a:cubicBezTo>
                  <a:cubicBezTo>
                    <a:pt x="89859" y="30722"/>
                    <a:pt x="94150" y="37339"/>
                    <a:pt x="89948" y="43955"/>
                  </a:cubicBezTo>
                  <a:cubicBezTo>
                    <a:pt x="77609" y="63536"/>
                    <a:pt x="53289" y="57099"/>
                    <a:pt x="35854" y="67381"/>
                  </a:cubicBezTo>
                  <a:cubicBezTo>
                    <a:pt x="26555" y="72925"/>
                    <a:pt x="13233" y="64073"/>
                    <a:pt x="4292" y="55311"/>
                  </a:cubicBezTo>
                  <a:cubicBezTo>
                    <a:pt x="2861" y="53880"/>
                    <a:pt x="2146" y="51645"/>
                    <a:pt x="0" y="47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49" name="Freeform: Shape 48">
              <a:extLst>
                <a:ext uri="{FF2B5EF4-FFF2-40B4-BE49-F238E27FC236}">
                  <a16:creationId xmlns:a16="http://schemas.microsoft.com/office/drawing/2014/main" id="{3AF1A0A0-428D-8745-AB0F-3BAFB5586BD9}"/>
                </a:ext>
              </a:extLst>
            </p:cNvPr>
            <p:cNvSpPr/>
            <p:nvPr/>
          </p:nvSpPr>
          <p:spPr>
            <a:xfrm>
              <a:off x="5920541" y="2774101"/>
              <a:ext cx="147925" cy="77007"/>
            </a:xfrm>
            <a:custGeom>
              <a:avLst/>
              <a:gdLst>
                <a:gd name="connsiteX0" fmla="*/ 33850 w 101470"/>
                <a:gd name="connsiteY0" fmla="*/ 0 h 52823"/>
                <a:gd name="connsiteX1" fmla="*/ 94471 w 101470"/>
                <a:gd name="connsiteY1" fmla="*/ 28612 h 52823"/>
                <a:gd name="connsiteX2" fmla="*/ 99925 w 101470"/>
                <a:gd name="connsiteY2" fmla="*/ 45421 h 52823"/>
                <a:gd name="connsiteX3" fmla="*/ 79182 w 101470"/>
                <a:gd name="connsiteY3" fmla="*/ 50428 h 52823"/>
                <a:gd name="connsiteX4" fmla="*/ 42702 w 101470"/>
                <a:gd name="connsiteY4" fmla="*/ 44795 h 52823"/>
                <a:gd name="connsiteX5" fmla="*/ 14984 w 101470"/>
                <a:gd name="connsiteY5" fmla="*/ 45510 h 52823"/>
                <a:gd name="connsiteX6" fmla="*/ 2020 w 101470"/>
                <a:gd name="connsiteY6" fmla="*/ 11087 h 52823"/>
                <a:gd name="connsiteX7" fmla="*/ 33671 w 101470"/>
                <a:gd name="connsiteY7" fmla="*/ 0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70" h="52823">
                  <a:moveTo>
                    <a:pt x="33850" y="0"/>
                  </a:moveTo>
                  <a:cubicBezTo>
                    <a:pt x="61031" y="0"/>
                    <a:pt x="82311" y="5275"/>
                    <a:pt x="94471" y="28612"/>
                  </a:cubicBezTo>
                  <a:cubicBezTo>
                    <a:pt x="97243" y="33887"/>
                    <a:pt x="104664" y="38536"/>
                    <a:pt x="99925" y="45421"/>
                  </a:cubicBezTo>
                  <a:cubicBezTo>
                    <a:pt x="95008" y="52485"/>
                    <a:pt x="86782" y="51769"/>
                    <a:pt x="79182" y="50428"/>
                  </a:cubicBezTo>
                  <a:cubicBezTo>
                    <a:pt x="67201" y="48372"/>
                    <a:pt x="57634" y="37106"/>
                    <a:pt x="42702" y="44795"/>
                  </a:cubicBezTo>
                  <a:cubicBezTo>
                    <a:pt x="35281" y="48640"/>
                    <a:pt x="22316" y="60353"/>
                    <a:pt x="14984" y="45510"/>
                  </a:cubicBezTo>
                  <a:cubicBezTo>
                    <a:pt x="9620" y="34602"/>
                    <a:pt x="-5401" y="25303"/>
                    <a:pt x="2020" y="11087"/>
                  </a:cubicBezTo>
                  <a:cubicBezTo>
                    <a:pt x="9083" y="-2325"/>
                    <a:pt x="24283" y="447"/>
                    <a:pt x="3367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0" name="Freeform: Shape 49">
              <a:extLst>
                <a:ext uri="{FF2B5EF4-FFF2-40B4-BE49-F238E27FC236}">
                  <a16:creationId xmlns:a16="http://schemas.microsoft.com/office/drawing/2014/main" id="{06BB7620-C776-022B-EA03-990129E60FA8}"/>
                </a:ext>
              </a:extLst>
            </p:cNvPr>
            <p:cNvSpPr/>
            <p:nvPr/>
          </p:nvSpPr>
          <p:spPr>
            <a:xfrm>
              <a:off x="5139192" y="3058050"/>
              <a:ext cx="138137" cy="100368"/>
            </a:xfrm>
            <a:custGeom>
              <a:avLst/>
              <a:gdLst>
                <a:gd name="connsiteX0" fmla="*/ 0 w 94755"/>
                <a:gd name="connsiteY0" fmla="*/ 41540 h 68848"/>
                <a:gd name="connsiteX1" fmla="*/ 33261 w 94755"/>
                <a:gd name="connsiteY1" fmla="*/ 16147 h 68848"/>
                <a:gd name="connsiteX2" fmla="*/ 70635 w 94755"/>
                <a:gd name="connsiteY2" fmla="*/ 11944 h 68848"/>
                <a:gd name="connsiteX3" fmla="*/ 92183 w 94755"/>
                <a:gd name="connsiteY3" fmla="*/ 47709 h 68848"/>
                <a:gd name="connsiteX4" fmla="*/ 75732 w 94755"/>
                <a:gd name="connsiteY4" fmla="*/ 68095 h 68848"/>
                <a:gd name="connsiteX5" fmla="*/ 0 w 94755"/>
                <a:gd name="connsiteY5" fmla="*/ 41540 h 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55" h="68848">
                  <a:moveTo>
                    <a:pt x="0" y="41540"/>
                  </a:moveTo>
                  <a:cubicBezTo>
                    <a:pt x="14485" y="34029"/>
                    <a:pt x="28612" y="32151"/>
                    <a:pt x="33261" y="16147"/>
                  </a:cubicBezTo>
                  <a:cubicBezTo>
                    <a:pt x="41129" y="-11034"/>
                    <a:pt x="59459" y="2199"/>
                    <a:pt x="70635" y="11944"/>
                  </a:cubicBezTo>
                  <a:cubicBezTo>
                    <a:pt x="80649" y="20707"/>
                    <a:pt x="86550" y="35013"/>
                    <a:pt x="92183" y="47709"/>
                  </a:cubicBezTo>
                  <a:cubicBezTo>
                    <a:pt x="99068" y="63177"/>
                    <a:pt x="91647" y="71493"/>
                    <a:pt x="75732" y="68095"/>
                  </a:cubicBezTo>
                  <a:cubicBezTo>
                    <a:pt x="50965" y="62820"/>
                    <a:pt x="25661" y="58349"/>
                    <a:pt x="0" y="4154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1" name="Freeform: Shape 50">
              <a:extLst>
                <a:ext uri="{FF2B5EF4-FFF2-40B4-BE49-F238E27FC236}">
                  <a16:creationId xmlns:a16="http://schemas.microsoft.com/office/drawing/2014/main" id="{98F20DB1-9E4F-7E86-6426-7BF5798C5B07}"/>
                </a:ext>
              </a:extLst>
            </p:cNvPr>
            <p:cNvSpPr/>
            <p:nvPr/>
          </p:nvSpPr>
          <p:spPr>
            <a:xfrm>
              <a:off x="4800208" y="2304399"/>
              <a:ext cx="121977" cy="61882"/>
            </a:xfrm>
            <a:custGeom>
              <a:avLst/>
              <a:gdLst>
                <a:gd name="connsiteX0" fmla="*/ 33675 w 83671"/>
                <a:gd name="connsiteY0" fmla="*/ 41889 h 42449"/>
                <a:gd name="connsiteX1" fmla="*/ 324 w 83671"/>
                <a:gd name="connsiteY1" fmla="*/ 32144 h 42449"/>
                <a:gd name="connsiteX2" fmla="*/ 25449 w 83671"/>
                <a:gd name="connsiteY2" fmla="*/ 12384 h 42449"/>
                <a:gd name="connsiteX3" fmla="*/ 56922 w 83671"/>
                <a:gd name="connsiteY3" fmla="*/ 4337 h 42449"/>
                <a:gd name="connsiteX4" fmla="*/ 83477 w 83671"/>
                <a:gd name="connsiteY4" fmla="*/ 8628 h 42449"/>
                <a:gd name="connsiteX5" fmla="*/ 63270 w 83671"/>
                <a:gd name="connsiteY5" fmla="*/ 37866 h 42449"/>
                <a:gd name="connsiteX6" fmla="*/ 33675 w 83671"/>
                <a:gd name="connsiteY6" fmla="*/ 41800 h 4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71" h="42449">
                  <a:moveTo>
                    <a:pt x="33675" y="41889"/>
                  </a:moveTo>
                  <a:cubicBezTo>
                    <a:pt x="19816" y="40459"/>
                    <a:pt x="3275" y="47969"/>
                    <a:pt x="324" y="32144"/>
                  </a:cubicBezTo>
                  <a:cubicBezTo>
                    <a:pt x="-2626" y="16586"/>
                    <a:pt x="15256" y="16586"/>
                    <a:pt x="25449" y="12384"/>
                  </a:cubicBezTo>
                  <a:cubicBezTo>
                    <a:pt x="35374" y="8360"/>
                    <a:pt x="46193" y="5320"/>
                    <a:pt x="56922" y="4337"/>
                  </a:cubicBezTo>
                  <a:cubicBezTo>
                    <a:pt x="66131" y="3532"/>
                    <a:pt x="81331" y="-7287"/>
                    <a:pt x="83477" y="8628"/>
                  </a:cubicBezTo>
                  <a:cubicBezTo>
                    <a:pt x="84908" y="18642"/>
                    <a:pt x="78470" y="34468"/>
                    <a:pt x="63270" y="37866"/>
                  </a:cubicBezTo>
                  <a:cubicBezTo>
                    <a:pt x="52720" y="40280"/>
                    <a:pt x="41811" y="40817"/>
                    <a:pt x="33675" y="4180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2" name="Freeform: Shape 51">
              <a:extLst>
                <a:ext uri="{FF2B5EF4-FFF2-40B4-BE49-F238E27FC236}">
                  <a16:creationId xmlns:a16="http://schemas.microsoft.com/office/drawing/2014/main" id="{D30EFE0B-2A75-571F-7C54-F0D4C1CD272C}"/>
                </a:ext>
              </a:extLst>
            </p:cNvPr>
            <p:cNvSpPr/>
            <p:nvPr/>
          </p:nvSpPr>
          <p:spPr>
            <a:xfrm>
              <a:off x="5961169" y="3212014"/>
              <a:ext cx="83833" cy="79000"/>
            </a:xfrm>
            <a:custGeom>
              <a:avLst/>
              <a:gdLst>
                <a:gd name="connsiteX0" fmla="*/ 1063 w 57506"/>
                <a:gd name="connsiteY0" fmla="*/ 46440 h 54191"/>
                <a:gd name="connsiteX1" fmla="*/ 22522 w 57506"/>
                <a:gd name="connsiteY1" fmla="*/ 4596 h 54191"/>
                <a:gd name="connsiteX2" fmla="*/ 53727 w 57506"/>
                <a:gd name="connsiteY2" fmla="*/ 9245 h 54191"/>
                <a:gd name="connsiteX3" fmla="*/ 46306 w 57506"/>
                <a:gd name="connsiteY3" fmla="*/ 40271 h 54191"/>
                <a:gd name="connsiteX4" fmla="*/ 974 w 57506"/>
                <a:gd name="connsiteY4" fmla="*/ 46351 h 54191"/>
                <a:gd name="connsiteX5" fmla="*/ 974 w 57506"/>
                <a:gd name="connsiteY5" fmla="*/ 46530 h 5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54191">
                  <a:moveTo>
                    <a:pt x="1063" y="46440"/>
                  </a:moveTo>
                  <a:cubicBezTo>
                    <a:pt x="-3050" y="26680"/>
                    <a:pt x="4908" y="13000"/>
                    <a:pt x="22522" y="4596"/>
                  </a:cubicBezTo>
                  <a:cubicBezTo>
                    <a:pt x="33698" y="-769"/>
                    <a:pt x="45501" y="-3809"/>
                    <a:pt x="53727" y="9245"/>
                  </a:cubicBezTo>
                  <a:cubicBezTo>
                    <a:pt x="61416" y="21494"/>
                    <a:pt x="56588" y="32582"/>
                    <a:pt x="46306" y="40271"/>
                  </a:cubicBezTo>
                  <a:cubicBezTo>
                    <a:pt x="32805" y="50374"/>
                    <a:pt x="18499" y="62445"/>
                    <a:pt x="974" y="46351"/>
                  </a:cubicBezTo>
                  <a:lnTo>
                    <a:pt x="974" y="46530"/>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3" name="Freeform: Shape 52">
              <a:extLst>
                <a:ext uri="{FF2B5EF4-FFF2-40B4-BE49-F238E27FC236}">
                  <a16:creationId xmlns:a16="http://schemas.microsoft.com/office/drawing/2014/main" id="{1C99BA20-B1CE-5473-EABC-8A4133500114}"/>
                </a:ext>
              </a:extLst>
            </p:cNvPr>
            <p:cNvSpPr/>
            <p:nvPr/>
          </p:nvSpPr>
          <p:spPr>
            <a:xfrm>
              <a:off x="5374227" y="2586925"/>
              <a:ext cx="94604" cy="66938"/>
            </a:xfrm>
            <a:custGeom>
              <a:avLst/>
              <a:gdLst>
                <a:gd name="connsiteX0" fmla="*/ 28240 w 64894"/>
                <a:gd name="connsiteY0" fmla="*/ 89 h 45916"/>
                <a:gd name="connsiteX1" fmla="*/ 64451 w 64894"/>
                <a:gd name="connsiteY1" fmla="*/ 31562 h 45916"/>
                <a:gd name="connsiteX2" fmla="*/ 53364 w 64894"/>
                <a:gd name="connsiteY2" fmla="*/ 45242 h 45916"/>
                <a:gd name="connsiteX3" fmla="*/ 790 w 64894"/>
                <a:gd name="connsiteY3" fmla="*/ 22800 h 45916"/>
                <a:gd name="connsiteX4" fmla="*/ 28240 w 64894"/>
                <a:gd name="connsiteY4" fmla="*/ 0 h 4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94" h="45916">
                  <a:moveTo>
                    <a:pt x="28240" y="89"/>
                  </a:moveTo>
                  <a:cubicBezTo>
                    <a:pt x="52291" y="-805"/>
                    <a:pt x="61322" y="12339"/>
                    <a:pt x="64451" y="31562"/>
                  </a:cubicBezTo>
                  <a:cubicBezTo>
                    <a:pt x="65792" y="40056"/>
                    <a:pt x="64630" y="48372"/>
                    <a:pt x="53364" y="45242"/>
                  </a:cubicBezTo>
                  <a:cubicBezTo>
                    <a:pt x="34588" y="40056"/>
                    <a:pt x="8122" y="43186"/>
                    <a:pt x="790" y="22800"/>
                  </a:cubicBezTo>
                  <a:cubicBezTo>
                    <a:pt x="-4217" y="9031"/>
                    <a:pt x="15722" y="1967"/>
                    <a:pt x="28240"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4" name="Freeform: Shape 53">
              <a:extLst>
                <a:ext uri="{FF2B5EF4-FFF2-40B4-BE49-F238E27FC236}">
                  <a16:creationId xmlns:a16="http://schemas.microsoft.com/office/drawing/2014/main" id="{5CD1B0D3-E798-46AF-31D8-3BD5BBDBA9F7}"/>
                </a:ext>
              </a:extLst>
            </p:cNvPr>
            <p:cNvSpPr/>
            <p:nvPr/>
          </p:nvSpPr>
          <p:spPr>
            <a:xfrm>
              <a:off x="4950317" y="2703991"/>
              <a:ext cx="86315" cy="53276"/>
            </a:xfrm>
            <a:custGeom>
              <a:avLst/>
              <a:gdLst>
                <a:gd name="connsiteX0" fmla="*/ 17883 w 59208"/>
                <a:gd name="connsiteY0" fmla="*/ 1419 h 36544"/>
                <a:gd name="connsiteX1" fmla="*/ 39968 w 59208"/>
                <a:gd name="connsiteY1" fmla="*/ 4281 h 36544"/>
                <a:gd name="connsiteX2" fmla="*/ 59102 w 59208"/>
                <a:gd name="connsiteY2" fmla="*/ 17424 h 36544"/>
                <a:gd name="connsiteX3" fmla="*/ 43008 w 59208"/>
                <a:gd name="connsiteY3" fmla="*/ 35396 h 36544"/>
                <a:gd name="connsiteX4" fmla="*/ 1 w 59208"/>
                <a:gd name="connsiteY4" fmla="*/ 11434 h 36544"/>
                <a:gd name="connsiteX5" fmla="*/ 17883 w 59208"/>
                <a:gd name="connsiteY5" fmla="*/ 1509 h 3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8" h="36544">
                  <a:moveTo>
                    <a:pt x="17883" y="1419"/>
                  </a:moveTo>
                  <a:cubicBezTo>
                    <a:pt x="25215" y="2492"/>
                    <a:pt x="32636" y="4638"/>
                    <a:pt x="39968" y="4281"/>
                  </a:cubicBezTo>
                  <a:cubicBezTo>
                    <a:pt x="50339" y="3834"/>
                    <a:pt x="57939" y="8483"/>
                    <a:pt x="59102" y="17424"/>
                  </a:cubicBezTo>
                  <a:cubicBezTo>
                    <a:pt x="60353" y="27170"/>
                    <a:pt x="50339" y="31551"/>
                    <a:pt x="43008" y="35396"/>
                  </a:cubicBezTo>
                  <a:cubicBezTo>
                    <a:pt x="31652" y="41208"/>
                    <a:pt x="90" y="23683"/>
                    <a:pt x="1" y="11434"/>
                  </a:cubicBezTo>
                  <a:cubicBezTo>
                    <a:pt x="-89" y="-995"/>
                    <a:pt x="8584" y="-1442"/>
                    <a:pt x="17883" y="15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5" name="Freeform: Shape 54">
              <a:extLst>
                <a:ext uri="{FF2B5EF4-FFF2-40B4-BE49-F238E27FC236}">
                  <a16:creationId xmlns:a16="http://schemas.microsoft.com/office/drawing/2014/main" id="{46130DDD-4D9D-C93E-16E4-8CFD1FF8E9E2}"/>
                </a:ext>
              </a:extLst>
            </p:cNvPr>
            <p:cNvSpPr/>
            <p:nvPr/>
          </p:nvSpPr>
          <p:spPr>
            <a:xfrm>
              <a:off x="4813325" y="2258186"/>
              <a:ext cx="137123" cy="35591"/>
            </a:xfrm>
            <a:custGeom>
              <a:avLst/>
              <a:gdLst>
                <a:gd name="connsiteX0" fmla="*/ 0 w 94060"/>
                <a:gd name="connsiteY0" fmla="*/ 24413 h 24413"/>
                <a:gd name="connsiteX1" fmla="*/ 94061 w 94060"/>
                <a:gd name="connsiteY1" fmla="*/ 7604 h 24413"/>
                <a:gd name="connsiteX2" fmla="*/ 0 w 94060"/>
                <a:gd name="connsiteY2" fmla="*/ 24413 h 24413"/>
              </a:gdLst>
              <a:ahLst/>
              <a:cxnLst>
                <a:cxn ang="0">
                  <a:pos x="connsiteX0" y="connsiteY0"/>
                </a:cxn>
                <a:cxn ang="0">
                  <a:pos x="connsiteX1" y="connsiteY1"/>
                </a:cxn>
                <a:cxn ang="0">
                  <a:pos x="connsiteX2" y="connsiteY2"/>
                </a:cxn>
              </a:cxnLst>
              <a:rect l="l" t="t" r="r" b="b"/>
              <a:pathLst>
                <a:path w="94060" h="24413">
                  <a:moveTo>
                    <a:pt x="0" y="24413"/>
                  </a:moveTo>
                  <a:cubicBezTo>
                    <a:pt x="25482" y="2418"/>
                    <a:pt x="53468" y="-8311"/>
                    <a:pt x="94061" y="7604"/>
                  </a:cubicBezTo>
                  <a:cubicBezTo>
                    <a:pt x="60800" y="26649"/>
                    <a:pt x="29595" y="21642"/>
                    <a:pt x="0" y="244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6" name="Freeform: Shape 55">
              <a:extLst>
                <a:ext uri="{FF2B5EF4-FFF2-40B4-BE49-F238E27FC236}">
                  <a16:creationId xmlns:a16="http://schemas.microsoft.com/office/drawing/2014/main" id="{686898C9-7D09-86F0-FFFB-F16AA5550B0C}"/>
                </a:ext>
              </a:extLst>
            </p:cNvPr>
            <p:cNvSpPr/>
            <p:nvPr/>
          </p:nvSpPr>
          <p:spPr>
            <a:xfrm>
              <a:off x="5637871" y="3614066"/>
              <a:ext cx="73675" cy="57731"/>
            </a:xfrm>
            <a:custGeom>
              <a:avLst/>
              <a:gdLst>
                <a:gd name="connsiteX0" fmla="*/ 14233 w 50538"/>
                <a:gd name="connsiteY0" fmla="*/ 39602 h 39601"/>
                <a:gd name="connsiteX1" fmla="*/ 285 w 50538"/>
                <a:gd name="connsiteY1" fmla="*/ 27084 h 39601"/>
                <a:gd name="connsiteX2" fmla="*/ 39984 w 50538"/>
                <a:gd name="connsiteY2" fmla="*/ 261 h 39601"/>
                <a:gd name="connsiteX3" fmla="*/ 50087 w 50538"/>
                <a:gd name="connsiteY3" fmla="*/ 8397 h 39601"/>
                <a:gd name="connsiteX4" fmla="*/ 14233 w 50538"/>
                <a:gd name="connsiteY4" fmla="*/ 39512 h 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8" h="39601">
                  <a:moveTo>
                    <a:pt x="14233" y="39602"/>
                  </a:moveTo>
                  <a:cubicBezTo>
                    <a:pt x="3951" y="38887"/>
                    <a:pt x="-1324" y="34416"/>
                    <a:pt x="285" y="27084"/>
                  </a:cubicBezTo>
                  <a:cubicBezTo>
                    <a:pt x="4935" y="6341"/>
                    <a:pt x="23175" y="3748"/>
                    <a:pt x="39984" y="261"/>
                  </a:cubicBezTo>
                  <a:cubicBezTo>
                    <a:pt x="45259" y="-812"/>
                    <a:pt x="52412" y="1334"/>
                    <a:pt x="50087" y="8397"/>
                  </a:cubicBezTo>
                  <a:cubicBezTo>
                    <a:pt x="44007" y="26458"/>
                    <a:pt x="23801" y="28068"/>
                    <a:pt x="14233" y="395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7" name="Freeform: Shape 56">
              <a:extLst>
                <a:ext uri="{FF2B5EF4-FFF2-40B4-BE49-F238E27FC236}">
                  <a16:creationId xmlns:a16="http://schemas.microsoft.com/office/drawing/2014/main" id="{9EB437EC-EDBC-14B4-2014-B0031DA3E72C}"/>
                </a:ext>
              </a:extLst>
            </p:cNvPr>
            <p:cNvSpPr/>
            <p:nvPr/>
          </p:nvSpPr>
          <p:spPr>
            <a:xfrm>
              <a:off x="5777549" y="3650929"/>
              <a:ext cx="43297" cy="58151"/>
            </a:xfrm>
            <a:custGeom>
              <a:avLst/>
              <a:gdLst>
                <a:gd name="connsiteX0" fmla="*/ 143 w 29700"/>
                <a:gd name="connsiteY0" fmla="*/ 23793 h 39889"/>
                <a:gd name="connsiteX1" fmla="*/ 13466 w 29700"/>
                <a:gd name="connsiteY1" fmla="*/ 9 h 39889"/>
                <a:gd name="connsiteX2" fmla="*/ 29649 w 29700"/>
                <a:gd name="connsiteY2" fmla="*/ 16014 h 39889"/>
                <a:gd name="connsiteX3" fmla="*/ 10694 w 29700"/>
                <a:gd name="connsiteY3" fmla="*/ 39619 h 39889"/>
                <a:gd name="connsiteX4" fmla="*/ 143 w 29700"/>
                <a:gd name="connsiteY4" fmla="*/ 23793 h 39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0" h="39889">
                  <a:moveTo>
                    <a:pt x="143" y="23793"/>
                  </a:moveTo>
                  <a:cubicBezTo>
                    <a:pt x="-304" y="11096"/>
                    <a:pt x="-572" y="456"/>
                    <a:pt x="13466" y="9"/>
                  </a:cubicBezTo>
                  <a:cubicBezTo>
                    <a:pt x="23569" y="-259"/>
                    <a:pt x="30364" y="5285"/>
                    <a:pt x="29649" y="16014"/>
                  </a:cubicBezTo>
                  <a:cubicBezTo>
                    <a:pt x="28934" y="27995"/>
                    <a:pt x="22407" y="37830"/>
                    <a:pt x="10694" y="39619"/>
                  </a:cubicBezTo>
                  <a:cubicBezTo>
                    <a:pt x="-4685" y="42033"/>
                    <a:pt x="3541" y="27637"/>
                    <a:pt x="143" y="237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8" name="Freeform: Shape 57">
              <a:extLst>
                <a:ext uri="{FF2B5EF4-FFF2-40B4-BE49-F238E27FC236}">
                  <a16:creationId xmlns:a16="http://schemas.microsoft.com/office/drawing/2014/main" id="{F8F1D6AF-B071-BC5D-3955-D15E3E63E96F}"/>
                </a:ext>
              </a:extLst>
            </p:cNvPr>
            <p:cNvSpPr/>
            <p:nvPr/>
          </p:nvSpPr>
          <p:spPr>
            <a:xfrm>
              <a:off x="5071329" y="2353475"/>
              <a:ext cx="51296" cy="53176"/>
            </a:xfrm>
            <a:custGeom>
              <a:avLst/>
              <a:gdLst>
                <a:gd name="connsiteX0" fmla="*/ 11144 w 35187"/>
                <a:gd name="connsiteY0" fmla="*/ 0 h 36476"/>
                <a:gd name="connsiteX1" fmla="*/ 35106 w 35187"/>
                <a:gd name="connsiteY1" fmla="*/ 27718 h 36476"/>
                <a:gd name="connsiteX2" fmla="*/ 23840 w 35187"/>
                <a:gd name="connsiteY2" fmla="*/ 36391 h 36476"/>
                <a:gd name="connsiteX3" fmla="*/ 772 w 35187"/>
                <a:gd name="connsiteY3" fmla="*/ 9031 h 36476"/>
                <a:gd name="connsiteX4" fmla="*/ 11144 w 35187"/>
                <a:gd name="connsiteY4" fmla="*/ 89 h 36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7" h="36476">
                  <a:moveTo>
                    <a:pt x="11144" y="0"/>
                  </a:moveTo>
                  <a:cubicBezTo>
                    <a:pt x="19996" y="7242"/>
                    <a:pt x="32334" y="13769"/>
                    <a:pt x="35106" y="27718"/>
                  </a:cubicBezTo>
                  <a:cubicBezTo>
                    <a:pt x="36000" y="32188"/>
                    <a:pt x="29384" y="37195"/>
                    <a:pt x="23840" y="36391"/>
                  </a:cubicBezTo>
                  <a:cubicBezTo>
                    <a:pt x="8551" y="34155"/>
                    <a:pt x="5064" y="21012"/>
                    <a:pt x="772" y="9031"/>
                  </a:cubicBezTo>
                  <a:cubicBezTo>
                    <a:pt x="-2089" y="1073"/>
                    <a:pt x="3365" y="536"/>
                    <a:pt x="11144"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59" name="Freeform: Shape 58">
              <a:extLst>
                <a:ext uri="{FF2B5EF4-FFF2-40B4-BE49-F238E27FC236}">
                  <a16:creationId xmlns:a16="http://schemas.microsoft.com/office/drawing/2014/main" id="{52DE4E51-5713-8E12-5B2B-6364F6731206}"/>
                </a:ext>
              </a:extLst>
            </p:cNvPr>
            <p:cNvSpPr/>
            <p:nvPr/>
          </p:nvSpPr>
          <p:spPr>
            <a:xfrm>
              <a:off x="5739566" y="2058762"/>
              <a:ext cx="69605" cy="40408"/>
            </a:xfrm>
            <a:custGeom>
              <a:avLst/>
              <a:gdLst>
                <a:gd name="connsiteX0" fmla="*/ 41398 w 47745"/>
                <a:gd name="connsiteY0" fmla="*/ 0 h 27717"/>
                <a:gd name="connsiteX1" fmla="*/ 47746 w 47745"/>
                <a:gd name="connsiteY1" fmla="*/ 27718 h 27717"/>
                <a:gd name="connsiteX2" fmla="*/ 0 w 47745"/>
                <a:gd name="connsiteY2" fmla="*/ 23605 h 27717"/>
                <a:gd name="connsiteX3" fmla="*/ 41398 w 47745"/>
                <a:gd name="connsiteY3" fmla="*/ 89 h 27717"/>
              </a:gdLst>
              <a:ahLst/>
              <a:cxnLst>
                <a:cxn ang="0">
                  <a:pos x="connsiteX0" y="connsiteY0"/>
                </a:cxn>
                <a:cxn ang="0">
                  <a:pos x="connsiteX1" y="connsiteY1"/>
                </a:cxn>
                <a:cxn ang="0">
                  <a:pos x="connsiteX2" y="connsiteY2"/>
                </a:cxn>
                <a:cxn ang="0">
                  <a:pos x="connsiteX3" y="connsiteY3"/>
                </a:cxn>
              </a:cxnLst>
              <a:rect l="l" t="t" r="r" b="b"/>
              <a:pathLst>
                <a:path w="47745" h="27717">
                  <a:moveTo>
                    <a:pt x="41398" y="0"/>
                  </a:moveTo>
                  <a:lnTo>
                    <a:pt x="47746" y="27718"/>
                  </a:lnTo>
                  <a:cubicBezTo>
                    <a:pt x="32635" y="23694"/>
                    <a:pt x="18687" y="14306"/>
                    <a:pt x="0" y="23605"/>
                  </a:cubicBezTo>
                  <a:cubicBezTo>
                    <a:pt x="7332" y="-5991"/>
                    <a:pt x="32367" y="15200"/>
                    <a:pt x="41398"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0" name="Freeform: Shape 59">
              <a:extLst>
                <a:ext uri="{FF2B5EF4-FFF2-40B4-BE49-F238E27FC236}">
                  <a16:creationId xmlns:a16="http://schemas.microsoft.com/office/drawing/2014/main" id="{E53D574D-7C2E-48F3-D483-A17890E8D091}"/>
                </a:ext>
              </a:extLst>
            </p:cNvPr>
            <p:cNvSpPr/>
            <p:nvPr/>
          </p:nvSpPr>
          <p:spPr>
            <a:xfrm>
              <a:off x="5055770" y="2559398"/>
              <a:ext cx="40796" cy="43592"/>
            </a:xfrm>
            <a:custGeom>
              <a:avLst/>
              <a:gdLst>
                <a:gd name="connsiteX0" fmla="*/ 10908 w 27984"/>
                <a:gd name="connsiteY0" fmla="*/ 29433 h 29902"/>
                <a:gd name="connsiteX1" fmla="*/ 0 w 27984"/>
                <a:gd name="connsiteY1" fmla="*/ 20938 h 29902"/>
                <a:gd name="connsiteX2" fmla="*/ 17167 w 27984"/>
                <a:gd name="connsiteY2" fmla="*/ 374 h 29902"/>
                <a:gd name="connsiteX3" fmla="*/ 27807 w 27984"/>
                <a:gd name="connsiteY3" fmla="*/ 8421 h 29902"/>
                <a:gd name="connsiteX4" fmla="*/ 10908 w 27984"/>
                <a:gd name="connsiteY4" fmla="*/ 29522 h 2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 h="29902">
                  <a:moveTo>
                    <a:pt x="10908" y="29433"/>
                  </a:moveTo>
                  <a:cubicBezTo>
                    <a:pt x="2414" y="31400"/>
                    <a:pt x="0" y="26929"/>
                    <a:pt x="0" y="20938"/>
                  </a:cubicBezTo>
                  <a:cubicBezTo>
                    <a:pt x="89" y="9673"/>
                    <a:pt x="6616" y="2967"/>
                    <a:pt x="17167" y="374"/>
                  </a:cubicBezTo>
                  <a:cubicBezTo>
                    <a:pt x="23515" y="-1236"/>
                    <a:pt x="29059" y="2520"/>
                    <a:pt x="27807" y="8421"/>
                  </a:cubicBezTo>
                  <a:cubicBezTo>
                    <a:pt x="25840" y="18077"/>
                    <a:pt x="19581" y="25856"/>
                    <a:pt x="10908" y="295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1" name="Freeform: Shape 60">
              <a:extLst>
                <a:ext uri="{FF2B5EF4-FFF2-40B4-BE49-F238E27FC236}">
                  <a16:creationId xmlns:a16="http://schemas.microsoft.com/office/drawing/2014/main" id="{BBFAB91C-66E4-4527-CC2F-3BD83E8B265C}"/>
                </a:ext>
              </a:extLst>
            </p:cNvPr>
            <p:cNvSpPr/>
            <p:nvPr/>
          </p:nvSpPr>
          <p:spPr>
            <a:xfrm>
              <a:off x="13610533" y="7221635"/>
              <a:ext cx="1788051" cy="1396684"/>
            </a:xfrm>
            <a:custGeom>
              <a:avLst/>
              <a:gdLst>
                <a:gd name="connsiteX0" fmla="*/ 888214 w 1226520"/>
                <a:gd name="connsiteY0" fmla="*/ 945897 h 958060"/>
                <a:gd name="connsiteX1" fmla="*/ 885442 w 1226520"/>
                <a:gd name="connsiteY1" fmla="*/ 945450 h 958060"/>
                <a:gd name="connsiteX2" fmla="*/ 883118 w 1226520"/>
                <a:gd name="connsiteY2" fmla="*/ 947149 h 958060"/>
                <a:gd name="connsiteX3" fmla="*/ 824375 w 1226520"/>
                <a:gd name="connsiteY3" fmla="*/ 933916 h 958060"/>
                <a:gd name="connsiteX4" fmla="*/ 766794 w 1226520"/>
                <a:gd name="connsiteY4" fmla="*/ 901102 h 958060"/>
                <a:gd name="connsiteX5" fmla="*/ 761340 w 1226520"/>
                <a:gd name="connsiteY5" fmla="*/ 884561 h 958060"/>
                <a:gd name="connsiteX6" fmla="*/ 758031 w 1226520"/>
                <a:gd name="connsiteY6" fmla="*/ 841822 h 958060"/>
                <a:gd name="connsiteX7" fmla="*/ 749001 w 1226520"/>
                <a:gd name="connsiteY7" fmla="*/ 826533 h 958060"/>
                <a:gd name="connsiteX8" fmla="*/ 731119 w 1226520"/>
                <a:gd name="connsiteY8" fmla="*/ 802034 h 958060"/>
                <a:gd name="connsiteX9" fmla="*/ 720746 w 1226520"/>
                <a:gd name="connsiteY9" fmla="*/ 802749 h 958060"/>
                <a:gd name="connsiteX10" fmla="*/ 719137 w 1226520"/>
                <a:gd name="connsiteY10" fmla="*/ 807130 h 958060"/>
                <a:gd name="connsiteX11" fmla="*/ 691330 w 1226520"/>
                <a:gd name="connsiteY11" fmla="*/ 802839 h 958060"/>
                <a:gd name="connsiteX12" fmla="*/ 720210 w 1226520"/>
                <a:gd name="connsiteY12" fmla="*/ 744810 h 958060"/>
                <a:gd name="connsiteX13" fmla="*/ 725664 w 1226520"/>
                <a:gd name="connsiteY13" fmla="*/ 732114 h 958060"/>
                <a:gd name="connsiteX14" fmla="*/ 712074 w 1226520"/>
                <a:gd name="connsiteY14" fmla="*/ 736674 h 958060"/>
                <a:gd name="connsiteX15" fmla="*/ 672286 w 1226520"/>
                <a:gd name="connsiteY15" fmla="*/ 774495 h 958060"/>
                <a:gd name="connsiteX16" fmla="*/ 666563 w 1226520"/>
                <a:gd name="connsiteY16" fmla="*/ 796312 h 958060"/>
                <a:gd name="connsiteX17" fmla="*/ 647876 w 1226520"/>
                <a:gd name="connsiteY17" fmla="*/ 803375 h 958060"/>
                <a:gd name="connsiteX18" fmla="*/ 635626 w 1226520"/>
                <a:gd name="connsiteY18" fmla="*/ 790768 h 958060"/>
                <a:gd name="connsiteX19" fmla="*/ 612022 w 1226520"/>
                <a:gd name="connsiteY19" fmla="*/ 745347 h 958060"/>
                <a:gd name="connsiteX20" fmla="*/ 606389 w 1226520"/>
                <a:gd name="connsiteY20" fmla="*/ 711013 h 958060"/>
                <a:gd name="connsiteX21" fmla="*/ 582248 w 1226520"/>
                <a:gd name="connsiteY21" fmla="*/ 698674 h 958060"/>
                <a:gd name="connsiteX22" fmla="*/ 529943 w 1226520"/>
                <a:gd name="connsiteY22" fmla="*/ 678914 h 958060"/>
                <a:gd name="connsiteX23" fmla="*/ 482375 w 1226520"/>
                <a:gd name="connsiteY23" fmla="*/ 684189 h 958060"/>
                <a:gd name="connsiteX24" fmla="*/ 431768 w 1226520"/>
                <a:gd name="connsiteY24" fmla="*/ 705469 h 958060"/>
                <a:gd name="connsiteX25" fmla="*/ 377764 w 1226520"/>
                <a:gd name="connsiteY25" fmla="*/ 710298 h 958060"/>
                <a:gd name="connsiteX26" fmla="*/ 312672 w 1226520"/>
                <a:gd name="connsiteY26" fmla="*/ 736674 h 958060"/>
                <a:gd name="connsiteX27" fmla="*/ 300870 w 1226520"/>
                <a:gd name="connsiteY27" fmla="*/ 756702 h 958060"/>
                <a:gd name="connsiteX28" fmla="*/ 264837 w 1226520"/>
                <a:gd name="connsiteY28" fmla="*/ 768952 h 958060"/>
                <a:gd name="connsiteX29" fmla="*/ 124371 w 1226520"/>
                <a:gd name="connsiteY29" fmla="*/ 803286 h 958060"/>
                <a:gd name="connsiteX30" fmla="*/ 85298 w 1226520"/>
                <a:gd name="connsiteY30" fmla="*/ 803375 h 958060"/>
                <a:gd name="connsiteX31" fmla="*/ 25572 w 1226520"/>
                <a:gd name="connsiteY31" fmla="*/ 782900 h 958060"/>
                <a:gd name="connsiteX32" fmla="*/ 43901 w 1226520"/>
                <a:gd name="connsiteY32" fmla="*/ 756792 h 958060"/>
                <a:gd name="connsiteX33" fmla="*/ 52485 w 1226520"/>
                <a:gd name="connsiteY33" fmla="*/ 749192 h 958060"/>
                <a:gd name="connsiteX34" fmla="*/ 59011 w 1226520"/>
                <a:gd name="connsiteY34" fmla="*/ 686335 h 958060"/>
                <a:gd name="connsiteX35" fmla="*/ 47835 w 1226520"/>
                <a:gd name="connsiteY35" fmla="*/ 643239 h 958060"/>
                <a:gd name="connsiteX36" fmla="*/ 36838 w 1226520"/>
                <a:gd name="connsiteY36" fmla="*/ 600321 h 958060"/>
                <a:gd name="connsiteX37" fmla="*/ 0 w 1226520"/>
                <a:gd name="connsiteY37" fmla="*/ 507870 h 958060"/>
                <a:gd name="connsiteX38" fmla="*/ 13233 w 1226520"/>
                <a:gd name="connsiteY38" fmla="*/ 471300 h 958060"/>
                <a:gd name="connsiteX39" fmla="*/ 7510 w 1226520"/>
                <a:gd name="connsiteY39" fmla="*/ 457263 h 958060"/>
                <a:gd name="connsiteX40" fmla="*/ 26377 w 1226520"/>
                <a:gd name="connsiteY40" fmla="*/ 375451 h 958060"/>
                <a:gd name="connsiteX41" fmla="*/ 44974 w 1226520"/>
                <a:gd name="connsiteY41" fmla="*/ 370802 h 958060"/>
                <a:gd name="connsiteX42" fmla="*/ 205736 w 1226520"/>
                <a:gd name="connsiteY42" fmla="*/ 306426 h 958060"/>
                <a:gd name="connsiteX43" fmla="*/ 257774 w 1226520"/>
                <a:gd name="connsiteY43" fmla="*/ 279334 h 958060"/>
                <a:gd name="connsiteX44" fmla="*/ 273331 w 1226520"/>
                <a:gd name="connsiteY44" fmla="*/ 231052 h 958060"/>
                <a:gd name="connsiteX45" fmla="*/ 294522 w 1226520"/>
                <a:gd name="connsiteY45" fmla="*/ 194035 h 958060"/>
                <a:gd name="connsiteX46" fmla="*/ 325190 w 1226520"/>
                <a:gd name="connsiteY46" fmla="*/ 215852 h 958060"/>
                <a:gd name="connsiteX47" fmla="*/ 340390 w 1226520"/>
                <a:gd name="connsiteY47" fmla="*/ 187240 h 958060"/>
                <a:gd name="connsiteX48" fmla="*/ 362743 w 1226520"/>
                <a:gd name="connsiteY48" fmla="*/ 184915 h 958060"/>
                <a:gd name="connsiteX49" fmla="*/ 377138 w 1226520"/>
                <a:gd name="connsiteY49" fmla="*/ 137706 h 958060"/>
                <a:gd name="connsiteX50" fmla="*/ 393947 w 1226520"/>
                <a:gd name="connsiteY50" fmla="*/ 131805 h 958060"/>
                <a:gd name="connsiteX51" fmla="*/ 458145 w 1226520"/>
                <a:gd name="connsiteY51" fmla="*/ 131626 h 958060"/>
                <a:gd name="connsiteX52" fmla="*/ 457877 w 1226520"/>
                <a:gd name="connsiteY52" fmla="*/ 161311 h 958060"/>
                <a:gd name="connsiteX53" fmla="*/ 510272 w 1226520"/>
                <a:gd name="connsiteY53" fmla="*/ 145932 h 958060"/>
                <a:gd name="connsiteX54" fmla="*/ 517067 w 1226520"/>
                <a:gd name="connsiteY54" fmla="*/ 95057 h 958060"/>
                <a:gd name="connsiteX55" fmla="*/ 543086 w 1226520"/>
                <a:gd name="connsiteY55" fmla="*/ 49189 h 958060"/>
                <a:gd name="connsiteX56" fmla="*/ 592799 w 1226520"/>
                <a:gd name="connsiteY56" fmla="*/ 42304 h 958060"/>
                <a:gd name="connsiteX57" fmla="*/ 570178 w 1226520"/>
                <a:gd name="connsiteY57" fmla="*/ 30591 h 958060"/>
                <a:gd name="connsiteX58" fmla="*/ 595302 w 1226520"/>
                <a:gd name="connsiteY58" fmla="*/ 25137 h 958060"/>
                <a:gd name="connsiteX59" fmla="*/ 705010 w 1226520"/>
                <a:gd name="connsiteY59" fmla="*/ 39532 h 958060"/>
                <a:gd name="connsiteX60" fmla="*/ 724144 w 1226520"/>
                <a:gd name="connsiteY60" fmla="*/ 46775 h 958060"/>
                <a:gd name="connsiteX61" fmla="*/ 711448 w 1226520"/>
                <a:gd name="connsiteY61" fmla="*/ 78784 h 958060"/>
                <a:gd name="connsiteX62" fmla="*/ 711895 w 1226520"/>
                <a:gd name="connsiteY62" fmla="*/ 156661 h 958060"/>
                <a:gd name="connsiteX63" fmla="*/ 809264 w 1226520"/>
                <a:gd name="connsiteY63" fmla="*/ 213974 h 958060"/>
                <a:gd name="connsiteX64" fmla="*/ 850662 w 1226520"/>
                <a:gd name="connsiteY64" fmla="*/ 192694 h 958060"/>
                <a:gd name="connsiteX65" fmla="*/ 863269 w 1226520"/>
                <a:gd name="connsiteY65" fmla="*/ 126351 h 958060"/>
                <a:gd name="connsiteX66" fmla="*/ 871673 w 1226520"/>
                <a:gd name="connsiteY66" fmla="*/ 13603 h 958060"/>
                <a:gd name="connsiteX67" fmla="*/ 887767 w 1226520"/>
                <a:gd name="connsiteY67" fmla="*/ 191 h 958060"/>
                <a:gd name="connsiteX68" fmla="*/ 909047 w 1226520"/>
                <a:gd name="connsiteY68" fmla="*/ 11367 h 958060"/>
                <a:gd name="connsiteX69" fmla="*/ 933546 w 1226520"/>
                <a:gd name="connsiteY69" fmla="*/ 81913 h 958060"/>
                <a:gd name="connsiteX70" fmla="*/ 954289 w 1226520"/>
                <a:gd name="connsiteY70" fmla="*/ 97560 h 958060"/>
                <a:gd name="connsiteX71" fmla="*/ 987461 w 1226520"/>
                <a:gd name="connsiteY71" fmla="*/ 134666 h 958060"/>
                <a:gd name="connsiteX72" fmla="*/ 999085 w 1226520"/>
                <a:gd name="connsiteY72" fmla="*/ 167569 h 958060"/>
                <a:gd name="connsiteX73" fmla="*/ 1013748 w 1226520"/>
                <a:gd name="connsiteY73" fmla="*/ 219160 h 958060"/>
                <a:gd name="connsiteX74" fmla="*/ 1045847 w 1226520"/>
                <a:gd name="connsiteY74" fmla="*/ 262435 h 958060"/>
                <a:gd name="connsiteX75" fmla="*/ 1113621 w 1226520"/>
                <a:gd name="connsiteY75" fmla="*/ 343621 h 958060"/>
                <a:gd name="connsiteX76" fmla="*/ 1114068 w 1226520"/>
                <a:gd name="connsiteY76" fmla="*/ 346750 h 958060"/>
                <a:gd name="connsiteX77" fmla="*/ 1191230 w 1226520"/>
                <a:gd name="connsiteY77" fmla="*/ 423286 h 958060"/>
                <a:gd name="connsiteX78" fmla="*/ 1209649 w 1226520"/>
                <a:gd name="connsiteY78" fmla="*/ 451362 h 958060"/>
                <a:gd name="connsiteX79" fmla="*/ 1210006 w 1226520"/>
                <a:gd name="connsiteY79" fmla="*/ 625088 h 958060"/>
                <a:gd name="connsiteX80" fmla="*/ 1203927 w 1226520"/>
                <a:gd name="connsiteY80" fmla="*/ 665413 h 958060"/>
                <a:gd name="connsiteX81" fmla="*/ 1158774 w 1226520"/>
                <a:gd name="connsiteY81" fmla="*/ 717898 h 958060"/>
                <a:gd name="connsiteX82" fmla="*/ 1144826 w 1226520"/>
                <a:gd name="connsiteY82" fmla="*/ 743201 h 958060"/>
                <a:gd name="connsiteX83" fmla="*/ 1123546 w 1226520"/>
                <a:gd name="connsiteY83" fmla="*/ 788533 h 958060"/>
                <a:gd name="connsiteX84" fmla="*/ 1092341 w 1226520"/>
                <a:gd name="connsiteY84" fmla="*/ 854340 h 958060"/>
                <a:gd name="connsiteX85" fmla="*/ 1078661 w 1226520"/>
                <a:gd name="connsiteY85" fmla="*/ 900655 h 958060"/>
                <a:gd name="connsiteX86" fmla="*/ 975301 w 1226520"/>
                <a:gd name="connsiteY86" fmla="*/ 951619 h 958060"/>
                <a:gd name="connsiteX87" fmla="*/ 932473 w 1226520"/>
                <a:gd name="connsiteY87" fmla="*/ 937671 h 958060"/>
                <a:gd name="connsiteX88" fmla="*/ 909763 w 1226520"/>
                <a:gd name="connsiteY88" fmla="*/ 935168 h 958060"/>
                <a:gd name="connsiteX89" fmla="*/ 888393 w 1226520"/>
                <a:gd name="connsiteY89" fmla="*/ 946255 h 9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26520" h="958060">
                  <a:moveTo>
                    <a:pt x="888214" y="945897"/>
                  </a:moveTo>
                  <a:lnTo>
                    <a:pt x="885442" y="945450"/>
                  </a:lnTo>
                  <a:lnTo>
                    <a:pt x="883118" y="947149"/>
                  </a:lnTo>
                  <a:cubicBezTo>
                    <a:pt x="860765" y="955107"/>
                    <a:pt x="845833" y="929892"/>
                    <a:pt x="824375" y="933916"/>
                  </a:cubicBezTo>
                  <a:cubicBezTo>
                    <a:pt x="798803" y="934095"/>
                    <a:pt x="778596" y="924081"/>
                    <a:pt x="766794" y="901102"/>
                  </a:cubicBezTo>
                  <a:cubicBezTo>
                    <a:pt x="764290" y="896274"/>
                    <a:pt x="755259" y="889031"/>
                    <a:pt x="761340" y="884561"/>
                  </a:cubicBezTo>
                  <a:cubicBezTo>
                    <a:pt x="784140" y="867662"/>
                    <a:pt x="762144" y="855770"/>
                    <a:pt x="758031" y="841822"/>
                  </a:cubicBezTo>
                  <a:cubicBezTo>
                    <a:pt x="754008" y="837173"/>
                    <a:pt x="756601" y="826443"/>
                    <a:pt x="749001" y="826533"/>
                  </a:cubicBezTo>
                  <a:cubicBezTo>
                    <a:pt x="729777" y="826801"/>
                    <a:pt x="730403" y="817055"/>
                    <a:pt x="731119" y="802034"/>
                  </a:cubicBezTo>
                  <a:cubicBezTo>
                    <a:pt x="731565" y="792556"/>
                    <a:pt x="724413" y="801676"/>
                    <a:pt x="720746" y="802749"/>
                  </a:cubicBezTo>
                  <a:cubicBezTo>
                    <a:pt x="718958" y="803733"/>
                    <a:pt x="718422" y="805253"/>
                    <a:pt x="719137" y="807130"/>
                  </a:cubicBezTo>
                  <a:cubicBezTo>
                    <a:pt x="708408" y="814820"/>
                    <a:pt x="698573" y="817055"/>
                    <a:pt x="691330" y="802839"/>
                  </a:cubicBezTo>
                  <a:cubicBezTo>
                    <a:pt x="704563" y="785314"/>
                    <a:pt x="722892" y="770203"/>
                    <a:pt x="720210" y="744810"/>
                  </a:cubicBezTo>
                  <a:cubicBezTo>
                    <a:pt x="721819" y="740519"/>
                    <a:pt x="723697" y="736316"/>
                    <a:pt x="725664" y="732114"/>
                  </a:cubicBezTo>
                  <a:cubicBezTo>
                    <a:pt x="721015" y="733455"/>
                    <a:pt x="716455" y="734886"/>
                    <a:pt x="712074" y="736674"/>
                  </a:cubicBezTo>
                  <a:cubicBezTo>
                    <a:pt x="697053" y="747314"/>
                    <a:pt x="690257" y="766180"/>
                    <a:pt x="672286" y="774495"/>
                  </a:cubicBezTo>
                  <a:cubicBezTo>
                    <a:pt x="666295" y="777267"/>
                    <a:pt x="653151" y="785135"/>
                    <a:pt x="666563" y="796312"/>
                  </a:cubicBezTo>
                  <a:cubicBezTo>
                    <a:pt x="666027" y="813657"/>
                    <a:pt x="655029" y="803375"/>
                    <a:pt x="647876" y="803375"/>
                  </a:cubicBezTo>
                  <a:cubicBezTo>
                    <a:pt x="641617" y="801319"/>
                    <a:pt x="632229" y="802481"/>
                    <a:pt x="635626" y="790768"/>
                  </a:cubicBezTo>
                  <a:cubicBezTo>
                    <a:pt x="643584" y="763229"/>
                    <a:pt x="640902" y="757775"/>
                    <a:pt x="612022" y="745347"/>
                  </a:cubicBezTo>
                  <a:cubicBezTo>
                    <a:pt x="591636" y="736585"/>
                    <a:pt x="621857" y="720222"/>
                    <a:pt x="606389" y="711013"/>
                  </a:cubicBezTo>
                  <a:cubicBezTo>
                    <a:pt x="599594" y="704396"/>
                    <a:pt x="586540" y="710208"/>
                    <a:pt x="582248" y="698674"/>
                  </a:cubicBezTo>
                  <a:cubicBezTo>
                    <a:pt x="561684" y="700373"/>
                    <a:pt x="547914" y="684100"/>
                    <a:pt x="529943" y="678914"/>
                  </a:cubicBezTo>
                  <a:cubicBezTo>
                    <a:pt x="514653" y="685620"/>
                    <a:pt x="497665" y="677305"/>
                    <a:pt x="482375" y="684189"/>
                  </a:cubicBezTo>
                  <a:cubicBezTo>
                    <a:pt x="465208" y="690538"/>
                    <a:pt x="446521" y="693488"/>
                    <a:pt x="431768" y="705469"/>
                  </a:cubicBezTo>
                  <a:cubicBezTo>
                    <a:pt x="414154" y="711371"/>
                    <a:pt x="395289" y="703413"/>
                    <a:pt x="377764" y="710298"/>
                  </a:cubicBezTo>
                  <a:cubicBezTo>
                    <a:pt x="354428" y="715126"/>
                    <a:pt x="331896" y="721742"/>
                    <a:pt x="312672" y="736674"/>
                  </a:cubicBezTo>
                  <a:cubicBezTo>
                    <a:pt x="312851" y="745794"/>
                    <a:pt x="308738" y="752321"/>
                    <a:pt x="300870" y="756702"/>
                  </a:cubicBezTo>
                  <a:cubicBezTo>
                    <a:pt x="291214" y="767879"/>
                    <a:pt x="279679" y="769041"/>
                    <a:pt x="264837" y="768952"/>
                  </a:cubicBezTo>
                  <a:cubicBezTo>
                    <a:pt x="215571" y="768773"/>
                    <a:pt x="165501" y="768683"/>
                    <a:pt x="124371" y="803286"/>
                  </a:cubicBezTo>
                  <a:cubicBezTo>
                    <a:pt x="111407" y="807220"/>
                    <a:pt x="98353" y="807130"/>
                    <a:pt x="85298" y="803375"/>
                  </a:cubicBezTo>
                  <a:cubicBezTo>
                    <a:pt x="64018" y="800424"/>
                    <a:pt x="44706" y="792020"/>
                    <a:pt x="25572" y="782900"/>
                  </a:cubicBezTo>
                  <a:cubicBezTo>
                    <a:pt x="16004" y="763229"/>
                    <a:pt x="32009" y="761441"/>
                    <a:pt x="43901" y="756792"/>
                  </a:cubicBezTo>
                  <a:lnTo>
                    <a:pt x="52485" y="749192"/>
                  </a:lnTo>
                  <a:cubicBezTo>
                    <a:pt x="54094" y="728180"/>
                    <a:pt x="63304" y="707973"/>
                    <a:pt x="59011" y="686335"/>
                  </a:cubicBezTo>
                  <a:cubicBezTo>
                    <a:pt x="46136" y="674533"/>
                    <a:pt x="33529" y="665324"/>
                    <a:pt x="47835" y="643239"/>
                  </a:cubicBezTo>
                  <a:cubicBezTo>
                    <a:pt x="53289" y="634745"/>
                    <a:pt x="42202" y="614538"/>
                    <a:pt x="36838" y="600321"/>
                  </a:cubicBezTo>
                  <a:cubicBezTo>
                    <a:pt x="25125" y="569296"/>
                    <a:pt x="12339" y="538627"/>
                    <a:pt x="0" y="507870"/>
                  </a:cubicBezTo>
                  <a:cubicBezTo>
                    <a:pt x="7421" y="496783"/>
                    <a:pt x="23605" y="488825"/>
                    <a:pt x="13233" y="471300"/>
                  </a:cubicBezTo>
                  <a:cubicBezTo>
                    <a:pt x="11176" y="466562"/>
                    <a:pt x="5990" y="460303"/>
                    <a:pt x="7510" y="457263"/>
                  </a:cubicBezTo>
                  <a:cubicBezTo>
                    <a:pt x="20297" y="431333"/>
                    <a:pt x="5633" y="399235"/>
                    <a:pt x="26377" y="375451"/>
                  </a:cubicBezTo>
                  <a:cubicBezTo>
                    <a:pt x="32367" y="372948"/>
                    <a:pt x="39252" y="374468"/>
                    <a:pt x="44974" y="370802"/>
                  </a:cubicBezTo>
                  <a:cubicBezTo>
                    <a:pt x="95670" y="342190"/>
                    <a:pt x="142880" y="304995"/>
                    <a:pt x="205736" y="306426"/>
                  </a:cubicBezTo>
                  <a:cubicBezTo>
                    <a:pt x="227553" y="306873"/>
                    <a:pt x="246776" y="299273"/>
                    <a:pt x="257774" y="279334"/>
                  </a:cubicBezTo>
                  <a:cubicBezTo>
                    <a:pt x="265731" y="264849"/>
                    <a:pt x="291214" y="257607"/>
                    <a:pt x="273331" y="231052"/>
                  </a:cubicBezTo>
                  <a:cubicBezTo>
                    <a:pt x="265910" y="220143"/>
                    <a:pt x="286832" y="206553"/>
                    <a:pt x="294522" y="194035"/>
                  </a:cubicBezTo>
                  <a:cubicBezTo>
                    <a:pt x="315891" y="184647"/>
                    <a:pt x="316964" y="206285"/>
                    <a:pt x="325190" y="215852"/>
                  </a:cubicBezTo>
                  <a:cubicBezTo>
                    <a:pt x="322597" y="201546"/>
                    <a:pt x="303910" y="180445"/>
                    <a:pt x="340390" y="187240"/>
                  </a:cubicBezTo>
                  <a:cubicBezTo>
                    <a:pt x="347811" y="189922"/>
                    <a:pt x="355142" y="190369"/>
                    <a:pt x="362743" y="184915"/>
                  </a:cubicBezTo>
                  <a:cubicBezTo>
                    <a:pt x="329660" y="157824"/>
                    <a:pt x="369627" y="152727"/>
                    <a:pt x="377138" y="137706"/>
                  </a:cubicBezTo>
                  <a:cubicBezTo>
                    <a:pt x="380089" y="131716"/>
                    <a:pt x="388314" y="137438"/>
                    <a:pt x="393947" y="131805"/>
                  </a:cubicBezTo>
                  <a:cubicBezTo>
                    <a:pt x="427834" y="98007"/>
                    <a:pt x="427477" y="98991"/>
                    <a:pt x="458145" y="131626"/>
                  </a:cubicBezTo>
                  <a:cubicBezTo>
                    <a:pt x="469321" y="143518"/>
                    <a:pt x="455016" y="151565"/>
                    <a:pt x="457877" y="161311"/>
                  </a:cubicBezTo>
                  <a:cubicBezTo>
                    <a:pt x="474328" y="150223"/>
                    <a:pt x="478978" y="148793"/>
                    <a:pt x="510272" y="145932"/>
                  </a:cubicBezTo>
                  <a:cubicBezTo>
                    <a:pt x="497754" y="126708"/>
                    <a:pt x="481303" y="106144"/>
                    <a:pt x="517067" y="95057"/>
                  </a:cubicBezTo>
                  <a:cubicBezTo>
                    <a:pt x="502583" y="66624"/>
                    <a:pt x="527349" y="60454"/>
                    <a:pt x="543086" y="49189"/>
                  </a:cubicBezTo>
                  <a:cubicBezTo>
                    <a:pt x="560611" y="54553"/>
                    <a:pt x="576436" y="48116"/>
                    <a:pt x="592799" y="42304"/>
                  </a:cubicBezTo>
                  <a:cubicBezTo>
                    <a:pt x="589222" y="29697"/>
                    <a:pt x="574290" y="40784"/>
                    <a:pt x="570178" y="30591"/>
                  </a:cubicBezTo>
                  <a:cubicBezTo>
                    <a:pt x="576973" y="21381"/>
                    <a:pt x="587166" y="28087"/>
                    <a:pt x="595302" y="25137"/>
                  </a:cubicBezTo>
                  <a:cubicBezTo>
                    <a:pt x="631693" y="30859"/>
                    <a:pt x="664685" y="61527"/>
                    <a:pt x="705010" y="39532"/>
                  </a:cubicBezTo>
                  <a:cubicBezTo>
                    <a:pt x="712700" y="35330"/>
                    <a:pt x="723071" y="40337"/>
                    <a:pt x="724144" y="46775"/>
                  </a:cubicBezTo>
                  <a:cubicBezTo>
                    <a:pt x="726200" y="58577"/>
                    <a:pt x="720121" y="70826"/>
                    <a:pt x="711448" y="78784"/>
                  </a:cubicBezTo>
                  <a:cubicBezTo>
                    <a:pt x="679885" y="107485"/>
                    <a:pt x="683552" y="127871"/>
                    <a:pt x="711895" y="156661"/>
                  </a:cubicBezTo>
                  <a:cubicBezTo>
                    <a:pt x="739970" y="185183"/>
                    <a:pt x="781189" y="185988"/>
                    <a:pt x="809264" y="213974"/>
                  </a:cubicBezTo>
                  <a:cubicBezTo>
                    <a:pt x="821067" y="225776"/>
                    <a:pt x="841273" y="208788"/>
                    <a:pt x="850662" y="192694"/>
                  </a:cubicBezTo>
                  <a:cubicBezTo>
                    <a:pt x="862553" y="172219"/>
                    <a:pt x="866577" y="148972"/>
                    <a:pt x="863269" y="126351"/>
                  </a:cubicBezTo>
                  <a:cubicBezTo>
                    <a:pt x="857546" y="87814"/>
                    <a:pt x="875071" y="51692"/>
                    <a:pt x="871673" y="13603"/>
                  </a:cubicBezTo>
                  <a:cubicBezTo>
                    <a:pt x="870958" y="5109"/>
                    <a:pt x="879988" y="996"/>
                    <a:pt x="887767" y="191"/>
                  </a:cubicBezTo>
                  <a:cubicBezTo>
                    <a:pt x="896798" y="-793"/>
                    <a:pt x="905560" y="1890"/>
                    <a:pt x="909047" y="11367"/>
                  </a:cubicBezTo>
                  <a:cubicBezTo>
                    <a:pt x="917720" y="34704"/>
                    <a:pt x="927734" y="57772"/>
                    <a:pt x="933546" y="81913"/>
                  </a:cubicBezTo>
                  <a:cubicBezTo>
                    <a:pt x="936854" y="95772"/>
                    <a:pt x="941861" y="96398"/>
                    <a:pt x="954289" y="97560"/>
                  </a:cubicBezTo>
                  <a:cubicBezTo>
                    <a:pt x="974497" y="99438"/>
                    <a:pt x="993004" y="106948"/>
                    <a:pt x="987461" y="134666"/>
                  </a:cubicBezTo>
                  <a:cubicBezTo>
                    <a:pt x="984869" y="147273"/>
                    <a:pt x="991931" y="157913"/>
                    <a:pt x="999085" y="167569"/>
                  </a:cubicBezTo>
                  <a:cubicBezTo>
                    <a:pt x="1010530" y="183038"/>
                    <a:pt x="1016788" y="199042"/>
                    <a:pt x="1013748" y="219160"/>
                  </a:cubicBezTo>
                  <a:cubicBezTo>
                    <a:pt x="1010082" y="242854"/>
                    <a:pt x="1026981" y="256534"/>
                    <a:pt x="1045847" y="262435"/>
                  </a:cubicBezTo>
                  <a:cubicBezTo>
                    <a:pt x="1086798" y="275310"/>
                    <a:pt x="1110134" y="300524"/>
                    <a:pt x="1113621" y="343621"/>
                  </a:cubicBezTo>
                  <a:cubicBezTo>
                    <a:pt x="1113621" y="344694"/>
                    <a:pt x="1113978" y="346750"/>
                    <a:pt x="1114068" y="346750"/>
                  </a:cubicBezTo>
                  <a:cubicBezTo>
                    <a:pt x="1168162" y="343710"/>
                    <a:pt x="1145183" y="418279"/>
                    <a:pt x="1191230" y="423286"/>
                  </a:cubicBezTo>
                  <a:cubicBezTo>
                    <a:pt x="1200708" y="430439"/>
                    <a:pt x="1205089" y="440990"/>
                    <a:pt x="1209649" y="451362"/>
                  </a:cubicBezTo>
                  <a:cubicBezTo>
                    <a:pt x="1228157" y="509211"/>
                    <a:pt x="1235667" y="567150"/>
                    <a:pt x="1210006" y="625088"/>
                  </a:cubicBezTo>
                  <a:cubicBezTo>
                    <a:pt x="1202496" y="637696"/>
                    <a:pt x="1211795" y="652806"/>
                    <a:pt x="1203927" y="665413"/>
                  </a:cubicBezTo>
                  <a:cubicBezTo>
                    <a:pt x="1192750" y="686156"/>
                    <a:pt x="1182826" y="707168"/>
                    <a:pt x="1158774" y="717898"/>
                  </a:cubicBezTo>
                  <a:cubicBezTo>
                    <a:pt x="1151799" y="721027"/>
                    <a:pt x="1149386" y="734439"/>
                    <a:pt x="1144826" y="743201"/>
                  </a:cubicBezTo>
                  <a:cubicBezTo>
                    <a:pt x="1132129" y="755719"/>
                    <a:pt x="1123278" y="771097"/>
                    <a:pt x="1123546" y="788533"/>
                  </a:cubicBezTo>
                  <a:cubicBezTo>
                    <a:pt x="1123992" y="816340"/>
                    <a:pt x="1091446" y="827159"/>
                    <a:pt x="1092341" y="854340"/>
                  </a:cubicBezTo>
                  <a:cubicBezTo>
                    <a:pt x="1085367" y="869093"/>
                    <a:pt x="1084294" y="885544"/>
                    <a:pt x="1078661" y="900655"/>
                  </a:cubicBezTo>
                  <a:cubicBezTo>
                    <a:pt x="1042092" y="913173"/>
                    <a:pt x="1004449" y="921130"/>
                    <a:pt x="975301" y="951619"/>
                  </a:cubicBezTo>
                  <a:cubicBezTo>
                    <a:pt x="962963" y="964495"/>
                    <a:pt x="941146" y="957163"/>
                    <a:pt x="932473" y="937671"/>
                  </a:cubicBezTo>
                  <a:cubicBezTo>
                    <a:pt x="925320" y="921488"/>
                    <a:pt x="918435" y="925511"/>
                    <a:pt x="909763" y="935168"/>
                  </a:cubicBezTo>
                  <a:cubicBezTo>
                    <a:pt x="905829" y="945003"/>
                    <a:pt x="895278" y="942142"/>
                    <a:pt x="888393" y="94625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2" name="Freeform: Shape 61">
              <a:extLst>
                <a:ext uri="{FF2B5EF4-FFF2-40B4-BE49-F238E27FC236}">
                  <a16:creationId xmlns:a16="http://schemas.microsoft.com/office/drawing/2014/main" id="{EE80D6E5-CF93-5516-232D-F332E3C4F256}"/>
                </a:ext>
              </a:extLst>
            </p:cNvPr>
            <p:cNvSpPr/>
            <p:nvPr/>
          </p:nvSpPr>
          <p:spPr>
            <a:xfrm>
              <a:off x="14405125" y="6808413"/>
              <a:ext cx="876616" cy="389396"/>
            </a:xfrm>
            <a:custGeom>
              <a:avLst/>
              <a:gdLst>
                <a:gd name="connsiteX0" fmla="*/ 520822 w 601318"/>
                <a:gd name="connsiteY0" fmla="*/ 191012 h 267108"/>
                <a:gd name="connsiteX1" fmla="*/ 547109 w 601318"/>
                <a:gd name="connsiteY1" fmla="*/ 202993 h 267108"/>
                <a:gd name="connsiteX2" fmla="*/ 585020 w 601318"/>
                <a:gd name="connsiteY2" fmla="*/ 232320 h 267108"/>
                <a:gd name="connsiteX3" fmla="*/ 601113 w 601318"/>
                <a:gd name="connsiteY3" fmla="*/ 254583 h 267108"/>
                <a:gd name="connsiteX4" fmla="*/ 521359 w 601318"/>
                <a:gd name="connsiteY4" fmla="*/ 255746 h 267108"/>
                <a:gd name="connsiteX5" fmla="*/ 461542 w 601318"/>
                <a:gd name="connsiteY5" fmla="*/ 198612 h 267108"/>
                <a:gd name="connsiteX6" fmla="*/ 382592 w 601318"/>
                <a:gd name="connsiteY6" fmla="*/ 180104 h 267108"/>
                <a:gd name="connsiteX7" fmla="*/ 346380 w 601318"/>
                <a:gd name="connsiteY7" fmla="*/ 197450 h 267108"/>
                <a:gd name="connsiteX8" fmla="*/ 352997 w 601318"/>
                <a:gd name="connsiteY8" fmla="*/ 229191 h 267108"/>
                <a:gd name="connsiteX9" fmla="*/ 278517 w 601318"/>
                <a:gd name="connsiteY9" fmla="*/ 220428 h 267108"/>
                <a:gd name="connsiteX10" fmla="*/ 260277 w 601318"/>
                <a:gd name="connsiteY10" fmla="*/ 208984 h 267108"/>
                <a:gd name="connsiteX11" fmla="*/ 227641 w 601318"/>
                <a:gd name="connsiteY11" fmla="*/ 176616 h 267108"/>
                <a:gd name="connsiteX12" fmla="*/ 151463 w 601318"/>
                <a:gd name="connsiteY12" fmla="*/ 107144 h 267108"/>
                <a:gd name="connsiteX13" fmla="*/ 97101 w 601318"/>
                <a:gd name="connsiteY13" fmla="*/ 86847 h 267108"/>
                <a:gd name="connsiteX14" fmla="*/ 76536 w 601318"/>
                <a:gd name="connsiteY14" fmla="*/ 40800 h 267108"/>
                <a:gd name="connsiteX15" fmla="*/ 61515 w 601318"/>
                <a:gd name="connsiteY15" fmla="*/ 65299 h 267108"/>
                <a:gd name="connsiteX16" fmla="*/ 47924 w 601318"/>
                <a:gd name="connsiteY16" fmla="*/ 90156 h 267108"/>
                <a:gd name="connsiteX17" fmla="*/ 33618 w 601318"/>
                <a:gd name="connsiteY17" fmla="*/ 70753 h 267108"/>
                <a:gd name="connsiteX18" fmla="*/ 0 w 601318"/>
                <a:gd name="connsiteY18" fmla="*/ 42678 h 267108"/>
                <a:gd name="connsiteX19" fmla="*/ 23694 w 601318"/>
                <a:gd name="connsiteY19" fmla="*/ 31949 h 267108"/>
                <a:gd name="connsiteX20" fmla="*/ 39520 w 601318"/>
                <a:gd name="connsiteY20" fmla="*/ 24706 h 267108"/>
                <a:gd name="connsiteX21" fmla="*/ 63661 w 601318"/>
                <a:gd name="connsiteY21" fmla="*/ 19610 h 267108"/>
                <a:gd name="connsiteX22" fmla="*/ 69830 w 601318"/>
                <a:gd name="connsiteY22" fmla="*/ 19789 h 267108"/>
                <a:gd name="connsiteX23" fmla="*/ 89501 w 601318"/>
                <a:gd name="connsiteY23" fmla="*/ 39638 h 267108"/>
                <a:gd name="connsiteX24" fmla="*/ 149764 w 601318"/>
                <a:gd name="connsiteY24" fmla="*/ 13172 h 267108"/>
                <a:gd name="connsiteX25" fmla="*/ 187496 w 601318"/>
                <a:gd name="connsiteY25" fmla="*/ 208 h 267108"/>
                <a:gd name="connsiteX26" fmla="*/ 213604 w 601318"/>
                <a:gd name="connsiteY26" fmla="*/ 13977 h 267108"/>
                <a:gd name="connsiteX27" fmla="*/ 364441 w 601318"/>
                <a:gd name="connsiteY27" fmla="*/ 64405 h 267108"/>
                <a:gd name="connsiteX28" fmla="*/ 428192 w 601318"/>
                <a:gd name="connsiteY28" fmla="*/ 88546 h 267108"/>
                <a:gd name="connsiteX29" fmla="*/ 469053 w 601318"/>
                <a:gd name="connsiteY29" fmla="*/ 110720 h 267108"/>
                <a:gd name="connsiteX30" fmla="*/ 475670 w 601318"/>
                <a:gd name="connsiteY30" fmla="*/ 111614 h 267108"/>
                <a:gd name="connsiteX31" fmla="*/ 498290 w 601318"/>
                <a:gd name="connsiteY31" fmla="*/ 127887 h 267108"/>
                <a:gd name="connsiteX32" fmla="*/ 515905 w 601318"/>
                <a:gd name="connsiteY32" fmla="*/ 179388 h 267108"/>
                <a:gd name="connsiteX33" fmla="*/ 521001 w 601318"/>
                <a:gd name="connsiteY33" fmla="*/ 190922 h 26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1318" h="267108">
                  <a:moveTo>
                    <a:pt x="520822" y="191012"/>
                  </a:moveTo>
                  <a:cubicBezTo>
                    <a:pt x="526365" y="202099"/>
                    <a:pt x="534234" y="208090"/>
                    <a:pt x="547109" y="202993"/>
                  </a:cubicBezTo>
                  <a:cubicBezTo>
                    <a:pt x="559805" y="212739"/>
                    <a:pt x="571698" y="223379"/>
                    <a:pt x="585020" y="232320"/>
                  </a:cubicBezTo>
                  <a:cubicBezTo>
                    <a:pt x="592620" y="238132"/>
                    <a:pt x="602902" y="242066"/>
                    <a:pt x="601113" y="254583"/>
                  </a:cubicBezTo>
                  <a:cubicBezTo>
                    <a:pt x="574827" y="279619"/>
                    <a:pt x="548003" y="260127"/>
                    <a:pt x="521359" y="255746"/>
                  </a:cubicBezTo>
                  <a:cubicBezTo>
                    <a:pt x="494625" y="243943"/>
                    <a:pt x="470483" y="231247"/>
                    <a:pt x="461542" y="198612"/>
                  </a:cubicBezTo>
                  <a:cubicBezTo>
                    <a:pt x="454926" y="174471"/>
                    <a:pt x="404229" y="164188"/>
                    <a:pt x="382592" y="180104"/>
                  </a:cubicBezTo>
                  <a:cubicBezTo>
                    <a:pt x="373025" y="187167"/>
                    <a:pt x="365067" y="196377"/>
                    <a:pt x="346380" y="197450"/>
                  </a:cubicBezTo>
                  <a:cubicBezTo>
                    <a:pt x="372846" y="208447"/>
                    <a:pt x="371058" y="218282"/>
                    <a:pt x="352997" y="229191"/>
                  </a:cubicBezTo>
                  <a:cubicBezTo>
                    <a:pt x="325726" y="245732"/>
                    <a:pt x="301585" y="234913"/>
                    <a:pt x="278517" y="220428"/>
                  </a:cubicBezTo>
                  <a:cubicBezTo>
                    <a:pt x="272526" y="216673"/>
                    <a:pt x="269039" y="208805"/>
                    <a:pt x="260277" y="208984"/>
                  </a:cubicBezTo>
                  <a:cubicBezTo>
                    <a:pt x="243021" y="204602"/>
                    <a:pt x="219326" y="206748"/>
                    <a:pt x="227641" y="176616"/>
                  </a:cubicBezTo>
                  <a:cubicBezTo>
                    <a:pt x="219326" y="134772"/>
                    <a:pt x="195543" y="111614"/>
                    <a:pt x="151463" y="107144"/>
                  </a:cubicBezTo>
                  <a:cubicBezTo>
                    <a:pt x="132865" y="105266"/>
                    <a:pt x="115430" y="93106"/>
                    <a:pt x="97101" y="86847"/>
                  </a:cubicBezTo>
                  <a:cubicBezTo>
                    <a:pt x="74032" y="79068"/>
                    <a:pt x="61247" y="66909"/>
                    <a:pt x="76536" y="40800"/>
                  </a:cubicBezTo>
                  <a:cubicBezTo>
                    <a:pt x="58475" y="43930"/>
                    <a:pt x="58564" y="52692"/>
                    <a:pt x="61515" y="65299"/>
                  </a:cubicBezTo>
                  <a:cubicBezTo>
                    <a:pt x="64018" y="76118"/>
                    <a:pt x="62052" y="89083"/>
                    <a:pt x="47924" y="90156"/>
                  </a:cubicBezTo>
                  <a:cubicBezTo>
                    <a:pt x="36659" y="91050"/>
                    <a:pt x="33887" y="83182"/>
                    <a:pt x="33618" y="70753"/>
                  </a:cubicBezTo>
                  <a:cubicBezTo>
                    <a:pt x="33261" y="51977"/>
                    <a:pt x="11087" y="53407"/>
                    <a:pt x="0" y="42678"/>
                  </a:cubicBezTo>
                  <a:cubicBezTo>
                    <a:pt x="8136" y="39012"/>
                    <a:pt x="15915" y="35525"/>
                    <a:pt x="23694" y="31949"/>
                  </a:cubicBezTo>
                  <a:cubicBezTo>
                    <a:pt x="27985" y="27389"/>
                    <a:pt x="33708" y="25958"/>
                    <a:pt x="39520" y="24706"/>
                  </a:cubicBezTo>
                  <a:cubicBezTo>
                    <a:pt x="48014" y="25153"/>
                    <a:pt x="54362" y="15229"/>
                    <a:pt x="63661" y="19610"/>
                  </a:cubicBezTo>
                  <a:cubicBezTo>
                    <a:pt x="65717" y="20504"/>
                    <a:pt x="67774" y="20504"/>
                    <a:pt x="69830" y="19789"/>
                  </a:cubicBezTo>
                  <a:cubicBezTo>
                    <a:pt x="78056" y="24796"/>
                    <a:pt x="84762" y="31233"/>
                    <a:pt x="89501" y="39638"/>
                  </a:cubicBezTo>
                  <a:cubicBezTo>
                    <a:pt x="120706" y="57342"/>
                    <a:pt x="129825" y="22113"/>
                    <a:pt x="149764" y="13172"/>
                  </a:cubicBezTo>
                  <a:cubicBezTo>
                    <a:pt x="162192" y="7629"/>
                    <a:pt x="172654" y="-1491"/>
                    <a:pt x="187496" y="208"/>
                  </a:cubicBezTo>
                  <a:cubicBezTo>
                    <a:pt x="195364" y="6288"/>
                    <a:pt x="210206" y="-687"/>
                    <a:pt x="213604" y="13977"/>
                  </a:cubicBezTo>
                  <a:cubicBezTo>
                    <a:pt x="263943" y="30608"/>
                    <a:pt x="311063" y="56895"/>
                    <a:pt x="364441" y="64405"/>
                  </a:cubicBezTo>
                  <a:cubicBezTo>
                    <a:pt x="391354" y="57520"/>
                    <a:pt x="414065" y="62796"/>
                    <a:pt x="428192" y="88546"/>
                  </a:cubicBezTo>
                  <a:cubicBezTo>
                    <a:pt x="437312" y="105266"/>
                    <a:pt x="453317" y="107233"/>
                    <a:pt x="469053" y="110720"/>
                  </a:cubicBezTo>
                  <a:cubicBezTo>
                    <a:pt x="471289" y="110988"/>
                    <a:pt x="473434" y="111346"/>
                    <a:pt x="475670" y="111614"/>
                  </a:cubicBezTo>
                  <a:cubicBezTo>
                    <a:pt x="490422" y="107591"/>
                    <a:pt x="503208" y="116443"/>
                    <a:pt x="498290" y="127887"/>
                  </a:cubicBezTo>
                  <a:cubicBezTo>
                    <a:pt x="487382" y="153012"/>
                    <a:pt x="502493" y="164904"/>
                    <a:pt x="515905" y="179388"/>
                  </a:cubicBezTo>
                  <a:cubicBezTo>
                    <a:pt x="518855" y="182607"/>
                    <a:pt x="519124" y="187167"/>
                    <a:pt x="521001" y="19092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63" name="Freeform: Shape 62">
              <a:extLst>
                <a:ext uri="{FF2B5EF4-FFF2-40B4-BE49-F238E27FC236}">
                  <a16:creationId xmlns:a16="http://schemas.microsoft.com/office/drawing/2014/main" id="{9E8CFF43-0D4C-FBCC-EBE3-B3C943EF7D5F}"/>
                </a:ext>
              </a:extLst>
            </p:cNvPr>
            <p:cNvSpPr/>
            <p:nvPr/>
          </p:nvSpPr>
          <p:spPr>
            <a:xfrm>
              <a:off x="13831730" y="6750889"/>
              <a:ext cx="192498" cy="271041"/>
            </a:xfrm>
            <a:custGeom>
              <a:avLst/>
              <a:gdLst>
                <a:gd name="connsiteX0" fmla="*/ 37823 w 132045"/>
                <a:gd name="connsiteY0" fmla="*/ 6405 h 185922"/>
                <a:gd name="connsiteX1" fmla="*/ 35766 w 132045"/>
                <a:gd name="connsiteY1" fmla="*/ 35196 h 185922"/>
                <a:gd name="connsiteX2" fmla="*/ 68044 w 132045"/>
                <a:gd name="connsiteY2" fmla="*/ 43153 h 185922"/>
                <a:gd name="connsiteX3" fmla="*/ 121154 w 132045"/>
                <a:gd name="connsiteY3" fmla="*/ 27506 h 185922"/>
                <a:gd name="connsiteX4" fmla="*/ 111677 w 132045"/>
                <a:gd name="connsiteY4" fmla="*/ 40471 h 185922"/>
                <a:gd name="connsiteX5" fmla="*/ 103093 w 132045"/>
                <a:gd name="connsiteY5" fmla="*/ 89469 h 185922"/>
                <a:gd name="connsiteX6" fmla="*/ 127949 w 132045"/>
                <a:gd name="connsiteY6" fmla="*/ 132386 h 185922"/>
                <a:gd name="connsiteX7" fmla="*/ 127413 w 132045"/>
                <a:gd name="connsiteY7" fmla="*/ 154739 h 185922"/>
                <a:gd name="connsiteX8" fmla="*/ 99874 w 132045"/>
                <a:gd name="connsiteY8" fmla="*/ 170565 h 185922"/>
                <a:gd name="connsiteX9" fmla="*/ 85747 w 132045"/>
                <a:gd name="connsiteY9" fmla="*/ 147050 h 185922"/>
                <a:gd name="connsiteX10" fmla="*/ 63841 w 132045"/>
                <a:gd name="connsiteY10" fmla="*/ 89916 h 185922"/>
                <a:gd name="connsiteX11" fmla="*/ 49803 w 132045"/>
                <a:gd name="connsiteY11" fmla="*/ 85624 h 185922"/>
                <a:gd name="connsiteX12" fmla="*/ 45691 w 132045"/>
                <a:gd name="connsiteY12" fmla="*/ 98589 h 185922"/>
                <a:gd name="connsiteX13" fmla="*/ 51502 w 132045"/>
                <a:gd name="connsiteY13" fmla="*/ 171370 h 185922"/>
                <a:gd name="connsiteX14" fmla="*/ 35498 w 132045"/>
                <a:gd name="connsiteY14" fmla="*/ 185586 h 185922"/>
                <a:gd name="connsiteX15" fmla="*/ 24053 w 132045"/>
                <a:gd name="connsiteY15" fmla="*/ 169581 h 185922"/>
                <a:gd name="connsiteX16" fmla="*/ 6618 w 132045"/>
                <a:gd name="connsiteY16" fmla="*/ 125949 h 185922"/>
                <a:gd name="connsiteX17" fmla="*/ 627 w 132045"/>
                <a:gd name="connsiteY17" fmla="*/ 110123 h 185922"/>
                <a:gd name="connsiteX18" fmla="*/ 23159 w 132045"/>
                <a:gd name="connsiteY18" fmla="*/ 3991 h 185922"/>
                <a:gd name="connsiteX19" fmla="*/ 31921 w 132045"/>
                <a:gd name="connsiteY19" fmla="*/ 594 h 185922"/>
                <a:gd name="connsiteX20" fmla="*/ 37912 w 132045"/>
                <a:gd name="connsiteY20" fmla="*/ 6584 h 18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2045" h="185922">
                  <a:moveTo>
                    <a:pt x="37823" y="6405"/>
                  </a:moveTo>
                  <a:cubicBezTo>
                    <a:pt x="32994" y="15793"/>
                    <a:pt x="24142" y="25808"/>
                    <a:pt x="35766" y="35196"/>
                  </a:cubicBezTo>
                  <a:cubicBezTo>
                    <a:pt x="44618" y="42349"/>
                    <a:pt x="53738" y="49412"/>
                    <a:pt x="68044" y="43153"/>
                  </a:cubicBezTo>
                  <a:cubicBezTo>
                    <a:pt x="84495" y="35911"/>
                    <a:pt x="102824" y="32692"/>
                    <a:pt x="121154" y="27506"/>
                  </a:cubicBezTo>
                  <a:cubicBezTo>
                    <a:pt x="124015" y="37520"/>
                    <a:pt x="115521" y="36805"/>
                    <a:pt x="111677" y="40471"/>
                  </a:cubicBezTo>
                  <a:cubicBezTo>
                    <a:pt x="97102" y="54330"/>
                    <a:pt x="77611" y="67026"/>
                    <a:pt x="103093" y="89469"/>
                  </a:cubicBezTo>
                  <a:cubicBezTo>
                    <a:pt x="115253" y="100198"/>
                    <a:pt x="109888" y="122640"/>
                    <a:pt x="127949" y="132386"/>
                  </a:cubicBezTo>
                  <a:cubicBezTo>
                    <a:pt x="131615" y="134353"/>
                    <a:pt x="135191" y="152951"/>
                    <a:pt x="127413" y="154739"/>
                  </a:cubicBezTo>
                  <a:cubicBezTo>
                    <a:pt x="115432" y="157511"/>
                    <a:pt x="113554" y="177807"/>
                    <a:pt x="99874" y="170565"/>
                  </a:cubicBezTo>
                  <a:cubicBezTo>
                    <a:pt x="92453" y="166631"/>
                    <a:pt x="84853" y="158673"/>
                    <a:pt x="85747" y="147050"/>
                  </a:cubicBezTo>
                  <a:cubicBezTo>
                    <a:pt x="87267" y="124965"/>
                    <a:pt x="60801" y="113342"/>
                    <a:pt x="63841" y="89916"/>
                  </a:cubicBezTo>
                  <a:cubicBezTo>
                    <a:pt x="64378" y="85892"/>
                    <a:pt x="55347" y="84104"/>
                    <a:pt x="49803" y="85624"/>
                  </a:cubicBezTo>
                  <a:cubicBezTo>
                    <a:pt x="42204" y="87680"/>
                    <a:pt x="42919" y="94386"/>
                    <a:pt x="45691" y="98589"/>
                  </a:cubicBezTo>
                  <a:cubicBezTo>
                    <a:pt x="60980" y="121925"/>
                    <a:pt x="46048" y="147407"/>
                    <a:pt x="51502" y="171370"/>
                  </a:cubicBezTo>
                  <a:cubicBezTo>
                    <a:pt x="54453" y="184513"/>
                    <a:pt x="44170" y="184245"/>
                    <a:pt x="35498" y="185586"/>
                  </a:cubicBezTo>
                  <a:cubicBezTo>
                    <a:pt x="20745" y="187821"/>
                    <a:pt x="21997" y="178523"/>
                    <a:pt x="24053" y="169581"/>
                  </a:cubicBezTo>
                  <a:cubicBezTo>
                    <a:pt x="28255" y="150895"/>
                    <a:pt x="37644" y="130866"/>
                    <a:pt x="6618" y="125949"/>
                  </a:cubicBezTo>
                  <a:cubicBezTo>
                    <a:pt x="-2055" y="124607"/>
                    <a:pt x="91" y="113073"/>
                    <a:pt x="627" y="110123"/>
                  </a:cubicBezTo>
                  <a:cubicBezTo>
                    <a:pt x="7065" y="74537"/>
                    <a:pt x="15023" y="39219"/>
                    <a:pt x="23159" y="3991"/>
                  </a:cubicBezTo>
                  <a:cubicBezTo>
                    <a:pt x="23516" y="2292"/>
                    <a:pt x="28881" y="1756"/>
                    <a:pt x="31921" y="594"/>
                  </a:cubicBezTo>
                  <a:cubicBezTo>
                    <a:pt x="37644" y="-1195"/>
                    <a:pt x="39253" y="1130"/>
                    <a:pt x="37912" y="658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2" name="Freeform: Shape 191">
              <a:extLst>
                <a:ext uri="{FF2B5EF4-FFF2-40B4-BE49-F238E27FC236}">
                  <a16:creationId xmlns:a16="http://schemas.microsoft.com/office/drawing/2014/main" id="{69534930-98BB-4A60-4AC9-3D4A552E81F0}"/>
                </a:ext>
              </a:extLst>
            </p:cNvPr>
            <p:cNvSpPr/>
            <p:nvPr/>
          </p:nvSpPr>
          <p:spPr>
            <a:xfrm>
              <a:off x="13254488" y="7068103"/>
              <a:ext cx="408287" cy="116495"/>
            </a:xfrm>
            <a:custGeom>
              <a:avLst/>
              <a:gdLst>
                <a:gd name="connsiteX0" fmla="*/ 239134 w 280065"/>
                <a:gd name="connsiteY0" fmla="*/ 70010 h 79910"/>
                <a:gd name="connsiteX1" fmla="*/ 165727 w 280065"/>
                <a:gd name="connsiteY1" fmla="*/ 65182 h 79910"/>
                <a:gd name="connsiteX2" fmla="*/ 122809 w 280065"/>
                <a:gd name="connsiteY2" fmla="*/ 50071 h 79910"/>
                <a:gd name="connsiteX3" fmla="*/ 74169 w 280065"/>
                <a:gd name="connsiteY3" fmla="*/ 44706 h 79910"/>
                <a:gd name="connsiteX4" fmla="*/ 15158 w 280065"/>
                <a:gd name="connsiteY4" fmla="*/ 31831 h 79910"/>
                <a:gd name="connsiteX5" fmla="*/ 10508 w 280065"/>
                <a:gd name="connsiteY5" fmla="*/ 5634 h 79910"/>
                <a:gd name="connsiteX6" fmla="*/ 91962 w 280065"/>
                <a:gd name="connsiteY6" fmla="*/ 12429 h 79910"/>
                <a:gd name="connsiteX7" fmla="*/ 163760 w 280065"/>
                <a:gd name="connsiteY7" fmla="*/ 16005 h 79910"/>
                <a:gd name="connsiteX8" fmla="*/ 227957 w 280065"/>
                <a:gd name="connsiteY8" fmla="*/ 41666 h 79910"/>
                <a:gd name="connsiteX9" fmla="*/ 244946 w 280065"/>
                <a:gd name="connsiteY9" fmla="*/ 47120 h 79910"/>
                <a:gd name="connsiteX10" fmla="*/ 276240 w 280065"/>
                <a:gd name="connsiteY10" fmla="*/ 57134 h 79910"/>
                <a:gd name="connsiteX11" fmla="*/ 257373 w 280065"/>
                <a:gd name="connsiteY11" fmla="*/ 78057 h 79910"/>
                <a:gd name="connsiteX12" fmla="*/ 239044 w 280065"/>
                <a:gd name="connsiteY12" fmla="*/ 69920 h 7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065" h="79910">
                  <a:moveTo>
                    <a:pt x="239134" y="70010"/>
                  </a:moveTo>
                  <a:cubicBezTo>
                    <a:pt x="215350" y="57671"/>
                    <a:pt x="189957" y="69831"/>
                    <a:pt x="165727" y="65182"/>
                  </a:cubicBezTo>
                  <a:cubicBezTo>
                    <a:pt x="154550" y="51323"/>
                    <a:pt x="139261" y="49087"/>
                    <a:pt x="122809" y="50071"/>
                  </a:cubicBezTo>
                  <a:cubicBezTo>
                    <a:pt x="107162" y="43633"/>
                    <a:pt x="89816" y="51591"/>
                    <a:pt x="74169" y="44706"/>
                  </a:cubicBezTo>
                  <a:cubicBezTo>
                    <a:pt x="54499" y="40414"/>
                    <a:pt x="34828" y="36123"/>
                    <a:pt x="15158" y="31831"/>
                  </a:cubicBezTo>
                  <a:cubicBezTo>
                    <a:pt x="-12471" y="27807"/>
                    <a:pt x="5054" y="15648"/>
                    <a:pt x="10508" y="5634"/>
                  </a:cubicBezTo>
                  <a:cubicBezTo>
                    <a:pt x="38763" y="-6884"/>
                    <a:pt x="66211" y="4203"/>
                    <a:pt x="91962" y="12429"/>
                  </a:cubicBezTo>
                  <a:cubicBezTo>
                    <a:pt x="116640" y="20386"/>
                    <a:pt x="139529" y="16720"/>
                    <a:pt x="163760" y="16005"/>
                  </a:cubicBezTo>
                  <a:cubicBezTo>
                    <a:pt x="187096" y="15290"/>
                    <a:pt x="217586" y="5634"/>
                    <a:pt x="227957" y="41666"/>
                  </a:cubicBezTo>
                  <a:cubicBezTo>
                    <a:pt x="230550" y="50608"/>
                    <a:pt x="235379" y="51233"/>
                    <a:pt x="244946" y="47120"/>
                  </a:cubicBezTo>
                  <a:cubicBezTo>
                    <a:pt x="255854" y="42561"/>
                    <a:pt x="270964" y="38179"/>
                    <a:pt x="276240" y="57134"/>
                  </a:cubicBezTo>
                  <a:cubicBezTo>
                    <a:pt x="285628" y="78236"/>
                    <a:pt x="277134" y="83153"/>
                    <a:pt x="257373" y="78057"/>
                  </a:cubicBezTo>
                  <a:cubicBezTo>
                    <a:pt x="251294" y="75374"/>
                    <a:pt x="245124" y="72692"/>
                    <a:pt x="239044" y="699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3" name="Freeform: Shape 192">
              <a:extLst>
                <a:ext uri="{FF2B5EF4-FFF2-40B4-BE49-F238E27FC236}">
                  <a16:creationId xmlns:a16="http://schemas.microsoft.com/office/drawing/2014/main" id="{F3BBC3F3-7D7A-A6BC-9791-EEC54CA43A8D}"/>
                </a:ext>
              </a:extLst>
            </p:cNvPr>
            <p:cNvSpPr/>
            <p:nvPr/>
          </p:nvSpPr>
          <p:spPr>
            <a:xfrm>
              <a:off x="13898152" y="6351426"/>
              <a:ext cx="199765" cy="156799"/>
            </a:xfrm>
            <a:custGeom>
              <a:avLst/>
              <a:gdLst>
                <a:gd name="connsiteX0" fmla="*/ 100717 w 137030"/>
                <a:gd name="connsiteY0" fmla="*/ 105886 h 107557"/>
                <a:gd name="connsiteX1" fmla="*/ 63164 w 137030"/>
                <a:gd name="connsiteY1" fmla="*/ 70211 h 107557"/>
                <a:gd name="connsiteX2" fmla="*/ 45997 w 137030"/>
                <a:gd name="connsiteY2" fmla="*/ 58945 h 107557"/>
                <a:gd name="connsiteX3" fmla="*/ 396 w 137030"/>
                <a:gd name="connsiteY3" fmla="*/ 67261 h 107557"/>
                <a:gd name="connsiteX4" fmla="*/ 35446 w 137030"/>
                <a:gd name="connsiteY4" fmla="*/ 36235 h 107557"/>
                <a:gd name="connsiteX5" fmla="*/ 93921 w 137030"/>
                <a:gd name="connsiteY5" fmla="*/ 2258 h 107557"/>
                <a:gd name="connsiteX6" fmla="*/ 120745 w 137030"/>
                <a:gd name="connsiteY6" fmla="*/ 17548 h 107557"/>
                <a:gd name="connsiteX7" fmla="*/ 135855 w 137030"/>
                <a:gd name="connsiteY7" fmla="*/ 62969 h 107557"/>
                <a:gd name="connsiteX8" fmla="*/ 129775 w 137030"/>
                <a:gd name="connsiteY8" fmla="*/ 82460 h 107557"/>
                <a:gd name="connsiteX9" fmla="*/ 115201 w 137030"/>
                <a:gd name="connsiteY9" fmla="*/ 102578 h 107557"/>
                <a:gd name="connsiteX10" fmla="*/ 100805 w 137030"/>
                <a:gd name="connsiteY10" fmla="*/ 105976 h 10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30" h="107557">
                  <a:moveTo>
                    <a:pt x="100717" y="105886"/>
                  </a:moveTo>
                  <a:cubicBezTo>
                    <a:pt x="79258" y="103383"/>
                    <a:pt x="63790" y="95067"/>
                    <a:pt x="63164" y="70211"/>
                  </a:cubicBezTo>
                  <a:cubicBezTo>
                    <a:pt x="62895" y="59124"/>
                    <a:pt x="58157" y="48663"/>
                    <a:pt x="45997" y="58945"/>
                  </a:cubicBezTo>
                  <a:cubicBezTo>
                    <a:pt x="30886" y="71731"/>
                    <a:pt x="1022" y="70747"/>
                    <a:pt x="396" y="67261"/>
                  </a:cubicBezTo>
                  <a:cubicBezTo>
                    <a:pt x="-4164" y="42493"/>
                    <a:pt x="32049" y="36056"/>
                    <a:pt x="35446" y="36235"/>
                  </a:cubicBezTo>
                  <a:cubicBezTo>
                    <a:pt x="64415" y="37844"/>
                    <a:pt x="78721" y="23717"/>
                    <a:pt x="93921" y="2258"/>
                  </a:cubicBezTo>
                  <a:cubicBezTo>
                    <a:pt x="99286" y="-5342"/>
                    <a:pt x="115738" y="7891"/>
                    <a:pt x="120745" y="17548"/>
                  </a:cubicBezTo>
                  <a:cubicBezTo>
                    <a:pt x="127987" y="31585"/>
                    <a:pt x="131921" y="47500"/>
                    <a:pt x="135855" y="62969"/>
                  </a:cubicBezTo>
                  <a:cubicBezTo>
                    <a:pt x="137644" y="69853"/>
                    <a:pt x="138537" y="81387"/>
                    <a:pt x="129775" y="82460"/>
                  </a:cubicBezTo>
                  <a:cubicBezTo>
                    <a:pt x="115291" y="84159"/>
                    <a:pt x="112429" y="87557"/>
                    <a:pt x="115201" y="102578"/>
                  </a:cubicBezTo>
                  <a:cubicBezTo>
                    <a:pt x="117257" y="113665"/>
                    <a:pt x="105545" y="102220"/>
                    <a:pt x="100805" y="10597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4" name="Freeform: Shape 193">
              <a:extLst>
                <a:ext uri="{FF2B5EF4-FFF2-40B4-BE49-F238E27FC236}">
                  <a16:creationId xmlns:a16="http://schemas.microsoft.com/office/drawing/2014/main" id="{C1D45169-D282-14E8-0037-28C3537A8430}"/>
                </a:ext>
              </a:extLst>
            </p:cNvPr>
            <p:cNvSpPr/>
            <p:nvPr/>
          </p:nvSpPr>
          <p:spPr>
            <a:xfrm>
              <a:off x="13735025" y="5968443"/>
              <a:ext cx="92634" cy="202281"/>
            </a:xfrm>
            <a:custGeom>
              <a:avLst/>
              <a:gdLst>
                <a:gd name="connsiteX0" fmla="*/ 58736 w 63543"/>
                <a:gd name="connsiteY0" fmla="*/ 131744 h 138755"/>
                <a:gd name="connsiteX1" fmla="*/ 39781 w 63543"/>
                <a:gd name="connsiteY1" fmla="*/ 134605 h 138755"/>
                <a:gd name="connsiteX2" fmla="*/ 6788 w 63543"/>
                <a:gd name="connsiteY2" fmla="*/ 99109 h 138755"/>
                <a:gd name="connsiteX3" fmla="*/ 4106 w 63543"/>
                <a:gd name="connsiteY3" fmla="*/ 9518 h 138755"/>
                <a:gd name="connsiteX4" fmla="*/ 52120 w 63543"/>
                <a:gd name="connsiteY4" fmla="*/ 11396 h 138755"/>
                <a:gd name="connsiteX5" fmla="*/ 60614 w 63543"/>
                <a:gd name="connsiteY5" fmla="*/ 62897 h 138755"/>
                <a:gd name="connsiteX6" fmla="*/ 58647 w 63543"/>
                <a:gd name="connsiteY6" fmla="*/ 124948 h 138755"/>
                <a:gd name="connsiteX7" fmla="*/ 58826 w 63543"/>
                <a:gd name="connsiteY7" fmla="*/ 131833 h 13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3" h="138755">
                  <a:moveTo>
                    <a:pt x="58736" y="131744"/>
                  </a:moveTo>
                  <a:cubicBezTo>
                    <a:pt x="53640" y="140595"/>
                    <a:pt x="45950" y="140506"/>
                    <a:pt x="39781" y="134605"/>
                  </a:cubicBezTo>
                  <a:cubicBezTo>
                    <a:pt x="28068" y="123428"/>
                    <a:pt x="17249" y="111358"/>
                    <a:pt x="6788" y="99109"/>
                  </a:cubicBezTo>
                  <a:cubicBezTo>
                    <a:pt x="-901" y="90167"/>
                    <a:pt x="-2422" y="20069"/>
                    <a:pt x="4106" y="9518"/>
                  </a:cubicBezTo>
                  <a:cubicBezTo>
                    <a:pt x="12511" y="-3983"/>
                    <a:pt x="42732" y="-2910"/>
                    <a:pt x="52120" y="11396"/>
                  </a:cubicBezTo>
                  <a:cubicBezTo>
                    <a:pt x="62670" y="27579"/>
                    <a:pt x="66872" y="53866"/>
                    <a:pt x="60614" y="62897"/>
                  </a:cubicBezTo>
                  <a:cubicBezTo>
                    <a:pt x="44699" y="85875"/>
                    <a:pt x="60792" y="104741"/>
                    <a:pt x="58647" y="124948"/>
                  </a:cubicBezTo>
                  <a:cubicBezTo>
                    <a:pt x="62402" y="127184"/>
                    <a:pt x="62491" y="129419"/>
                    <a:pt x="58826" y="13183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5" name="Freeform: Shape 194">
              <a:extLst>
                <a:ext uri="{FF2B5EF4-FFF2-40B4-BE49-F238E27FC236}">
                  <a16:creationId xmlns:a16="http://schemas.microsoft.com/office/drawing/2014/main" id="{1EC195CE-5B8F-DA82-A583-C5FF5FB87CB0}"/>
                </a:ext>
              </a:extLst>
            </p:cNvPr>
            <p:cNvSpPr/>
            <p:nvPr/>
          </p:nvSpPr>
          <p:spPr>
            <a:xfrm>
              <a:off x="14348799" y="6735846"/>
              <a:ext cx="138392" cy="83158"/>
            </a:xfrm>
            <a:custGeom>
              <a:avLst/>
              <a:gdLst>
                <a:gd name="connsiteX0" fmla="*/ 91837 w 94931"/>
                <a:gd name="connsiteY0" fmla="*/ 44173 h 57043"/>
                <a:gd name="connsiteX1" fmla="*/ 70557 w 94931"/>
                <a:gd name="connsiteY1" fmla="*/ 56601 h 57043"/>
                <a:gd name="connsiteX2" fmla="*/ 27104 w 94931"/>
                <a:gd name="connsiteY2" fmla="*/ 43011 h 57043"/>
                <a:gd name="connsiteX3" fmla="*/ 1442 w 94931"/>
                <a:gd name="connsiteY3" fmla="*/ 6084 h 57043"/>
                <a:gd name="connsiteX4" fmla="*/ 995 w 94931"/>
                <a:gd name="connsiteY4" fmla="*/ 6531 h 57043"/>
                <a:gd name="connsiteX5" fmla="*/ 85221 w 94931"/>
                <a:gd name="connsiteY5" fmla="*/ 5011 h 57043"/>
                <a:gd name="connsiteX6" fmla="*/ 92642 w 94931"/>
                <a:gd name="connsiteY6" fmla="*/ 31119 h 57043"/>
                <a:gd name="connsiteX7" fmla="*/ 91927 w 94931"/>
                <a:gd name="connsiteY7" fmla="*/ 44262 h 5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931" h="57043">
                  <a:moveTo>
                    <a:pt x="91837" y="44173"/>
                  </a:moveTo>
                  <a:cubicBezTo>
                    <a:pt x="84774" y="48375"/>
                    <a:pt x="81645" y="59373"/>
                    <a:pt x="70557" y="56601"/>
                  </a:cubicBezTo>
                  <a:cubicBezTo>
                    <a:pt x="58845" y="43189"/>
                    <a:pt x="39979" y="52667"/>
                    <a:pt x="27104" y="43011"/>
                  </a:cubicBezTo>
                  <a:cubicBezTo>
                    <a:pt x="21381" y="28705"/>
                    <a:pt x="-6604" y="29867"/>
                    <a:pt x="1442" y="6084"/>
                  </a:cubicBezTo>
                  <a:lnTo>
                    <a:pt x="995" y="6531"/>
                  </a:lnTo>
                  <a:cubicBezTo>
                    <a:pt x="29071" y="6262"/>
                    <a:pt x="56878" y="-6970"/>
                    <a:pt x="85221" y="5011"/>
                  </a:cubicBezTo>
                  <a:cubicBezTo>
                    <a:pt x="95414" y="11538"/>
                    <a:pt x="97023" y="20479"/>
                    <a:pt x="92642" y="31119"/>
                  </a:cubicBezTo>
                  <a:cubicBezTo>
                    <a:pt x="92374" y="35500"/>
                    <a:pt x="92106" y="39881"/>
                    <a:pt x="91927" y="4426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6" name="Freeform: Shape 195">
              <a:extLst>
                <a:ext uri="{FF2B5EF4-FFF2-40B4-BE49-F238E27FC236}">
                  <a16:creationId xmlns:a16="http://schemas.microsoft.com/office/drawing/2014/main" id="{CEAF975C-DBBE-71ED-B196-C8A2DE2CC5E6}"/>
                </a:ext>
              </a:extLst>
            </p:cNvPr>
            <p:cNvSpPr/>
            <p:nvPr/>
          </p:nvSpPr>
          <p:spPr>
            <a:xfrm>
              <a:off x="13635262" y="5665372"/>
              <a:ext cx="67074" cy="135895"/>
            </a:xfrm>
            <a:custGeom>
              <a:avLst/>
              <a:gdLst>
                <a:gd name="connsiteX0" fmla="*/ 41513 w 46010"/>
                <a:gd name="connsiteY0" fmla="*/ 93217 h 93217"/>
                <a:gd name="connsiteX1" fmla="*/ 3156 w 46010"/>
                <a:gd name="connsiteY1" fmla="*/ 24907 h 93217"/>
                <a:gd name="connsiteX2" fmla="*/ 28906 w 46010"/>
                <a:gd name="connsiteY2" fmla="*/ 50 h 93217"/>
                <a:gd name="connsiteX3" fmla="*/ 45984 w 46010"/>
                <a:gd name="connsiteY3" fmla="*/ 28036 h 93217"/>
                <a:gd name="connsiteX4" fmla="*/ 41513 w 46010"/>
                <a:gd name="connsiteY4" fmla="*/ 93217 h 9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10" h="93217">
                  <a:moveTo>
                    <a:pt x="41513" y="93217"/>
                  </a:moveTo>
                  <a:cubicBezTo>
                    <a:pt x="4050" y="73636"/>
                    <a:pt x="-5964" y="55933"/>
                    <a:pt x="3156" y="24907"/>
                  </a:cubicBezTo>
                  <a:cubicBezTo>
                    <a:pt x="6732" y="12657"/>
                    <a:pt x="15941" y="-933"/>
                    <a:pt x="28906" y="50"/>
                  </a:cubicBezTo>
                  <a:cubicBezTo>
                    <a:pt x="41245" y="945"/>
                    <a:pt x="46431" y="15429"/>
                    <a:pt x="45984" y="28036"/>
                  </a:cubicBezTo>
                  <a:cubicBezTo>
                    <a:pt x="45269" y="48690"/>
                    <a:pt x="43212" y="69344"/>
                    <a:pt x="41513" y="9321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7" name="Freeform: Shape 196">
              <a:extLst>
                <a:ext uri="{FF2B5EF4-FFF2-40B4-BE49-F238E27FC236}">
                  <a16:creationId xmlns:a16="http://schemas.microsoft.com/office/drawing/2014/main" id="{D5FE6808-EA24-44FC-687C-29B7A26B0093}"/>
                </a:ext>
              </a:extLst>
            </p:cNvPr>
            <p:cNvSpPr/>
            <p:nvPr/>
          </p:nvSpPr>
          <p:spPr>
            <a:xfrm>
              <a:off x="13910851" y="6723918"/>
              <a:ext cx="205233" cy="53469"/>
            </a:xfrm>
            <a:custGeom>
              <a:avLst/>
              <a:gdLst>
                <a:gd name="connsiteX0" fmla="*/ 5991 w 140780"/>
                <a:gd name="connsiteY0" fmla="*/ 36528 h 36677"/>
                <a:gd name="connsiteX1" fmla="*/ 0 w 140780"/>
                <a:gd name="connsiteY1" fmla="*/ 30538 h 36677"/>
                <a:gd name="connsiteX2" fmla="*/ 13591 w 140780"/>
                <a:gd name="connsiteY2" fmla="*/ 6129 h 36677"/>
                <a:gd name="connsiteX3" fmla="*/ 31205 w 140780"/>
                <a:gd name="connsiteY3" fmla="*/ 6755 h 36677"/>
                <a:gd name="connsiteX4" fmla="*/ 119901 w 140780"/>
                <a:gd name="connsiteY4" fmla="*/ 7559 h 36677"/>
                <a:gd name="connsiteX5" fmla="*/ 139035 w 140780"/>
                <a:gd name="connsiteY5" fmla="*/ 3893 h 36677"/>
                <a:gd name="connsiteX6" fmla="*/ 131167 w 140780"/>
                <a:gd name="connsiteY6" fmla="*/ 22670 h 36677"/>
                <a:gd name="connsiteX7" fmla="*/ 96296 w 140780"/>
                <a:gd name="connsiteY7" fmla="*/ 34472 h 36677"/>
                <a:gd name="connsiteX8" fmla="*/ 5991 w 140780"/>
                <a:gd name="connsiteY8" fmla="*/ 36528 h 3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780" h="36677">
                  <a:moveTo>
                    <a:pt x="5991" y="36528"/>
                  </a:moveTo>
                  <a:cubicBezTo>
                    <a:pt x="4024" y="34561"/>
                    <a:pt x="1967" y="32594"/>
                    <a:pt x="0" y="30538"/>
                  </a:cubicBezTo>
                  <a:cubicBezTo>
                    <a:pt x="4560" y="22402"/>
                    <a:pt x="9031" y="14265"/>
                    <a:pt x="13591" y="6129"/>
                  </a:cubicBezTo>
                  <a:cubicBezTo>
                    <a:pt x="19492" y="6307"/>
                    <a:pt x="25393" y="6576"/>
                    <a:pt x="31205" y="6755"/>
                  </a:cubicBezTo>
                  <a:cubicBezTo>
                    <a:pt x="60621" y="22223"/>
                    <a:pt x="90127" y="25442"/>
                    <a:pt x="119901" y="7559"/>
                  </a:cubicBezTo>
                  <a:cubicBezTo>
                    <a:pt x="125713" y="4072"/>
                    <a:pt x="132240" y="-5227"/>
                    <a:pt x="139035" y="3893"/>
                  </a:cubicBezTo>
                  <a:cubicBezTo>
                    <a:pt x="144847" y="11672"/>
                    <a:pt x="134564" y="17037"/>
                    <a:pt x="131167" y="22670"/>
                  </a:cubicBezTo>
                  <a:cubicBezTo>
                    <a:pt x="123388" y="35634"/>
                    <a:pt x="107741" y="36707"/>
                    <a:pt x="96296" y="34472"/>
                  </a:cubicBezTo>
                  <a:cubicBezTo>
                    <a:pt x="65718" y="28482"/>
                    <a:pt x="36123" y="37959"/>
                    <a:pt x="5991" y="36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8" name="Freeform: Shape 197">
              <a:extLst>
                <a:ext uri="{FF2B5EF4-FFF2-40B4-BE49-F238E27FC236}">
                  <a16:creationId xmlns:a16="http://schemas.microsoft.com/office/drawing/2014/main" id="{39003727-EF1F-39E1-042A-86DBE523E72E}"/>
                </a:ext>
              </a:extLst>
            </p:cNvPr>
            <p:cNvSpPr/>
            <p:nvPr/>
          </p:nvSpPr>
          <p:spPr>
            <a:xfrm>
              <a:off x="13219396" y="5910283"/>
              <a:ext cx="97339" cy="85371"/>
            </a:xfrm>
            <a:custGeom>
              <a:avLst/>
              <a:gdLst>
                <a:gd name="connsiteX0" fmla="*/ 66680 w 66769"/>
                <a:gd name="connsiteY0" fmla="*/ 20892 h 58561"/>
                <a:gd name="connsiteX1" fmla="*/ 40035 w 66769"/>
                <a:gd name="connsiteY1" fmla="*/ 58355 h 58561"/>
                <a:gd name="connsiteX2" fmla="*/ 425 w 66769"/>
                <a:gd name="connsiteY2" fmla="*/ 29117 h 58561"/>
                <a:gd name="connsiteX3" fmla="*/ 36280 w 66769"/>
                <a:gd name="connsiteY3" fmla="*/ 1131 h 58561"/>
                <a:gd name="connsiteX4" fmla="*/ 66769 w 66769"/>
                <a:gd name="connsiteY4" fmla="*/ 20892 h 5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69" h="58561">
                  <a:moveTo>
                    <a:pt x="66680" y="20892"/>
                  </a:moveTo>
                  <a:cubicBezTo>
                    <a:pt x="42628" y="24021"/>
                    <a:pt x="65249" y="56120"/>
                    <a:pt x="40035" y="58355"/>
                  </a:cubicBezTo>
                  <a:cubicBezTo>
                    <a:pt x="18844" y="60233"/>
                    <a:pt x="3555" y="49235"/>
                    <a:pt x="425" y="29117"/>
                  </a:cubicBezTo>
                  <a:cubicBezTo>
                    <a:pt x="-3687" y="3188"/>
                    <a:pt x="23047" y="7390"/>
                    <a:pt x="36280" y="1131"/>
                  </a:cubicBezTo>
                  <a:cubicBezTo>
                    <a:pt x="46830" y="-3876"/>
                    <a:pt x="57023" y="8642"/>
                    <a:pt x="66769" y="208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199" name="Freeform: Shape 198">
              <a:extLst>
                <a:ext uri="{FF2B5EF4-FFF2-40B4-BE49-F238E27FC236}">
                  <a16:creationId xmlns:a16="http://schemas.microsoft.com/office/drawing/2014/main" id="{7EA212CF-E1D3-102E-AE93-B981F6F1DB17}"/>
                </a:ext>
              </a:extLst>
            </p:cNvPr>
            <p:cNvSpPr/>
            <p:nvPr/>
          </p:nvSpPr>
          <p:spPr>
            <a:xfrm>
              <a:off x="14069225" y="7136479"/>
              <a:ext cx="136471" cy="80980"/>
            </a:xfrm>
            <a:custGeom>
              <a:avLst/>
              <a:gdLst>
                <a:gd name="connsiteX0" fmla="*/ 93613 w 93613"/>
                <a:gd name="connsiteY0" fmla="*/ 665 h 55549"/>
                <a:gd name="connsiteX1" fmla="*/ 12606 w 93613"/>
                <a:gd name="connsiteY1" fmla="*/ 55296 h 55549"/>
                <a:gd name="connsiteX2" fmla="*/ 1788 w 93613"/>
                <a:gd name="connsiteY2" fmla="*/ 51183 h 55549"/>
                <a:gd name="connsiteX3" fmla="*/ 6973 w 93613"/>
                <a:gd name="connsiteY3" fmla="*/ 34463 h 55549"/>
                <a:gd name="connsiteX4" fmla="*/ 93613 w 93613"/>
                <a:gd name="connsiteY4" fmla="*/ 665 h 55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13" h="55549">
                  <a:moveTo>
                    <a:pt x="93613" y="665"/>
                  </a:moveTo>
                  <a:cubicBezTo>
                    <a:pt x="69920" y="28383"/>
                    <a:pt x="33708" y="31065"/>
                    <a:pt x="12606" y="55296"/>
                  </a:cubicBezTo>
                  <a:cubicBezTo>
                    <a:pt x="11623" y="56369"/>
                    <a:pt x="3576" y="53865"/>
                    <a:pt x="1788" y="51183"/>
                  </a:cubicBezTo>
                  <a:cubicBezTo>
                    <a:pt x="-2504" y="44566"/>
                    <a:pt x="1609" y="38218"/>
                    <a:pt x="6973" y="34463"/>
                  </a:cubicBezTo>
                  <a:cubicBezTo>
                    <a:pt x="31383" y="17475"/>
                    <a:pt x="53915" y="-4074"/>
                    <a:pt x="93613" y="6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0" name="Freeform: Shape 199">
              <a:extLst>
                <a:ext uri="{FF2B5EF4-FFF2-40B4-BE49-F238E27FC236}">
                  <a16:creationId xmlns:a16="http://schemas.microsoft.com/office/drawing/2014/main" id="{7C4BCAF6-72A1-9499-7471-C4C7AA41F5BB}"/>
                </a:ext>
              </a:extLst>
            </p:cNvPr>
            <p:cNvSpPr/>
            <p:nvPr/>
          </p:nvSpPr>
          <p:spPr>
            <a:xfrm>
              <a:off x="14215993" y="6856337"/>
              <a:ext cx="151069" cy="40623"/>
            </a:xfrm>
            <a:custGeom>
              <a:avLst/>
              <a:gdLst>
                <a:gd name="connsiteX0" fmla="*/ 103628 w 103627"/>
                <a:gd name="connsiteY0" fmla="*/ 27865 h 27865"/>
                <a:gd name="connsiteX1" fmla="*/ 0 w 103627"/>
                <a:gd name="connsiteY1" fmla="*/ 24915 h 27865"/>
                <a:gd name="connsiteX2" fmla="*/ 103628 w 103627"/>
                <a:gd name="connsiteY2" fmla="*/ 27865 h 27865"/>
              </a:gdLst>
              <a:ahLst/>
              <a:cxnLst>
                <a:cxn ang="0">
                  <a:pos x="connsiteX0" y="connsiteY0"/>
                </a:cxn>
                <a:cxn ang="0">
                  <a:pos x="connsiteX1" y="connsiteY1"/>
                </a:cxn>
                <a:cxn ang="0">
                  <a:pos x="connsiteX2" y="connsiteY2"/>
                </a:cxn>
              </a:cxnLst>
              <a:rect l="l" t="t" r="r" b="b"/>
              <a:pathLst>
                <a:path w="103627" h="27865">
                  <a:moveTo>
                    <a:pt x="103628" y="27865"/>
                  </a:moveTo>
                  <a:cubicBezTo>
                    <a:pt x="68310" y="21696"/>
                    <a:pt x="36838" y="13917"/>
                    <a:pt x="0" y="24915"/>
                  </a:cubicBezTo>
                  <a:cubicBezTo>
                    <a:pt x="28343" y="-9866"/>
                    <a:pt x="71261" y="-7631"/>
                    <a:pt x="103628" y="278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1" name="Freeform: Shape 200">
              <a:extLst>
                <a:ext uri="{FF2B5EF4-FFF2-40B4-BE49-F238E27FC236}">
                  <a16:creationId xmlns:a16="http://schemas.microsoft.com/office/drawing/2014/main" id="{35B482CA-E36B-E4BE-52FE-F782B1D92A53}"/>
                </a:ext>
              </a:extLst>
            </p:cNvPr>
            <p:cNvSpPr/>
            <p:nvPr/>
          </p:nvSpPr>
          <p:spPr>
            <a:xfrm>
              <a:off x="13867577" y="6257152"/>
              <a:ext cx="66867" cy="116660"/>
            </a:xfrm>
            <a:custGeom>
              <a:avLst/>
              <a:gdLst>
                <a:gd name="connsiteX0" fmla="*/ 45779 w 45868"/>
                <a:gd name="connsiteY0" fmla="*/ 70682 h 80023"/>
                <a:gd name="connsiteX1" fmla="*/ 27360 w 45868"/>
                <a:gd name="connsiteY1" fmla="*/ 72560 h 80023"/>
                <a:gd name="connsiteX2" fmla="*/ 7064 w 45868"/>
                <a:gd name="connsiteY2" fmla="*/ 30626 h 80023"/>
                <a:gd name="connsiteX3" fmla="*/ 0 w 45868"/>
                <a:gd name="connsiteY3" fmla="*/ 1388 h 80023"/>
                <a:gd name="connsiteX4" fmla="*/ 39699 w 45868"/>
                <a:gd name="connsiteY4" fmla="*/ 32951 h 80023"/>
                <a:gd name="connsiteX5" fmla="*/ 45868 w 45868"/>
                <a:gd name="connsiteY5" fmla="*/ 70682 h 8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8" h="80023">
                  <a:moveTo>
                    <a:pt x="45779" y="70682"/>
                  </a:moveTo>
                  <a:cubicBezTo>
                    <a:pt x="40414" y="86329"/>
                    <a:pt x="25840" y="78998"/>
                    <a:pt x="27360" y="72560"/>
                  </a:cubicBezTo>
                  <a:cubicBezTo>
                    <a:pt x="32456" y="50833"/>
                    <a:pt x="24767" y="40819"/>
                    <a:pt x="7064" y="30626"/>
                  </a:cubicBezTo>
                  <a:cubicBezTo>
                    <a:pt x="984" y="27139"/>
                    <a:pt x="2057" y="11313"/>
                    <a:pt x="0" y="1388"/>
                  </a:cubicBezTo>
                  <a:cubicBezTo>
                    <a:pt x="30311" y="-6748"/>
                    <a:pt x="26466" y="23115"/>
                    <a:pt x="39699" y="32951"/>
                  </a:cubicBezTo>
                  <a:cubicBezTo>
                    <a:pt x="47746" y="44574"/>
                    <a:pt x="38179" y="58969"/>
                    <a:pt x="45868" y="7068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2" name="Freeform: Shape 201">
              <a:extLst>
                <a:ext uri="{FF2B5EF4-FFF2-40B4-BE49-F238E27FC236}">
                  <a16:creationId xmlns:a16="http://schemas.microsoft.com/office/drawing/2014/main" id="{DB3D5027-FD9F-2A72-BB3B-47F93219EBFA}"/>
                </a:ext>
              </a:extLst>
            </p:cNvPr>
            <p:cNvSpPr/>
            <p:nvPr/>
          </p:nvSpPr>
          <p:spPr>
            <a:xfrm>
              <a:off x="14661856" y="7087325"/>
              <a:ext cx="48181" cy="46188"/>
            </a:xfrm>
            <a:custGeom>
              <a:avLst/>
              <a:gdLst>
                <a:gd name="connsiteX0" fmla="*/ 26501 w 33050"/>
                <a:gd name="connsiteY0" fmla="*/ 26604 h 31683"/>
                <a:gd name="connsiteX1" fmla="*/ 125 w 33050"/>
                <a:gd name="connsiteY1" fmla="*/ 19719 h 31683"/>
                <a:gd name="connsiteX2" fmla="*/ 28290 w 33050"/>
                <a:gd name="connsiteY2" fmla="*/ 1032 h 31683"/>
                <a:gd name="connsiteX3" fmla="*/ 26412 w 33050"/>
                <a:gd name="connsiteY3" fmla="*/ 26693 h 31683"/>
              </a:gdLst>
              <a:ahLst/>
              <a:cxnLst>
                <a:cxn ang="0">
                  <a:pos x="connsiteX0" y="connsiteY0"/>
                </a:cxn>
                <a:cxn ang="0">
                  <a:pos x="connsiteX1" y="connsiteY1"/>
                </a:cxn>
                <a:cxn ang="0">
                  <a:pos x="connsiteX2" y="connsiteY2"/>
                </a:cxn>
                <a:cxn ang="0">
                  <a:pos x="connsiteX3" y="connsiteY3"/>
                </a:cxn>
              </a:cxnLst>
              <a:rect l="l" t="t" r="r" b="b"/>
              <a:pathLst>
                <a:path w="33050" h="31683">
                  <a:moveTo>
                    <a:pt x="26501" y="26604"/>
                  </a:moveTo>
                  <a:cubicBezTo>
                    <a:pt x="16398" y="28839"/>
                    <a:pt x="1913" y="40016"/>
                    <a:pt x="125" y="19719"/>
                  </a:cubicBezTo>
                  <a:cubicBezTo>
                    <a:pt x="-1485" y="943"/>
                    <a:pt x="12732" y="-2008"/>
                    <a:pt x="28290" y="1032"/>
                  </a:cubicBezTo>
                  <a:cubicBezTo>
                    <a:pt x="34101" y="10063"/>
                    <a:pt x="35800" y="18736"/>
                    <a:pt x="26412" y="266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3" name="Freeform: Shape 202">
              <a:extLst>
                <a:ext uri="{FF2B5EF4-FFF2-40B4-BE49-F238E27FC236}">
                  <a16:creationId xmlns:a16="http://schemas.microsoft.com/office/drawing/2014/main" id="{82EE2D7D-1F68-3AF5-3028-8E79D00E2C49}"/>
                </a:ext>
              </a:extLst>
            </p:cNvPr>
            <p:cNvSpPr/>
            <p:nvPr/>
          </p:nvSpPr>
          <p:spPr>
            <a:xfrm>
              <a:off x="13896515" y="7143721"/>
              <a:ext cx="76439" cy="26572"/>
            </a:xfrm>
            <a:custGeom>
              <a:avLst/>
              <a:gdLst>
                <a:gd name="connsiteX0" fmla="*/ 52127 w 52434"/>
                <a:gd name="connsiteY0" fmla="*/ 11076 h 18228"/>
                <a:gd name="connsiteX1" fmla="*/ 0 w 52434"/>
                <a:gd name="connsiteY1" fmla="*/ 18229 h 18228"/>
                <a:gd name="connsiteX2" fmla="*/ 45332 w 52434"/>
                <a:gd name="connsiteY2" fmla="*/ 5264 h 18228"/>
                <a:gd name="connsiteX3" fmla="*/ 52127 w 52434"/>
                <a:gd name="connsiteY3" fmla="*/ 11165 h 18228"/>
              </a:gdLst>
              <a:ahLst/>
              <a:cxnLst>
                <a:cxn ang="0">
                  <a:pos x="connsiteX0" y="connsiteY0"/>
                </a:cxn>
                <a:cxn ang="0">
                  <a:pos x="connsiteX1" y="connsiteY1"/>
                </a:cxn>
                <a:cxn ang="0">
                  <a:pos x="connsiteX2" y="connsiteY2"/>
                </a:cxn>
                <a:cxn ang="0">
                  <a:pos x="connsiteX3" y="connsiteY3"/>
                </a:cxn>
              </a:cxnLst>
              <a:rect l="l" t="t" r="r" b="b"/>
              <a:pathLst>
                <a:path w="52434" h="18228">
                  <a:moveTo>
                    <a:pt x="52127" y="11076"/>
                  </a:moveTo>
                  <a:cubicBezTo>
                    <a:pt x="35228" y="13401"/>
                    <a:pt x="18419" y="15636"/>
                    <a:pt x="0" y="18229"/>
                  </a:cubicBezTo>
                  <a:cubicBezTo>
                    <a:pt x="9925" y="-11366"/>
                    <a:pt x="29327" y="3566"/>
                    <a:pt x="45332" y="5264"/>
                  </a:cubicBezTo>
                  <a:cubicBezTo>
                    <a:pt x="52306" y="1777"/>
                    <a:pt x="53021" y="5532"/>
                    <a:pt x="52127" y="1116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4" name="Freeform: Shape 203">
              <a:extLst>
                <a:ext uri="{FF2B5EF4-FFF2-40B4-BE49-F238E27FC236}">
                  <a16:creationId xmlns:a16="http://schemas.microsoft.com/office/drawing/2014/main" id="{C1E68440-E994-C444-20CF-18EE9ADAB79E}"/>
                </a:ext>
              </a:extLst>
            </p:cNvPr>
            <p:cNvSpPr/>
            <p:nvPr/>
          </p:nvSpPr>
          <p:spPr>
            <a:xfrm>
              <a:off x="13870967" y="7201450"/>
              <a:ext cx="63869" cy="27110"/>
            </a:xfrm>
            <a:custGeom>
              <a:avLst/>
              <a:gdLst>
                <a:gd name="connsiteX0" fmla="*/ 23962 w 43811"/>
                <a:gd name="connsiteY0" fmla="*/ 0 h 18597"/>
                <a:gd name="connsiteX1" fmla="*/ 43812 w 43811"/>
                <a:gd name="connsiteY1" fmla="*/ 18597 h 18597"/>
                <a:gd name="connsiteX2" fmla="*/ 0 w 43811"/>
                <a:gd name="connsiteY2" fmla="*/ 6169 h 18597"/>
                <a:gd name="connsiteX3" fmla="*/ 23962 w 43811"/>
                <a:gd name="connsiteY3" fmla="*/ 0 h 18597"/>
              </a:gdLst>
              <a:ahLst/>
              <a:cxnLst>
                <a:cxn ang="0">
                  <a:pos x="connsiteX0" y="connsiteY0"/>
                </a:cxn>
                <a:cxn ang="0">
                  <a:pos x="connsiteX1" y="connsiteY1"/>
                </a:cxn>
                <a:cxn ang="0">
                  <a:pos x="connsiteX2" y="connsiteY2"/>
                </a:cxn>
                <a:cxn ang="0">
                  <a:pos x="connsiteX3" y="connsiteY3"/>
                </a:cxn>
              </a:cxnLst>
              <a:rect l="l" t="t" r="r" b="b"/>
              <a:pathLst>
                <a:path w="43811" h="18597">
                  <a:moveTo>
                    <a:pt x="23962" y="0"/>
                  </a:moveTo>
                  <a:cubicBezTo>
                    <a:pt x="33440" y="1609"/>
                    <a:pt x="41934" y="4292"/>
                    <a:pt x="43812" y="18597"/>
                  </a:cubicBezTo>
                  <a:cubicBezTo>
                    <a:pt x="27807" y="14037"/>
                    <a:pt x="13948" y="10103"/>
                    <a:pt x="0" y="6169"/>
                  </a:cubicBezTo>
                  <a:cubicBezTo>
                    <a:pt x="6348" y="-2235"/>
                    <a:pt x="16809" y="5275"/>
                    <a:pt x="2396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5" name="Freeform: Shape 204">
              <a:extLst>
                <a:ext uri="{FF2B5EF4-FFF2-40B4-BE49-F238E27FC236}">
                  <a16:creationId xmlns:a16="http://schemas.microsoft.com/office/drawing/2014/main" id="{7D2E1B45-018F-D07C-A2B2-E727737C7389}"/>
                </a:ext>
              </a:extLst>
            </p:cNvPr>
            <p:cNvSpPr/>
            <p:nvPr/>
          </p:nvSpPr>
          <p:spPr>
            <a:xfrm>
              <a:off x="14376632" y="7237823"/>
              <a:ext cx="35734" cy="35578"/>
            </a:xfrm>
            <a:custGeom>
              <a:avLst/>
              <a:gdLst>
                <a:gd name="connsiteX0" fmla="*/ 17490 w 24512"/>
                <a:gd name="connsiteY0" fmla="*/ 24405 h 24404"/>
                <a:gd name="connsiteX1" fmla="*/ 1396 w 24512"/>
                <a:gd name="connsiteY1" fmla="*/ 13675 h 24404"/>
                <a:gd name="connsiteX2" fmla="*/ 24017 w 24512"/>
                <a:gd name="connsiteY2" fmla="*/ 3214 h 24404"/>
                <a:gd name="connsiteX3" fmla="*/ 17490 w 24512"/>
                <a:gd name="connsiteY3" fmla="*/ 24405 h 24404"/>
              </a:gdLst>
              <a:ahLst/>
              <a:cxnLst>
                <a:cxn ang="0">
                  <a:pos x="connsiteX0" y="connsiteY0"/>
                </a:cxn>
                <a:cxn ang="0">
                  <a:pos x="connsiteX1" y="connsiteY1"/>
                </a:cxn>
                <a:cxn ang="0">
                  <a:pos x="connsiteX2" y="connsiteY2"/>
                </a:cxn>
                <a:cxn ang="0">
                  <a:pos x="connsiteX3" y="connsiteY3"/>
                </a:cxn>
              </a:cxnLst>
              <a:rect l="l" t="t" r="r" b="b"/>
              <a:pathLst>
                <a:path w="24512" h="24404">
                  <a:moveTo>
                    <a:pt x="17490" y="24405"/>
                  </a:moveTo>
                  <a:cubicBezTo>
                    <a:pt x="9800" y="23958"/>
                    <a:pt x="-214" y="20560"/>
                    <a:pt x="1396" y="13675"/>
                  </a:cubicBezTo>
                  <a:cubicBezTo>
                    <a:pt x="-4684" y="-2866"/>
                    <a:pt x="10247" y="-1704"/>
                    <a:pt x="24017" y="3214"/>
                  </a:cubicBezTo>
                  <a:cubicBezTo>
                    <a:pt x="24464" y="11082"/>
                    <a:pt x="26431" y="19398"/>
                    <a:pt x="17490" y="2440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6" name="Freeform: Shape 205">
              <a:extLst>
                <a:ext uri="{FF2B5EF4-FFF2-40B4-BE49-F238E27FC236}">
                  <a16:creationId xmlns:a16="http://schemas.microsoft.com/office/drawing/2014/main" id="{6CD75C52-1955-BBDF-5A6C-BB0E6B5552D0}"/>
                </a:ext>
              </a:extLst>
            </p:cNvPr>
            <p:cNvSpPr/>
            <p:nvPr/>
          </p:nvSpPr>
          <p:spPr>
            <a:xfrm>
              <a:off x="13792237" y="6187218"/>
              <a:ext cx="47706" cy="37836"/>
            </a:xfrm>
            <a:custGeom>
              <a:avLst/>
              <a:gdLst>
                <a:gd name="connsiteX0" fmla="*/ 0 w 32724"/>
                <a:gd name="connsiteY0" fmla="*/ 4 h 25954"/>
                <a:gd name="connsiteX1" fmla="*/ 32724 w 32724"/>
                <a:gd name="connsiteY1" fmla="*/ 25755 h 25954"/>
                <a:gd name="connsiteX2" fmla="*/ 0 w 32724"/>
                <a:gd name="connsiteY2" fmla="*/ 4 h 25954"/>
              </a:gdLst>
              <a:ahLst/>
              <a:cxnLst>
                <a:cxn ang="0">
                  <a:pos x="connsiteX0" y="connsiteY0"/>
                </a:cxn>
                <a:cxn ang="0">
                  <a:pos x="connsiteX1" y="connsiteY1"/>
                </a:cxn>
                <a:cxn ang="0">
                  <a:pos x="connsiteX2" y="connsiteY2"/>
                </a:cxn>
              </a:cxnLst>
              <a:rect l="l" t="t" r="r" b="b"/>
              <a:pathLst>
                <a:path w="32724" h="25954">
                  <a:moveTo>
                    <a:pt x="0" y="4"/>
                  </a:moveTo>
                  <a:cubicBezTo>
                    <a:pt x="17346" y="-264"/>
                    <a:pt x="21280" y="13147"/>
                    <a:pt x="32724" y="25755"/>
                  </a:cubicBezTo>
                  <a:cubicBezTo>
                    <a:pt x="8047" y="28169"/>
                    <a:pt x="9120" y="8051"/>
                    <a:pt x="0" y="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7" name="Freeform: Shape 206">
              <a:extLst>
                <a:ext uri="{FF2B5EF4-FFF2-40B4-BE49-F238E27FC236}">
                  <a16:creationId xmlns:a16="http://schemas.microsoft.com/office/drawing/2014/main" id="{2E9CE7A5-44AF-AD3A-1331-0AC47138511B}"/>
                </a:ext>
              </a:extLst>
            </p:cNvPr>
            <p:cNvSpPr/>
            <p:nvPr/>
          </p:nvSpPr>
          <p:spPr>
            <a:xfrm>
              <a:off x="13962600" y="6283549"/>
              <a:ext cx="50836" cy="33010"/>
            </a:xfrm>
            <a:custGeom>
              <a:avLst/>
              <a:gdLst>
                <a:gd name="connsiteX0" fmla="*/ 20565 w 34870"/>
                <a:gd name="connsiteY0" fmla="*/ 0 h 22644"/>
                <a:gd name="connsiteX1" fmla="*/ 34870 w 34870"/>
                <a:gd name="connsiteY1" fmla="*/ 19402 h 22644"/>
                <a:gd name="connsiteX2" fmla="*/ 21369 w 34870"/>
                <a:gd name="connsiteY2" fmla="*/ 19581 h 22644"/>
                <a:gd name="connsiteX3" fmla="*/ 0 w 34870"/>
                <a:gd name="connsiteY3" fmla="*/ 6974 h 22644"/>
                <a:gd name="connsiteX4" fmla="*/ 20565 w 34870"/>
                <a:gd name="connsiteY4" fmla="*/ 0 h 22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0" h="22644">
                  <a:moveTo>
                    <a:pt x="20565" y="0"/>
                  </a:moveTo>
                  <a:cubicBezTo>
                    <a:pt x="19223" y="10998"/>
                    <a:pt x="33261" y="10640"/>
                    <a:pt x="34870" y="19402"/>
                  </a:cubicBezTo>
                  <a:cubicBezTo>
                    <a:pt x="30400" y="23605"/>
                    <a:pt x="25929" y="23784"/>
                    <a:pt x="21369" y="19581"/>
                  </a:cubicBezTo>
                  <a:cubicBezTo>
                    <a:pt x="14216" y="15379"/>
                    <a:pt x="7063" y="11176"/>
                    <a:pt x="0" y="6974"/>
                  </a:cubicBezTo>
                  <a:cubicBezTo>
                    <a:pt x="3576" y="-5097"/>
                    <a:pt x="14127" y="3398"/>
                    <a:pt x="205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8" name="Freeform: Shape 207">
              <a:extLst>
                <a:ext uri="{FF2B5EF4-FFF2-40B4-BE49-F238E27FC236}">
                  <a16:creationId xmlns:a16="http://schemas.microsoft.com/office/drawing/2014/main" id="{4110DA7F-8C1A-C8BD-5D37-B210A0B2A2BF}"/>
                </a:ext>
              </a:extLst>
            </p:cNvPr>
            <p:cNvSpPr/>
            <p:nvPr/>
          </p:nvSpPr>
          <p:spPr>
            <a:xfrm>
              <a:off x="14435400" y="7219170"/>
              <a:ext cx="42981" cy="18820"/>
            </a:xfrm>
            <a:custGeom>
              <a:avLst/>
              <a:gdLst>
                <a:gd name="connsiteX0" fmla="*/ 29394 w 29483"/>
                <a:gd name="connsiteY0" fmla="*/ 7247 h 12909"/>
                <a:gd name="connsiteX1" fmla="*/ 4270 w 29483"/>
                <a:gd name="connsiteY1" fmla="*/ 12701 h 12909"/>
                <a:gd name="connsiteX2" fmla="*/ 2839 w 29483"/>
                <a:gd name="connsiteY2" fmla="*/ 3044 h 12909"/>
                <a:gd name="connsiteX3" fmla="*/ 29484 w 29483"/>
                <a:gd name="connsiteY3" fmla="*/ 7157 h 12909"/>
              </a:gdLst>
              <a:ahLst/>
              <a:cxnLst>
                <a:cxn ang="0">
                  <a:pos x="connsiteX0" y="connsiteY0"/>
                </a:cxn>
                <a:cxn ang="0">
                  <a:pos x="connsiteX1" y="connsiteY1"/>
                </a:cxn>
                <a:cxn ang="0">
                  <a:pos x="connsiteX2" y="connsiteY2"/>
                </a:cxn>
                <a:cxn ang="0">
                  <a:pos x="connsiteX3" y="connsiteY3"/>
                </a:cxn>
              </a:cxnLst>
              <a:rect l="l" t="t" r="r" b="b"/>
              <a:pathLst>
                <a:path w="29483" h="12909">
                  <a:moveTo>
                    <a:pt x="29394" y="7247"/>
                  </a:moveTo>
                  <a:cubicBezTo>
                    <a:pt x="22420" y="15562"/>
                    <a:pt x="12853" y="12075"/>
                    <a:pt x="4270" y="12701"/>
                  </a:cubicBezTo>
                  <a:cubicBezTo>
                    <a:pt x="-1810" y="10287"/>
                    <a:pt x="-559" y="5011"/>
                    <a:pt x="2839" y="3044"/>
                  </a:cubicBezTo>
                  <a:cubicBezTo>
                    <a:pt x="12317" y="-2499"/>
                    <a:pt x="21437" y="-85"/>
                    <a:pt x="29484" y="71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09" name="Freeform: Shape 208">
              <a:extLst>
                <a:ext uri="{FF2B5EF4-FFF2-40B4-BE49-F238E27FC236}">
                  <a16:creationId xmlns:a16="http://schemas.microsoft.com/office/drawing/2014/main" id="{200A1F69-F49A-A150-AAB6-715F4DB199BD}"/>
                </a:ext>
              </a:extLst>
            </p:cNvPr>
            <p:cNvSpPr/>
            <p:nvPr/>
          </p:nvSpPr>
          <p:spPr>
            <a:xfrm>
              <a:off x="13831601" y="7178026"/>
              <a:ext cx="34932" cy="13385"/>
            </a:xfrm>
            <a:custGeom>
              <a:avLst/>
              <a:gdLst>
                <a:gd name="connsiteX0" fmla="*/ 23962 w 23962"/>
                <a:gd name="connsiteY0" fmla="*/ 3012 h 9181"/>
                <a:gd name="connsiteX1" fmla="*/ 0 w 23962"/>
                <a:gd name="connsiteY1" fmla="*/ 9181 h 9181"/>
                <a:gd name="connsiteX2" fmla="*/ 23962 w 23962"/>
                <a:gd name="connsiteY2" fmla="*/ 3012 h 9181"/>
              </a:gdLst>
              <a:ahLst/>
              <a:cxnLst>
                <a:cxn ang="0">
                  <a:pos x="connsiteX0" y="connsiteY0"/>
                </a:cxn>
                <a:cxn ang="0">
                  <a:pos x="connsiteX1" y="connsiteY1"/>
                </a:cxn>
                <a:cxn ang="0">
                  <a:pos x="connsiteX2" y="connsiteY2"/>
                </a:cxn>
              </a:cxnLst>
              <a:rect l="l" t="t" r="r" b="b"/>
              <a:pathLst>
                <a:path w="23962" h="9181">
                  <a:moveTo>
                    <a:pt x="23962" y="3012"/>
                  </a:moveTo>
                  <a:cubicBezTo>
                    <a:pt x="17524" y="10970"/>
                    <a:pt x="7510" y="5158"/>
                    <a:pt x="0" y="9181"/>
                  </a:cubicBezTo>
                  <a:cubicBezTo>
                    <a:pt x="4560" y="-6198"/>
                    <a:pt x="15200" y="2207"/>
                    <a:pt x="23962" y="301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0" name="Freeform: Shape 209">
              <a:extLst>
                <a:ext uri="{FF2B5EF4-FFF2-40B4-BE49-F238E27FC236}">
                  <a16:creationId xmlns:a16="http://schemas.microsoft.com/office/drawing/2014/main" id="{86E99C8D-E1D8-7AB5-3D22-A90365B6C73C}"/>
                </a:ext>
              </a:extLst>
            </p:cNvPr>
            <p:cNvSpPr/>
            <p:nvPr/>
          </p:nvSpPr>
          <p:spPr>
            <a:xfrm>
              <a:off x="13682771" y="7151788"/>
              <a:ext cx="26583" cy="22518"/>
            </a:xfrm>
            <a:custGeom>
              <a:avLst/>
              <a:gdLst>
                <a:gd name="connsiteX0" fmla="*/ 12143 w 18235"/>
                <a:gd name="connsiteY0" fmla="*/ 0 h 15446"/>
                <a:gd name="connsiteX1" fmla="*/ 13841 w 18235"/>
                <a:gd name="connsiteY1" fmla="*/ 14395 h 15446"/>
                <a:gd name="connsiteX2" fmla="*/ 341 w 18235"/>
                <a:gd name="connsiteY2" fmla="*/ 626 h 15446"/>
                <a:gd name="connsiteX3" fmla="*/ 12232 w 18235"/>
                <a:gd name="connsiteY3" fmla="*/ 0 h 15446"/>
              </a:gdLst>
              <a:ahLst/>
              <a:cxnLst>
                <a:cxn ang="0">
                  <a:pos x="connsiteX0" y="connsiteY0"/>
                </a:cxn>
                <a:cxn ang="0">
                  <a:pos x="connsiteX1" y="connsiteY1"/>
                </a:cxn>
                <a:cxn ang="0">
                  <a:pos x="connsiteX2" y="connsiteY2"/>
                </a:cxn>
                <a:cxn ang="0">
                  <a:pos x="connsiteX3" y="connsiteY3"/>
                </a:cxn>
              </a:cxnLst>
              <a:rect l="l" t="t" r="r" b="b"/>
              <a:pathLst>
                <a:path w="18235" h="15446">
                  <a:moveTo>
                    <a:pt x="12143" y="0"/>
                  </a:moveTo>
                  <a:cubicBezTo>
                    <a:pt x="15272" y="4650"/>
                    <a:pt x="23140" y="10908"/>
                    <a:pt x="13841" y="14395"/>
                  </a:cubicBezTo>
                  <a:cubicBezTo>
                    <a:pt x="3917" y="18151"/>
                    <a:pt x="-1448" y="11445"/>
                    <a:pt x="341" y="626"/>
                  </a:cubicBezTo>
                  <a:cubicBezTo>
                    <a:pt x="4275" y="447"/>
                    <a:pt x="8209" y="179"/>
                    <a:pt x="1223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1" name="Freeform: Shape 210">
              <a:extLst>
                <a:ext uri="{FF2B5EF4-FFF2-40B4-BE49-F238E27FC236}">
                  <a16:creationId xmlns:a16="http://schemas.microsoft.com/office/drawing/2014/main" id="{5783DF9F-044F-7F12-AF46-3D995C7299B8}"/>
                </a:ext>
              </a:extLst>
            </p:cNvPr>
            <p:cNvSpPr/>
            <p:nvPr/>
          </p:nvSpPr>
          <p:spPr>
            <a:xfrm>
              <a:off x="14156290" y="4107007"/>
              <a:ext cx="191352" cy="528364"/>
            </a:xfrm>
            <a:custGeom>
              <a:avLst/>
              <a:gdLst>
                <a:gd name="connsiteX0" fmla="*/ 104346 w 131259"/>
                <a:gd name="connsiteY0" fmla="*/ 348271 h 362433"/>
                <a:gd name="connsiteX1" fmla="*/ 90845 w 131259"/>
                <a:gd name="connsiteY1" fmla="*/ 358285 h 362433"/>
                <a:gd name="connsiteX2" fmla="*/ 79490 w 131259"/>
                <a:gd name="connsiteY2" fmla="*/ 338972 h 362433"/>
                <a:gd name="connsiteX3" fmla="*/ 35142 w 131259"/>
                <a:gd name="connsiteY3" fmla="*/ 199758 h 362433"/>
                <a:gd name="connsiteX4" fmla="*/ 33890 w 131259"/>
                <a:gd name="connsiteY4" fmla="*/ 196897 h 362433"/>
                <a:gd name="connsiteX5" fmla="*/ 3 w 131259"/>
                <a:gd name="connsiteY5" fmla="*/ 59740 h 362433"/>
                <a:gd name="connsiteX6" fmla="*/ 3848 w 131259"/>
                <a:gd name="connsiteY6" fmla="*/ 9937 h 362433"/>
                <a:gd name="connsiteX7" fmla="*/ 18691 w 131259"/>
                <a:gd name="connsiteY7" fmla="*/ 13 h 362433"/>
                <a:gd name="connsiteX8" fmla="*/ 25038 w 131259"/>
                <a:gd name="connsiteY8" fmla="*/ 11994 h 362433"/>
                <a:gd name="connsiteX9" fmla="*/ 39523 w 131259"/>
                <a:gd name="connsiteY9" fmla="*/ 39175 h 362433"/>
                <a:gd name="connsiteX10" fmla="*/ 49716 w 131259"/>
                <a:gd name="connsiteY10" fmla="*/ 57415 h 362433"/>
                <a:gd name="connsiteX11" fmla="*/ 86107 w 131259"/>
                <a:gd name="connsiteY11" fmla="*/ 161311 h 362433"/>
                <a:gd name="connsiteX12" fmla="*/ 131259 w 131259"/>
                <a:gd name="connsiteY12" fmla="*/ 232125 h 362433"/>
                <a:gd name="connsiteX13" fmla="*/ 89951 w 131259"/>
                <a:gd name="connsiteY13" fmla="*/ 220233 h 362433"/>
                <a:gd name="connsiteX14" fmla="*/ 83066 w 131259"/>
                <a:gd name="connsiteY14" fmla="*/ 259753 h 362433"/>
                <a:gd name="connsiteX15" fmla="*/ 117580 w 131259"/>
                <a:gd name="connsiteY15" fmla="*/ 335038 h 362433"/>
                <a:gd name="connsiteX16" fmla="*/ 104257 w 131259"/>
                <a:gd name="connsiteY16" fmla="*/ 348092 h 36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259" h="362433">
                  <a:moveTo>
                    <a:pt x="104346" y="348271"/>
                  </a:moveTo>
                  <a:cubicBezTo>
                    <a:pt x="101843" y="354530"/>
                    <a:pt x="105151" y="369730"/>
                    <a:pt x="90845" y="358285"/>
                  </a:cubicBezTo>
                  <a:cubicBezTo>
                    <a:pt x="85302" y="353814"/>
                    <a:pt x="80116" y="345857"/>
                    <a:pt x="79490" y="338972"/>
                  </a:cubicBezTo>
                  <a:cubicBezTo>
                    <a:pt x="74662" y="289259"/>
                    <a:pt x="58389" y="243480"/>
                    <a:pt x="35142" y="199758"/>
                  </a:cubicBezTo>
                  <a:cubicBezTo>
                    <a:pt x="34606" y="198775"/>
                    <a:pt x="33622" y="197434"/>
                    <a:pt x="33890" y="196897"/>
                  </a:cubicBezTo>
                  <a:cubicBezTo>
                    <a:pt x="64201" y="140747"/>
                    <a:pt x="-533" y="108201"/>
                    <a:pt x="3" y="59740"/>
                  </a:cubicBezTo>
                  <a:cubicBezTo>
                    <a:pt x="182" y="43288"/>
                    <a:pt x="11269" y="27730"/>
                    <a:pt x="3848" y="9937"/>
                  </a:cubicBezTo>
                  <a:cubicBezTo>
                    <a:pt x="2596" y="6897"/>
                    <a:pt x="11537" y="-345"/>
                    <a:pt x="18691" y="13"/>
                  </a:cubicBezTo>
                  <a:cubicBezTo>
                    <a:pt x="26290" y="370"/>
                    <a:pt x="26111" y="6450"/>
                    <a:pt x="25038" y="11994"/>
                  </a:cubicBezTo>
                  <a:cubicBezTo>
                    <a:pt x="22535" y="25048"/>
                    <a:pt x="31655" y="31754"/>
                    <a:pt x="39523" y="39175"/>
                  </a:cubicBezTo>
                  <a:cubicBezTo>
                    <a:pt x="44799" y="44182"/>
                    <a:pt x="53024" y="48027"/>
                    <a:pt x="49716" y="57415"/>
                  </a:cubicBezTo>
                  <a:cubicBezTo>
                    <a:pt x="34606" y="101227"/>
                    <a:pt x="74662" y="126441"/>
                    <a:pt x="86107" y="161311"/>
                  </a:cubicBezTo>
                  <a:cubicBezTo>
                    <a:pt x="93975" y="185184"/>
                    <a:pt x="96121" y="214511"/>
                    <a:pt x="131259" y="232125"/>
                  </a:cubicBezTo>
                  <a:cubicBezTo>
                    <a:pt x="108102" y="232125"/>
                    <a:pt x="101038" y="211829"/>
                    <a:pt x="89951" y="220233"/>
                  </a:cubicBezTo>
                  <a:cubicBezTo>
                    <a:pt x="78149" y="229175"/>
                    <a:pt x="80295" y="245895"/>
                    <a:pt x="83066" y="259753"/>
                  </a:cubicBezTo>
                  <a:cubicBezTo>
                    <a:pt x="88610" y="287471"/>
                    <a:pt x="95852" y="314652"/>
                    <a:pt x="117580" y="335038"/>
                  </a:cubicBezTo>
                  <a:cubicBezTo>
                    <a:pt x="121692" y="348003"/>
                    <a:pt x="107566" y="342638"/>
                    <a:pt x="104257" y="34809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2" name="Freeform: Shape 211">
              <a:extLst>
                <a:ext uri="{FF2B5EF4-FFF2-40B4-BE49-F238E27FC236}">
                  <a16:creationId xmlns:a16="http://schemas.microsoft.com/office/drawing/2014/main" id="{B8206D07-F303-B375-3EF4-238BA275C8AD}"/>
                </a:ext>
              </a:extLst>
            </p:cNvPr>
            <p:cNvSpPr/>
            <p:nvPr/>
          </p:nvSpPr>
          <p:spPr>
            <a:xfrm>
              <a:off x="14325616" y="4620199"/>
              <a:ext cx="38020" cy="24472"/>
            </a:xfrm>
            <a:custGeom>
              <a:avLst/>
              <a:gdLst>
                <a:gd name="connsiteX0" fmla="*/ 0 w 26080"/>
                <a:gd name="connsiteY0" fmla="*/ 13054 h 16786"/>
                <a:gd name="connsiteX1" fmla="*/ 13322 w 26080"/>
                <a:gd name="connsiteY1" fmla="*/ 0 h 16786"/>
                <a:gd name="connsiteX2" fmla="*/ 26019 w 26080"/>
                <a:gd name="connsiteY2" fmla="*/ 16273 h 16786"/>
                <a:gd name="connsiteX3" fmla="*/ 89 w 26080"/>
                <a:gd name="connsiteY3" fmla="*/ 13144 h 16786"/>
              </a:gdLst>
              <a:ahLst/>
              <a:cxnLst>
                <a:cxn ang="0">
                  <a:pos x="connsiteX0" y="connsiteY0"/>
                </a:cxn>
                <a:cxn ang="0">
                  <a:pos x="connsiteX1" y="connsiteY1"/>
                </a:cxn>
                <a:cxn ang="0">
                  <a:pos x="connsiteX2" y="connsiteY2"/>
                </a:cxn>
                <a:cxn ang="0">
                  <a:pos x="connsiteX3" y="connsiteY3"/>
                </a:cxn>
              </a:cxnLst>
              <a:rect l="l" t="t" r="r" b="b"/>
              <a:pathLst>
                <a:path w="26080" h="16786">
                  <a:moveTo>
                    <a:pt x="0" y="13054"/>
                  </a:moveTo>
                  <a:cubicBezTo>
                    <a:pt x="4471" y="8673"/>
                    <a:pt x="8852" y="4292"/>
                    <a:pt x="13322" y="0"/>
                  </a:cubicBezTo>
                  <a:cubicBezTo>
                    <a:pt x="21101" y="2325"/>
                    <a:pt x="26734" y="6348"/>
                    <a:pt x="26019" y="16273"/>
                  </a:cubicBezTo>
                  <a:cubicBezTo>
                    <a:pt x="16809" y="19492"/>
                    <a:pt x="9388" y="6259"/>
                    <a:pt x="89" y="131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3" name="Freeform: Shape 212">
              <a:extLst>
                <a:ext uri="{FF2B5EF4-FFF2-40B4-BE49-F238E27FC236}">
                  <a16:creationId xmlns:a16="http://schemas.microsoft.com/office/drawing/2014/main" id="{5ED03448-BE84-C9E8-0FE5-77DB4D3C03A2}"/>
                </a:ext>
              </a:extLst>
            </p:cNvPr>
            <p:cNvSpPr/>
            <p:nvPr/>
          </p:nvSpPr>
          <p:spPr>
            <a:xfrm>
              <a:off x="3585201" y="4505776"/>
              <a:ext cx="183265" cy="125569"/>
            </a:xfrm>
            <a:custGeom>
              <a:avLst/>
              <a:gdLst>
                <a:gd name="connsiteX0" fmla="*/ 84941 w 125712"/>
                <a:gd name="connsiteY0" fmla="*/ 23680 h 86134"/>
                <a:gd name="connsiteX1" fmla="*/ 125713 w 125712"/>
                <a:gd name="connsiteY1" fmla="*/ 55511 h 86134"/>
                <a:gd name="connsiteX2" fmla="*/ 92452 w 125712"/>
                <a:gd name="connsiteY2" fmla="*/ 83496 h 86134"/>
                <a:gd name="connsiteX3" fmla="*/ 31473 w 125712"/>
                <a:gd name="connsiteY3" fmla="*/ 30028 h 86134"/>
                <a:gd name="connsiteX4" fmla="*/ 8315 w 125712"/>
                <a:gd name="connsiteY4" fmla="*/ 20819 h 86134"/>
                <a:gd name="connsiteX5" fmla="*/ 0 w 125712"/>
                <a:gd name="connsiteY5" fmla="*/ 9911 h 86134"/>
                <a:gd name="connsiteX6" fmla="*/ 20654 w 125712"/>
                <a:gd name="connsiteY6" fmla="*/ 3384 h 86134"/>
                <a:gd name="connsiteX7" fmla="*/ 20654 w 125712"/>
                <a:gd name="connsiteY7" fmla="*/ 3384 h 86134"/>
                <a:gd name="connsiteX8" fmla="*/ 84941 w 125712"/>
                <a:gd name="connsiteY8" fmla="*/ 23680 h 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12" h="86134">
                  <a:moveTo>
                    <a:pt x="84941" y="23680"/>
                  </a:moveTo>
                  <a:cubicBezTo>
                    <a:pt x="95760" y="37807"/>
                    <a:pt x="103807" y="55511"/>
                    <a:pt x="125713" y="55511"/>
                  </a:cubicBezTo>
                  <a:cubicBezTo>
                    <a:pt x="125534" y="81914"/>
                    <a:pt x="114447" y="91248"/>
                    <a:pt x="92452" y="83496"/>
                  </a:cubicBezTo>
                  <a:cubicBezTo>
                    <a:pt x="62767" y="76343"/>
                    <a:pt x="53021" y="46480"/>
                    <a:pt x="31473" y="30028"/>
                  </a:cubicBezTo>
                  <a:cubicBezTo>
                    <a:pt x="24320" y="25379"/>
                    <a:pt x="13501" y="30207"/>
                    <a:pt x="8315" y="20819"/>
                  </a:cubicBezTo>
                  <a:cubicBezTo>
                    <a:pt x="5543" y="17153"/>
                    <a:pt x="2772" y="13577"/>
                    <a:pt x="0" y="9911"/>
                  </a:cubicBezTo>
                  <a:cubicBezTo>
                    <a:pt x="2951" y="-4842"/>
                    <a:pt x="12160" y="433"/>
                    <a:pt x="20654" y="3384"/>
                  </a:cubicBezTo>
                  <a:lnTo>
                    <a:pt x="20654" y="3384"/>
                  </a:lnTo>
                  <a:cubicBezTo>
                    <a:pt x="42113" y="10179"/>
                    <a:pt x="63482" y="16885"/>
                    <a:pt x="84941" y="236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4" name="Freeform: Shape 213">
              <a:extLst>
                <a:ext uri="{FF2B5EF4-FFF2-40B4-BE49-F238E27FC236}">
                  <a16:creationId xmlns:a16="http://schemas.microsoft.com/office/drawing/2014/main" id="{57672619-5798-E522-A9E6-04DB8AC86F0D}"/>
                </a:ext>
              </a:extLst>
            </p:cNvPr>
            <p:cNvSpPr/>
            <p:nvPr/>
          </p:nvSpPr>
          <p:spPr>
            <a:xfrm>
              <a:off x="2512434" y="4065886"/>
              <a:ext cx="111201" cy="66811"/>
            </a:xfrm>
            <a:custGeom>
              <a:avLst/>
              <a:gdLst>
                <a:gd name="connsiteX0" fmla="*/ 76279 w 76279"/>
                <a:gd name="connsiteY0" fmla="*/ 5956 h 45830"/>
                <a:gd name="connsiteX1" fmla="*/ 11098 w 76279"/>
                <a:gd name="connsiteY1" fmla="*/ 41809 h 45830"/>
                <a:gd name="connsiteX2" fmla="*/ 101 w 76279"/>
                <a:gd name="connsiteY2" fmla="*/ 28845 h 45830"/>
                <a:gd name="connsiteX3" fmla="*/ 10651 w 76279"/>
                <a:gd name="connsiteY3" fmla="*/ 19188 h 45830"/>
                <a:gd name="connsiteX4" fmla="*/ 44270 w 76279"/>
                <a:gd name="connsiteY4" fmla="*/ 3184 h 45830"/>
                <a:gd name="connsiteX5" fmla="*/ 76279 w 76279"/>
                <a:gd name="connsiteY5" fmla="*/ 5956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79" h="45830">
                  <a:moveTo>
                    <a:pt x="76279" y="5956"/>
                  </a:moveTo>
                  <a:cubicBezTo>
                    <a:pt x="65907" y="41094"/>
                    <a:pt x="44270" y="52897"/>
                    <a:pt x="11098" y="41809"/>
                  </a:cubicBezTo>
                  <a:cubicBezTo>
                    <a:pt x="4392" y="39574"/>
                    <a:pt x="-794" y="35998"/>
                    <a:pt x="101" y="28845"/>
                  </a:cubicBezTo>
                  <a:cubicBezTo>
                    <a:pt x="726" y="23838"/>
                    <a:pt x="6002" y="17043"/>
                    <a:pt x="10651" y="19188"/>
                  </a:cubicBezTo>
                  <a:cubicBezTo>
                    <a:pt x="29338" y="27951"/>
                    <a:pt x="32020" y="6045"/>
                    <a:pt x="44270" y="3184"/>
                  </a:cubicBezTo>
                  <a:cubicBezTo>
                    <a:pt x="55178" y="1127"/>
                    <a:pt x="66355" y="-4059"/>
                    <a:pt x="76279" y="595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5" name="Freeform: Shape 214">
              <a:extLst>
                <a:ext uri="{FF2B5EF4-FFF2-40B4-BE49-F238E27FC236}">
                  <a16:creationId xmlns:a16="http://schemas.microsoft.com/office/drawing/2014/main" id="{3791AD09-EE4F-A420-0319-B0AB2432F718}"/>
                </a:ext>
              </a:extLst>
            </p:cNvPr>
            <p:cNvSpPr/>
            <p:nvPr/>
          </p:nvSpPr>
          <p:spPr>
            <a:xfrm>
              <a:off x="3466715" y="4267482"/>
              <a:ext cx="46646" cy="70386"/>
            </a:xfrm>
            <a:custGeom>
              <a:avLst/>
              <a:gdLst>
                <a:gd name="connsiteX0" fmla="*/ 23962 w 31997"/>
                <a:gd name="connsiteY0" fmla="*/ 48282 h 48282"/>
                <a:gd name="connsiteX1" fmla="*/ 0 w 31997"/>
                <a:gd name="connsiteY1" fmla="*/ 0 h 48282"/>
                <a:gd name="connsiteX2" fmla="*/ 29774 w 31997"/>
                <a:gd name="connsiteY2" fmla="*/ 28791 h 48282"/>
                <a:gd name="connsiteX3" fmla="*/ 23962 w 31997"/>
                <a:gd name="connsiteY3" fmla="*/ 48193 h 48282"/>
              </a:gdLst>
              <a:ahLst/>
              <a:cxnLst>
                <a:cxn ang="0">
                  <a:pos x="connsiteX0" y="connsiteY0"/>
                </a:cxn>
                <a:cxn ang="0">
                  <a:pos x="connsiteX1" y="connsiteY1"/>
                </a:cxn>
                <a:cxn ang="0">
                  <a:pos x="connsiteX2" y="connsiteY2"/>
                </a:cxn>
                <a:cxn ang="0">
                  <a:pos x="connsiteX3" y="connsiteY3"/>
                </a:cxn>
              </a:cxnLst>
              <a:rect l="l" t="t" r="r" b="b"/>
              <a:pathLst>
                <a:path w="31997" h="48282">
                  <a:moveTo>
                    <a:pt x="23962" y="48282"/>
                  </a:moveTo>
                  <a:cubicBezTo>
                    <a:pt x="-6438" y="44348"/>
                    <a:pt x="11534" y="15021"/>
                    <a:pt x="0" y="0"/>
                  </a:cubicBezTo>
                  <a:cubicBezTo>
                    <a:pt x="12518" y="7242"/>
                    <a:pt x="39967" y="-2772"/>
                    <a:pt x="29774" y="28791"/>
                  </a:cubicBezTo>
                  <a:cubicBezTo>
                    <a:pt x="27539" y="35139"/>
                    <a:pt x="29148" y="42739"/>
                    <a:pt x="23962" y="481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6" name="Freeform: Shape 215">
              <a:extLst>
                <a:ext uri="{FF2B5EF4-FFF2-40B4-BE49-F238E27FC236}">
                  <a16:creationId xmlns:a16="http://schemas.microsoft.com/office/drawing/2014/main" id="{0BC6D62D-2818-E142-291A-52FF87020618}"/>
                </a:ext>
              </a:extLst>
            </p:cNvPr>
            <p:cNvSpPr/>
            <p:nvPr/>
          </p:nvSpPr>
          <p:spPr>
            <a:xfrm>
              <a:off x="3351195" y="3960091"/>
              <a:ext cx="42532" cy="48000"/>
            </a:xfrm>
            <a:custGeom>
              <a:avLst/>
              <a:gdLst>
                <a:gd name="connsiteX0" fmla="*/ 12630 w 29175"/>
                <a:gd name="connsiteY0" fmla="*/ 291 h 32926"/>
                <a:gd name="connsiteX1" fmla="*/ 29171 w 29175"/>
                <a:gd name="connsiteY1" fmla="*/ 3599 h 32926"/>
                <a:gd name="connsiteX2" fmla="*/ 11736 w 29175"/>
                <a:gd name="connsiteY2" fmla="*/ 32926 h 32926"/>
                <a:gd name="connsiteX3" fmla="*/ 12630 w 29175"/>
                <a:gd name="connsiteY3" fmla="*/ 291 h 32926"/>
              </a:gdLst>
              <a:ahLst/>
              <a:cxnLst>
                <a:cxn ang="0">
                  <a:pos x="connsiteX0" y="connsiteY0"/>
                </a:cxn>
                <a:cxn ang="0">
                  <a:pos x="connsiteX1" y="connsiteY1"/>
                </a:cxn>
                <a:cxn ang="0">
                  <a:pos x="connsiteX2" y="connsiteY2"/>
                </a:cxn>
                <a:cxn ang="0">
                  <a:pos x="connsiteX3" y="connsiteY3"/>
                </a:cxn>
              </a:cxnLst>
              <a:rect l="l" t="t" r="r" b="b"/>
              <a:pathLst>
                <a:path w="29175" h="32926">
                  <a:moveTo>
                    <a:pt x="12630" y="291"/>
                  </a:moveTo>
                  <a:cubicBezTo>
                    <a:pt x="18531" y="917"/>
                    <a:pt x="29439" y="-2212"/>
                    <a:pt x="29171" y="3599"/>
                  </a:cubicBezTo>
                  <a:cubicBezTo>
                    <a:pt x="28635" y="15044"/>
                    <a:pt x="25416" y="27919"/>
                    <a:pt x="11736" y="32926"/>
                  </a:cubicBezTo>
                  <a:cubicBezTo>
                    <a:pt x="-6593" y="21571"/>
                    <a:pt x="-1229" y="10752"/>
                    <a:pt x="12630" y="2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7" name="Freeform: Shape 216">
              <a:extLst>
                <a:ext uri="{FF2B5EF4-FFF2-40B4-BE49-F238E27FC236}">
                  <a16:creationId xmlns:a16="http://schemas.microsoft.com/office/drawing/2014/main" id="{4A731008-9A5D-AAF1-CCB2-E515CCCDFA6F}"/>
                </a:ext>
              </a:extLst>
            </p:cNvPr>
            <p:cNvSpPr/>
            <p:nvPr/>
          </p:nvSpPr>
          <p:spPr>
            <a:xfrm>
              <a:off x="3394766" y="4016083"/>
              <a:ext cx="32977" cy="46222"/>
            </a:xfrm>
            <a:custGeom>
              <a:avLst/>
              <a:gdLst>
                <a:gd name="connsiteX0" fmla="*/ 0 w 22621"/>
                <a:gd name="connsiteY0" fmla="*/ 5338 h 31705"/>
                <a:gd name="connsiteX1" fmla="*/ 22621 w 22621"/>
                <a:gd name="connsiteY1" fmla="*/ 18393 h 31705"/>
                <a:gd name="connsiteX2" fmla="*/ 2593 w 22621"/>
                <a:gd name="connsiteY2" fmla="*/ 24115 h 31705"/>
                <a:gd name="connsiteX3" fmla="*/ 89 w 22621"/>
                <a:gd name="connsiteY3" fmla="*/ 5338 h 31705"/>
              </a:gdLst>
              <a:ahLst/>
              <a:cxnLst>
                <a:cxn ang="0">
                  <a:pos x="connsiteX0" y="connsiteY0"/>
                </a:cxn>
                <a:cxn ang="0">
                  <a:pos x="connsiteX1" y="connsiteY1"/>
                </a:cxn>
                <a:cxn ang="0">
                  <a:pos x="connsiteX2" y="connsiteY2"/>
                </a:cxn>
                <a:cxn ang="0">
                  <a:pos x="connsiteX3" y="connsiteY3"/>
                </a:cxn>
              </a:cxnLst>
              <a:rect l="l" t="t" r="r" b="b"/>
              <a:pathLst>
                <a:path w="22621" h="31705">
                  <a:moveTo>
                    <a:pt x="0" y="5338"/>
                  </a:moveTo>
                  <a:cubicBezTo>
                    <a:pt x="18508" y="-9236"/>
                    <a:pt x="17525" y="9720"/>
                    <a:pt x="22621" y="18393"/>
                  </a:cubicBezTo>
                  <a:cubicBezTo>
                    <a:pt x="19134" y="31894"/>
                    <a:pt x="11892" y="37348"/>
                    <a:pt x="2593" y="24115"/>
                  </a:cubicBezTo>
                  <a:cubicBezTo>
                    <a:pt x="715" y="21522"/>
                    <a:pt x="5275" y="11418"/>
                    <a:pt x="89" y="53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8" name="Freeform: Shape 217">
              <a:extLst>
                <a:ext uri="{FF2B5EF4-FFF2-40B4-BE49-F238E27FC236}">
                  <a16:creationId xmlns:a16="http://schemas.microsoft.com/office/drawing/2014/main" id="{7914BA3C-03AF-BC05-8423-561613D8F6C9}"/>
                </a:ext>
              </a:extLst>
            </p:cNvPr>
            <p:cNvSpPr/>
            <p:nvPr/>
          </p:nvSpPr>
          <p:spPr>
            <a:xfrm>
              <a:off x="2596002" y="4006043"/>
              <a:ext cx="55658" cy="35369"/>
            </a:xfrm>
            <a:custGeom>
              <a:avLst/>
              <a:gdLst>
                <a:gd name="connsiteX0" fmla="*/ 0 w 38178"/>
                <a:gd name="connsiteY0" fmla="*/ 23758 h 24261"/>
                <a:gd name="connsiteX1" fmla="*/ 38179 w 38178"/>
                <a:gd name="connsiteY1" fmla="*/ 869 h 24261"/>
                <a:gd name="connsiteX2" fmla="*/ 0 w 38178"/>
                <a:gd name="connsiteY2" fmla="*/ 23758 h 24261"/>
              </a:gdLst>
              <a:ahLst/>
              <a:cxnLst>
                <a:cxn ang="0">
                  <a:pos x="connsiteX0" y="connsiteY0"/>
                </a:cxn>
                <a:cxn ang="0">
                  <a:pos x="connsiteX1" y="connsiteY1"/>
                </a:cxn>
                <a:cxn ang="0">
                  <a:pos x="connsiteX2" y="connsiteY2"/>
                </a:cxn>
              </a:cxnLst>
              <a:rect l="l" t="t" r="r" b="b"/>
              <a:pathLst>
                <a:path w="38178" h="24261">
                  <a:moveTo>
                    <a:pt x="0" y="23758"/>
                  </a:moveTo>
                  <a:cubicBezTo>
                    <a:pt x="11624" y="12403"/>
                    <a:pt x="16452" y="-3960"/>
                    <a:pt x="38179" y="869"/>
                  </a:cubicBezTo>
                  <a:cubicBezTo>
                    <a:pt x="28254" y="13476"/>
                    <a:pt x="21638" y="27066"/>
                    <a:pt x="0" y="2375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19" name="Freeform: Shape 218">
              <a:extLst>
                <a:ext uri="{FF2B5EF4-FFF2-40B4-BE49-F238E27FC236}">
                  <a16:creationId xmlns:a16="http://schemas.microsoft.com/office/drawing/2014/main" id="{356E62DA-5E00-2538-9BFC-9431C154BDB1}"/>
                </a:ext>
              </a:extLst>
            </p:cNvPr>
            <p:cNvSpPr/>
            <p:nvPr/>
          </p:nvSpPr>
          <p:spPr>
            <a:xfrm>
              <a:off x="14588576" y="8421231"/>
              <a:ext cx="89494" cy="38321"/>
            </a:xfrm>
            <a:custGeom>
              <a:avLst/>
              <a:gdLst>
                <a:gd name="connsiteX0" fmla="*/ 33225 w 61389"/>
                <a:gd name="connsiteY0" fmla="*/ 268 h 26287"/>
                <a:gd name="connsiteX1" fmla="*/ 61390 w 61389"/>
                <a:gd name="connsiteY1" fmla="*/ 12249 h 26287"/>
                <a:gd name="connsiteX2" fmla="*/ 42256 w 61389"/>
                <a:gd name="connsiteY2" fmla="*/ 26019 h 26287"/>
                <a:gd name="connsiteX3" fmla="*/ 9531 w 61389"/>
                <a:gd name="connsiteY3" fmla="*/ 26287 h 26287"/>
                <a:gd name="connsiteX4" fmla="*/ 3004 w 61389"/>
                <a:gd name="connsiteY4" fmla="*/ 10998 h 26287"/>
                <a:gd name="connsiteX5" fmla="*/ 32152 w 61389"/>
                <a:gd name="connsiteY5" fmla="*/ 0 h 26287"/>
                <a:gd name="connsiteX6" fmla="*/ 33315 w 61389"/>
                <a:gd name="connsiteY6" fmla="*/ 268 h 2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9" h="26287">
                  <a:moveTo>
                    <a:pt x="33225" y="268"/>
                  </a:moveTo>
                  <a:cubicBezTo>
                    <a:pt x="40914" y="8226"/>
                    <a:pt x="56114" y="-1609"/>
                    <a:pt x="61390" y="12249"/>
                  </a:cubicBezTo>
                  <a:cubicBezTo>
                    <a:pt x="55042" y="16809"/>
                    <a:pt x="48604" y="21459"/>
                    <a:pt x="42256" y="26019"/>
                  </a:cubicBezTo>
                  <a:cubicBezTo>
                    <a:pt x="31347" y="26108"/>
                    <a:pt x="20439" y="26198"/>
                    <a:pt x="9531" y="26287"/>
                  </a:cubicBezTo>
                  <a:cubicBezTo>
                    <a:pt x="6670" y="21459"/>
                    <a:pt x="-5580" y="20654"/>
                    <a:pt x="3004" y="10998"/>
                  </a:cubicBezTo>
                  <a:cubicBezTo>
                    <a:pt x="9889" y="0"/>
                    <a:pt x="22675" y="4292"/>
                    <a:pt x="32152" y="0"/>
                  </a:cubicBezTo>
                  <a:lnTo>
                    <a:pt x="33315" y="268"/>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0" name="Freeform: Shape 219">
              <a:extLst>
                <a:ext uri="{FF2B5EF4-FFF2-40B4-BE49-F238E27FC236}">
                  <a16:creationId xmlns:a16="http://schemas.microsoft.com/office/drawing/2014/main" id="{05784A7F-ED6F-4BBB-88A9-9A985B77E140}"/>
                </a:ext>
              </a:extLst>
            </p:cNvPr>
            <p:cNvSpPr/>
            <p:nvPr/>
          </p:nvSpPr>
          <p:spPr>
            <a:xfrm>
              <a:off x="15856087" y="8704473"/>
              <a:ext cx="430324" cy="399705"/>
            </a:xfrm>
            <a:custGeom>
              <a:avLst/>
              <a:gdLst>
                <a:gd name="connsiteX0" fmla="*/ 146226 w 295182"/>
                <a:gd name="connsiteY0" fmla="*/ 239802 h 274179"/>
                <a:gd name="connsiteX1" fmla="*/ 125660 w 295182"/>
                <a:gd name="connsiteY1" fmla="*/ 256522 h 274179"/>
                <a:gd name="connsiteX2" fmla="*/ 113322 w 295182"/>
                <a:gd name="connsiteY2" fmla="*/ 273510 h 274179"/>
                <a:gd name="connsiteX3" fmla="*/ 113322 w 295182"/>
                <a:gd name="connsiteY3" fmla="*/ 273510 h 274179"/>
                <a:gd name="connsiteX4" fmla="*/ 13360 w 295182"/>
                <a:gd name="connsiteY4" fmla="*/ 251962 h 274179"/>
                <a:gd name="connsiteX5" fmla="*/ 11750 w 295182"/>
                <a:gd name="connsiteY5" fmla="*/ 223350 h 274179"/>
                <a:gd name="connsiteX6" fmla="*/ 123783 w 295182"/>
                <a:gd name="connsiteY6" fmla="*/ 135816 h 274179"/>
                <a:gd name="connsiteX7" fmla="*/ 229646 w 295182"/>
                <a:gd name="connsiteY7" fmla="*/ 0 h 274179"/>
                <a:gd name="connsiteX8" fmla="*/ 288390 w 295182"/>
                <a:gd name="connsiteY8" fmla="*/ 35139 h 274179"/>
                <a:gd name="connsiteX9" fmla="*/ 291698 w 295182"/>
                <a:gd name="connsiteY9" fmla="*/ 53647 h 274179"/>
                <a:gd name="connsiteX10" fmla="*/ 232150 w 295182"/>
                <a:gd name="connsiteY10" fmla="*/ 121242 h 274179"/>
                <a:gd name="connsiteX11" fmla="*/ 174658 w 295182"/>
                <a:gd name="connsiteY11" fmla="*/ 182668 h 274179"/>
                <a:gd name="connsiteX12" fmla="*/ 155077 w 295182"/>
                <a:gd name="connsiteY12" fmla="*/ 210833 h 274179"/>
                <a:gd name="connsiteX13" fmla="*/ 146136 w 295182"/>
                <a:gd name="connsiteY13" fmla="*/ 239891 h 27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82" h="274179">
                  <a:moveTo>
                    <a:pt x="146226" y="239802"/>
                  </a:moveTo>
                  <a:cubicBezTo>
                    <a:pt x="139430" y="245435"/>
                    <a:pt x="138983" y="258310"/>
                    <a:pt x="125660" y="256522"/>
                  </a:cubicBezTo>
                  <a:cubicBezTo>
                    <a:pt x="111981" y="254645"/>
                    <a:pt x="114217" y="265463"/>
                    <a:pt x="113322" y="273510"/>
                  </a:cubicBezTo>
                  <a:lnTo>
                    <a:pt x="113322" y="273510"/>
                  </a:lnTo>
                  <a:cubicBezTo>
                    <a:pt x="77646" y="277444"/>
                    <a:pt x="45548" y="263228"/>
                    <a:pt x="13360" y="251962"/>
                  </a:cubicBezTo>
                  <a:cubicBezTo>
                    <a:pt x="1736" y="247849"/>
                    <a:pt x="-8993" y="238461"/>
                    <a:pt x="11750" y="223350"/>
                  </a:cubicBezTo>
                  <a:cubicBezTo>
                    <a:pt x="49929" y="195454"/>
                    <a:pt x="85336" y="163981"/>
                    <a:pt x="123783" y="135816"/>
                  </a:cubicBezTo>
                  <a:cubicBezTo>
                    <a:pt x="168310" y="103181"/>
                    <a:pt x="209439" y="60621"/>
                    <a:pt x="229646" y="0"/>
                  </a:cubicBezTo>
                  <a:cubicBezTo>
                    <a:pt x="245383" y="22711"/>
                    <a:pt x="264875" y="32725"/>
                    <a:pt x="288390" y="35139"/>
                  </a:cubicBezTo>
                  <a:cubicBezTo>
                    <a:pt x="299746" y="39431"/>
                    <a:pt x="293934" y="46852"/>
                    <a:pt x="291698" y="53647"/>
                  </a:cubicBezTo>
                  <a:cubicBezTo>
                    <a:pt x="268898" y="73765"/>
                    <a:pt x="244310" y="97459"/>
                    <a:pt x="232150" y="121242"/>
                  </a:cubicBezTo>
                  <a:cubicBezTo>
                    <a:pt x="217486" y="149854"/>
                    <a:pt x="209708" y="175247"/>
                    <a:pt x="174658" y="182668"/>
                  </a:cubicBezTo>
                  <a:cubicBezTo>
                    <a:pt x="172602" y="183115"/>
                    <a:pt x="153379" y="195722"/>
                    <a:pt x="155077" y="210833"/>
                  </a:cubicBezTo>
                  <a:cubicBezTo>
                    <a:pt x="164376" y="224244"/>
                    <a:pt x="139520" y="227195"/>
                    <a:pt x="146136" y="239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1" name="Freeform: Shape 220">
              <a:extLst>
                <a:ext uri="{FF2B5EF4-FFF2-40B4-BE49-F238E27FC236}">
                  <a16:creationId xmlns:a16="http://schemas.microsoft.com/office/drawing/2014/main" id="{0233EA00-BF21-71D0-D7F1-EEA4DD22E2ED}"/>
                </a:ext>
              </a:extLst>
            </p:cNvPr>
            <p:cNvSpPr/>
            <p:nvPr/>
          </p:nvSpPr>
          <p:spPr>
            <a:xfrm>
              <a:off x="16238839" y="8314701"/>
              <a:ext cx="95543" cy="139765"/>
            </a:xfrm>
            <a:custGeom>
              <a:avLst/>
              <a:gdLst>
                <a:gd name="connsiteX0" fmla="*/ 65538 w 65538"/>
                <a:gd name="connsiteY0" fmla="*/ 82730 h 95873"/>
                <a:gd name="connsiteX1" fmla="*/ 52485 w 65538"/>
                <a:gd name="connsiteY1" fmla="*/ 95874 h 95873"/>
                <a:gd name="connsiteX2" fmla="*/ 45868 w 65538"/>
                <a:gd name="connsiteY2" fmla="*/ 83178 h 95873"/>
                <a:gd name="connsiteX3" fmla="*/ 0 w 65538"/>
                <a:gd name="connsiteY3" fmla="*/ 4048 h 95873"/>
                <a:gd name="connsiteX4" fmla="*/ 25930 w 65538"/>
                <a:gd name="connsiteY4" fmla="*/ 5300 h 95873"/>
                <a:gd name="connsiteX5" fmla="*/ 37552 w 65538"/>
                <a:gd name="connsiteY5" fmla="*/ 19785 h 95873"/>
                <a:gd name="connsiteX6" fmla="*/ 59548 w 65538"/>
                <a:gd name="connsiteY6" fmla="*/ 65742 h 95873"/>
                <a:gd name="connsiteX7" fmla="*/ 65538 w 65538"/>
                <a:gd name="connsiteY7" fmla="*/ 82730 h 9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38" h="95873">
                  <a:moveTo>
                    <a:pt x="65538" y="82730"/>
                  </a:moveTo>
                  <a:cubicBezTo>
                    <a:pt x="61157" y="87112"/>
                    <a:pt x="56866" y="91493"/>
                    <a:pt x="52485" y="95874"/>
                  </a:cubicBezTo>
                  <a:cubicBezTo>
                    <a:pt x="47835" y="92923"/>
                    <a:pt x="50428" y="86218"/>
                    <a:pt x="45868" y="83178"/>
                  </a:cubicBezTo>
                  <a:cubicBezTo>
                    <a:pt x="35049" y="54208"/>
                    <a:pt x="3487" y="37220"/>
                    <a:pt x="0" y="4048"/>
                  </a:cubicBezTo>
                  <a:cubicBezTo>
                    <a:pt x="8941" y="-1585"/>
                    <a:pt x="17614" y="-1495"/>
                    <a:pt x="25930" y="5300"/>
                  </a:cubicBezTo>
                  <a:cubicBezTo>
                    <a:pt x="29774" y="10307"/>
                    <a:pt x="32546" y="17818"/>
                    <a:pt x="37552" y="19785"/>
                  </a:cubicBezTo>
                  <a:cubicBezTo>
                    <a:pt x="59905" y="28458"/>
                    <a:pt x="70725" y="40886"/>
                    <a:pt x="59548" y="65742"/>
                  </a:cubicBezTo>
                  <a:cubicBezTo>
                    <a:pt x="57760" y="69676"/>
                    <a:pt x="63392" y="77008"/>
                    <a:pt x="65538" y="8273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2" name="Freeform: Shape 221">
              <a:extLst>
                <a:ext uri="{FF2B5EF4-FFF2-40B4-BE49-F238E27FC236}">
                  <a16:creationId xmlns:a16="http://schemas.microsoft.com/office/drawing/2014/main" id="{19AC7160-C1D6-3D5B-CE53-57DF57948805}"/>
                </a:ext>
              </a:extLst>
            </p:cNvPr>
            <p:cNvSpPr/>
            <p:nvPr/>
          </p:nvSpPr>
          <p:spPr>
            <a:xfrm>
              <a:off x="9063994" y="4080564"/>
              <a:ext cx="46971" cy="53329"/>
            </a:xfrm>
            <a:custGeom>
              <a:avLst/>
              <a:gdLst>
                <a:gd name="connsiteX0" fmla="*/ 14523 w 32220"/>
                <a:gd name="connsiteY0" fmla="*/ 0 h 36581"/>
                <a:gd name="connsiteX1" fmla="*/ 31959 w 32220"/>
                <a:gd name="connsiteY1" fmla="*/ 22353 h 36581"/>
                <a:gd name="connsiteX2" fmla="*/ 18994 w 32220"/>
                <a:gd name="connsiteY2" fmla="*/ 36480 h 36581"/>
                <a:gd name="connsiteX3" fmla="*/ 575 w 32220"/>
                <a:gd name="connsiteY3" fmla="*/ 16273 h 36581"/>
                <a:gd name="connsiteX4" fmla="*/ 14523 w 32220"/>
                <a:gd name="connsiteY4" fmla="*/ 0 h 36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0" h="36581">
                  <a:moveTo>
                    <a:pt x="14523" y="0"/>
                  </a:moveTo>
                  <a:cubicBezTo>
                    <a:pt x="28472" y="3308"/>
                    <a:pt x="30170" y="13948"/>
                    <a:pt x="31959" y="22353"/>
                  </a:cubicBezTo>
                  <a:cubicBezTo>
                    <a:pt x="33568" y="29953"/>
                    <a:pt x="27577" y="37553"/>
                    <a:pt x="18994" y="36480"/>
                  </a:cubicBezTo>
                  <a:cubicBezTo>
                    <a:pt x="8354" y="35228"/>
                    <a:pt x="3257" y="25214"/>
                    <a:pt x="575" y="16273"/>
                  </a:cubicBezTo>
                  <a:cubicBezTo>
                    <a:pt x="-3359" y="2861"/>
                    <a:pt x="14165" y="9299"/>
                    <a:pt x="14523"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3" name="Freeform: Shape 222">
              <a:extLst>
                <a:ext uri="{FF2B5EF4-FFF2-40B4-BE49-F238E27FC236}">
                  <a16:creationId xmlns:a16="http://schemas.microsoft.com/office/drawing/2014/main" id="{B5A8EDD0-1263-4BEE-D8A5-B54EC5DC882D}"/>
                </a:ext>
              </a:extLst>
            </p:cNvPr>
            <p:cNvSpPr/>
            <p:nvPr/>
          </p:nvSpPr>
          <p:spPr>
            <a:xfrm>
              <a:off x="8982193" y="3946794"/>
              <a:ext cx="56737" cy="52174"/>
            </a:xfrm>
            <a:custGeom>
              <a:avLst/>
              <a:gdLst>
                <a:gd name="connsiteX0" fmla="*/ 179 w 38919"/>
                <a:gd name="connsiteY0" fmla="*/ 32749 h 35789"/>
                <a:gd name="connsiteX1" fmla="*/ 9925 w 38919"/>
                <a:gd name="connsiteY1" fmla="*/ 16476 h 35789"/>
                <a:gd name="connsiteX2" fmla="*/ 30668 w 38919"/>
                <a:gd name="connsiteY2" fmla="*/ 829 h 35789"/>
                <a:gd name="connsiteX3" fmla="*/ 38894 w 38919"/>
                <a:gd name="connsiteY3" fmla="*/ 23182 h 35789"/>
                <a:gd name="connsiteX4" fmla="*/ 16630 w 38919"/>
                <a:gd name="connsiteY4" fmla="*/ 33464 h 35789"/>
                <a:gd name="connsiteX5" fmla="*/ 10283 w 38919"/>
                <a:gd name="connsiteY5" fmla="*/ 34269 h 35789"/>
                <a:gd name="connsiteX6" fmla="*/ 0 w 38919"/>
                <a:gd name="connsiteY6" fmla="*/ 32838 h 3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19" h="35789">
                  <a:moveTo>
                    <a:pt x="179" y="32749"/>
                  </a:moveTo>
                  <a:cubicBezTo>
                    <a:pt x="3398" y="27295"/>
                    <a:pt x="5990" y="21304"/>
                    <a:pt x="9925" y="16476"/>
                  </a:cubicBezTo>
                  <a:cubicBezTo>
                    <a:pt x="15647" y="9412"/>
                    <a:pt x="19850" y="-3373"/>
                    <a:pt x="30668" y="829"/>
                  </a:cubicBezTo>
                  <a:cubicBezTo>
                    <a:pt x="35765" y="2796"/>
                    <a:pt x="39252" y="15493"/>
                    <a:pt x="38894" y="23182"/>
                  </a:cubicBezTo>
                  <a:cubicBezTo>
                    <a:pt x="38268" y="37935"/>
                    <a:pt x="25035" y="31855"/>
                    <a:pt x="16630" y="33464"/>
                  </a:cubicBezTo>
                  <a:cubicBezTo>
                    <a:pt x="14574" y="33822"/>
                    <a:pt x="12428" y="34001"/>
                    <a:pt x="10283" y="34269"/>
                  </a:cubicBezTo>
                  <a:cubicBezTo>
                    <a:pt x="6438" y="36683"/>
                    <a:pt x="3040" y="36236"/>
                    <a:pt x="0" y="328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4" name="Freeform: Shape 223">
              <a:extLst>
                <a:ext uri="{FF2B5EF4-FFF2-40B4-BE49-F238E27FC236}">
                  <a16:creationId xmlns:a16="http://schemas.microsoft.com/office/drawing/2014/main" id="{18A2EAD4-1F3A-D6D9-BF84-FD90841A5F1B}"/>
                </a:ext>
              </a:extLst>
            </p:cNvPr>
            <p:cNvSpPr/>
            <p:nvPr/>
          </p:nvSpPr>
          <p:spPr>
            <a:xfrm>
              <a:off x="9316308" y="3943181"/>
              <a:ext cx="29917" cy="60816"/>
            </a:xfrm>
            <a:custGeom>
              <a:avLst/>
              <a:gdLst>
                <a:gd name="connsiteX0" fmla="*/ 15891 w 20522"/>
                <a:gd name="connsiteY0" fmla="*/ 89 h 41717"/>
                <a:gd name="connsiteX1" fmla="*/ 10794 w 20522"/>
                <a:gd name="connsiteY1" fmla="*/ 41040 h 41717"/>
                <a:gd name="connsiteX2" fmla="*/ 2926 w 20522"/>
                <a:gd name="connsiteY2" fmla="*/ 40325 h 41717"/>
                <a:gd name="connsiteX3" fmla="*/ 15891 w 20522"/>
                <a:gd name="connsiteY3" fmla="*/ 0 h 41717"/>
              </a:gdLst>
              <a:ahLst/>
              <a:cxnLst>
                <a:cxn ang="0">
                  <a:pos x="connsiteX0" y="connsiteY0"/>
                </a:cxn>
                <a:cxn ang="0">
                  <a:pos x="connsiteX1" y="connsiteY1"/>
                </a:cxn>
                <a:cxn ang="0">
                  <a:pos x="connsiteX2" y="connsiteY2"/>
                </a:cxn>
                <a:cxn ang="0">
                  <a:pos x="connsiteX3" y="connsiteY3"/>
                </a:cxn>
              </a:cxnLst>
              <a:rect l="l" t="t" r="r" b="b"/>
              <a:pathLst>
                <a:path w="20522" h="41717">
                  <a:moveTo>
                    <a:pt x="15891" y="89"/>
                  </a:moveTo>
                  <a:cubicBezTo>
                    <a:pt x="23491" y="17972"/>
                    <a:pt x="21702" y="30400"/>
                    <a:pt x="10794" y="41040"/>
                  </a:cubicBezTo>
                  <a:cubicBezTo>
                    <a:pt x="9453" y="42292"/>
                    <a:pt x="3552" y="41666"/>
                    <a:pt x="2926" y="40325"/>
                  </a:cubicBezTo>
                  <a:cubicBezTo>
                    <a:pt x="-4674" y="25393"/>
                    <a:pt x="3552" y="14485"/>
                    <a:pt x="1589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5" name="Freeform: Shape 224">
              <a:extLst>
                <a:ext uri="{FF2B5EF4-FFF2-40B4-BE49-F238E27FC236}">
                  <a16:creationId xmlns:a16="http://schemas.microsoft.com/office/drawing/2014/main" id="{2D81F426-BCA6-459C-0A88-DAB7135EB684}"/>
                </a:ext>
              </a:extLst>
            </p:cNvPr>
            <p:cNvSpPr/>
            <p:nvPr/>
          </p:nvSpPr>
          <p:spPr>
            <a:xfrm>
              <a:off x="9442157" y="3896236"/>
              <a:ext cx="39917" cy="34238"/>
            </a:xfrm>
            <a:custGeom>
              <a:avLst/>
              <a:gdLst>
                <a:gd name="connsiteX0" fmla="*/ 27381 w 27381"/>
                <a:gd name="connsiteY0" fmla="*/ 8864 h 23485"/>
                <a:gd name="connsiteX1" fmla="*/ 11913 w 27381"/>
                <a:gd name="connsiteY1" fmla="*/ 22633 h 23485"/>
                <a:gd name="connsiteX2" fmla="*/ 379 w 27381"/>
                <a:gd name="connsiteY2" fmla="*/ 13245 h 23485"/>
                <a:gd name="connsiteX3" fmla="*/ 12986 w 27381"/>
                <a:gd name="connsiteY3" fmla="*/ 102 h 23485"/>
                <a:gd name="connsiteX4" fmla="*/ 27292 w 27381"/>
                <a:gd name="connsiteY4" fmla="*/ 8774 h 23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1" h="23485">
                  <a:moveTo>
                    <a:pt x="27381" y="8864"/>
                  </a:moveTo>
                  <a:cubicBezTo>
                    <a:pt x="26219" y="17894"/>
                    <a:pt x="19244" y="20219"/>
                    <a:pt x="11913" y="22633"/>
                  </a:cubicBezTo>
                  <a:cubicBezTo>
                    <a:pt x="2793" y="25584"/>
                    <a:pt x="1720" y="20487"/>
                    <a:pt x="379" y="13245"/>
                  </a:cubicBezTo>
                  <a:cubicBezTo>
                    <a:pt x="-1678" y="2069"/>
                    <a:pt x="4939" y="727"/>
                    <a:pt x="12986" y="102"/>
                  </a:cubicBezTo>
                  <a:cubicBezTo>
                    <a:pt x="19781" y="-346"/>
                    <a:pt x="25861" y="370"/>
                    <a:pt x="27292" y="877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6" name="Freeform: Shape 225">
              <a:extLst>
                <a:ext uri="{FF2B5EF4-FFF2-40B4-BE49-F238E27FC236}">
                  <a16:creationId xmlns:a16="http://schemas.microsoft.com/office/drawing/2014/main" id="{94F34F78-D69B-A0B6-6BA1-0C88633DC5E9}"/>
                </a:ext>
              </a:extLst>
            </p:cNvPr>
            <p:cNvSpPr/>
            <p:nvPr/>
          </p:nvSpPr>
          <p:spPr>
            <a:xfrm>
              <a:off x="9064141" y="4147056"/>
              <a:ext cx="23109" cy="17973"/>
            </a:xfrm>
            <a:custGeom>
              <a:avLst/>
              <a:gdLst>
                <a:gd name="connsiteX0" fmla="*/ 9057 w 15852"/>
                <a:gd name="connsiteY0" fmla="*/ 12329 h 12329"/>
                <a:gd name="connsiteX1" fmla="*/ 116 w 15852"/>
                <a:gd name="connsiteY1" fmla="*/ 4819 h 12329"/>
                <a:gd name="connsiteX2" fmla="*/ 6554 w 15852"/>
                <a:gd name="connsiteY2" fmla="*/ 437 h 12329"/>
                <a:gd name="connsiteX3" fmla="*/ 15853 w 15852"/>
                <a:gd name="connsiteY3" fmla="*/ 4193 h 12329"/>
                <a:gd name="connsiteX4" fmla="*/ 9057 w 15852"/>
                <a:gd name="connsiteY4" fmla="*/ 12329 h 1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2" h="12329">
                  <a:moveTo>
                    <a:pt x="9057" y="12329"/>
                  </a:moveTo>
                  <a:cubicBezTo>
                    <a:pt x="3603" y="11256"/>
                    <a:pt x="-778" y="10005"/>
                    <a:pt x="116" y="4819"/>
                  </a:cubicBezTo>
                  <a:cubicBezTo>
                    <a:pt x="474" y="2941"/>
                    <a:pt x="4140" y="885"/>
                    <a:pt x="6554" y="437"/>
                  </a:cubicBezTo>
                  <a:cubicBezTo>
                    <a:pt x="10130" y="-188"/>
                    <a:pt x="15763" y="-904"/>
                    <a:pt x="15853" y="4193"/>
                  </a:cubicBezTo>
                  <a:cubicBezTo>
                    <a:pt x="15853" y="7054"/>
                    <a:pt x="11204" y="9915"/>
                    <a:pt x="9057" y="123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7" name="Freeform: Shape 226">
              <a:extLst>
                <a:ext uri="{FF2B5EF4-FFF2-40B4-BE49-F238E27FC236}">
                  <a16:creationId xmlns:a16="http://schemas.microsoft.com/office/drawing/2014/main" id="{A1BD59BE-D3C2-B74A-F455-0C621697DED1}"/>
                </a:ext>
              </a:extLst>
            </p:cNvPr>
            <p:cNvSpPr/>
            <p:nvPr/>
          </p:nvSpPr>
          <p:spPr>
            <a:xfrm>
              <a:off x="9035733" y="4107580"/>
              <a:ext cx="18412" cy="22581"/>
            </a:xfrm>
            <a:custGeom>
              <a:avLst/>
              <a:gdLst>
                <a:gd name="connsiteX0" fmla="*/ 6103 w 12630"/>
                <a:gd name="connsiteY0" fmla="*/ 425 h 15489"/>
                <a:gd name="connsiteX1" fmla="*/ 12630 w 12630"/>
                <a:gd name="connsiteY1" fmla="*/ 9455 h 15489"/>
                <a:gd name="connsiteX2" fmla="*/ 4672 w 12630"/>
                <a:gd name="connsiteY2" fmla="*/ 14552 h 15489"/>
                <a:gd name="connsiteX3" fmla="*/ 22 w 12630"/>
                <a:gd name="connsiteY3" fmla="*/ 4627 h 15489"/>
                <a:gd name="connsiteX4" fmla="*/ 6013 w 12630"/>
                <a:gd name="connsiteY4" fmla="*/ 425 h 15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 h="15489">
                  <a:moveTo>
                    <a:pt x="6103" y="425"/>
                  </a:moveTo>
                  <a:cubicBezTo>
                    <a:pt x="10573" y="1766"/>
                    <a:pt x="12540" y="4895"/>
                    <a:pt x="12630" y="9455"/>
                  </a:cubicBezTo>
                  <a:cubicBezTo>
                    <a:pt x="12719" y="15446"/>
                    <a:pt x="8070" y="16608"/>
                    <a:pt x="4672" y="14552"/>
                  </a:cubicBezTo>
                  <a:cubicBezTo>
                    <a:pt x="1990" y="12942"/>
                    <a:pt x="470" y="8203"/>
                    <a:pt x="22" y="4627"/>
                  </a:cubicBezTo>
                  <a:cubicBezTo>
                    <a:pt x="-246" y="2123"/>
                    <a:pt x="1900" y="-1185"/>
                    <a:pt x="6013" y="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8" name="Freeform: Shape 227">
              <a:extLst>
                <a:ext uri="{FF2B5EF4-FFF2-40B4-BE49-F238E27FC236}">
                  <a16:creationId xmlns:a16="http://schemas.microsoft.com/office/drawing/2014/main" id="{850DEAF1-8089-DE74-435C-1E8B6DDA4183}"/>
                </a:ext>
              </a:extLst>
            </p:cNvPr>
            <p:cNvSpPr/>
            <p:nvPr/>
          </p:nvSpPr>
          <p:spPr>
            <a:xfrm>
              <a:off x="1913076" y="3869972"/>
              <a:ext cx="71961" cy="63953"/>
            </a:xfrm>
            <a:custGeom>
              <a:avLst/>
              <a:gdLst>
                <a:gd name="connsiteX0" fmla="*/ 32038 w 49362"/>
                <a:gd name="connsiteY0" fmla="*/ 43870 h 43869"/>
                <a:gd name="connsiteX1" fmla="*/ 29 w 49362"/>
                <a:gd name="connsiteY1" fmla="*/ 25272 h 43869"/>
                <a:gd name="connsiteX2" fmla="*/ 33379 w 49362"/>
                <a:gd name="connsiteY2" fmla="*/ 863 h 43869"/>
                <a:gd name="connsiteX3" fmla="*/ 49205 w 49362"/>
                <a:gd name="connsiteY3" fmla="*/ 19639 h 43869"/>
                <a:gd name="connsiteX4" fmla="*/ 31949 w 49362"/>
                <a:gd name="connsiteY4" fmla="*/ 43780 h 4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62" h="43869">
                  <a:moveTo>
                    <a:pt x="32038" y="43870"/>
                  </a:moveTo>
                  <a:cubicBezTo>
                    <a:pt x="15318" y="41098"/>
                    <a:pt x="-776" y="38416"/>
                    <a:pt x="29" y="25272"/>
                  </a:cubicBezTo>
                  <a:cubicBezTo>
                    <a:pt x="1012" y="9089"/>
                    <a:pt x="21398" y="6943"/>
                    <a:pt x="33379" y="863"/>
                  </a:cubicBezTo>
                  <a:cubicBezTo>
                    <a:pt x="42052" y="-3518"/>
                    <a:pt x="50636" y="9715"/>
                    <a:pt x="49205" y="19639"/>
                  </a:cubicBezTo>
                  <a:cubicBezTo>
                    <a:pt x="47685" y="31173"/>
                    <a:pt x="41069" y="41366"/>
                    <a:pt x="31949" y="4378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29" name="Freeform: Shape 228">
              <a:extLst>
                <a:ext uri="{FF2B5EF4-FFF2-40B4-BE49-F238E27FC236}">
                  <a16:creationId xmlns:a16="http://schemas.microsoft.com/office/drawing/2014/main" id="{C50EC672-F390-D5D3-BC32-8BC3F13FC0DC}"/>
                </a:ext>
              </a:extLst>
            </p:cNvPr>
            <p:cNvSpPr/>
            <p:nvPr/>
          </p:nvSpPr>
          <p:spPr>
            <a:xfrm>
              <a:off x="1823700" y="4441949"/>
              <a:ext cx="38712" cy="21970"/>
            </a:xfrm>
            <a:custGeom>
              <a:avLst/>
              <a:gdLst>
                <a:gd name="connsiteX0" fmla="*/ 0 w 26555"/>
                <a:gd name="connsiteY0" fmla="*/ 7825 h 15071"/>
                <a:gd name="connsiteX1" fmla="*/ 26555 w 26555"/>
                <a:gd name="connsiteY1" fmla="*/ 7646 h 15071"/>
                <a:gd name="connsiteX2" fmla="*/ 0 w 26555"/>
                <a:gd name="connsiteY2" fmla="*/ 7825 h 15071"/>
              </a:gdLst>
              <a:ahLst/>
              <a:cxnLst>
                <a:cxn ang="0">
                  <a:pos x="connsiteX0" y="connsiteY0"/>
                </a:cxn>
                <a:cxn ang="0">
                  <a:pos x="connsiteX1" y="connsiteY1"/>
                </a:cxn>
                <a:cxn ang="0">
                  <a:pos x="connsiteX2" y="connsiteY2"/>
                </a:cxn>
              </a:cxnLst>
              <a:rect l="l" t="t" r="r" b="b"/>
              <a:pathLst>
                <a:path w="26555" h="15071">
                  <a:moveTo>
                    <a:pt x="0" y="7825"/>
                  </a:moveTo>
                  <a:cubicBezTo>
                    <a:pt x="8852" y="6841"/>
                    <a:pt x="17614" y="-9164"/>
                    <a:pt x="26555" y="7646"/>
                  </a:cubicBezTo>
                  <a:cubicBezTo>
                    <a:pt x="17703" y="8451"/>
                    <a:pt x="8941" y="23829"/>
                    <a:pt x="0" y="78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0" name="Freeform: Shape 229">
              <a:extLst>
                <a:ext uri="{FF2B5EF4-FFF2-40B4-BE49-F238E27FC236}">
                  <a16:creationId xmlns:a16="http://schemas.microsoft.com/office/drawing/2014/main" id="{7200A15B-370C-F4A2-8D11-0929E79CB4CD}"/>
                </a:ext>
              </a:extLst>
            </p:cNvPr>
            <p:cNvSpPr/>
            <p:nvPr/>
          </p:nvSpPr>
          <p:spPr>
            <a:xfrm>
              <a:off x="5789194" y="9592263"/>
              <a:ext cx="191772" cy="122634"/>
            </a:xfrm>
            <a:custGeom>
              <a:avLst/>
              <a:gdLst>
                <a:gd name="connsiteX0" fmla="*/ 26668 w 131547"/>
                <a:gd name="connsiteY0" fmla="*/ 0 h 84121"/>
                <a:gd name="connsiteX1" fmla="*/ 41331 w 131547"/>
                <a:gd name="connsiteY1" fmla="*/ 8047 h 84121"/>
                <a:gd name="connsiteX2" fmla="*/ 107049 w 131547"/>
                <a:gd name="connsiteY2" fmla="*/ 52127 h 84121"/>
                <a:gd name="connsiteX3" fmla="*/ 131548 w 131547"/>
                <a:gd name="connsiteY3" fmla="*/ 65091 h 84121"/>
                <a:gd name="connsiteX4" fmla="*/ 44282 w 131547"/>
                <a:gd name="connsiteY4" fmla="*/ 83957 h 84121"/>
                <a:gd name="connsiteX5" fmla="*/ 27383 w 131547"/>
                <a:gd name="connsiteY5" fmla="*/ 66522 h 84121"/>
                <a:gd name="connsiteX6" fmla="*/ 917 w 131547"/>
                <a:gd name="connsiteY6" fmla="*/ 12696 h 84121"/>
                <a:gd name="connsiteX7" fmla="*/ 26668 w 131547"/>
                <a:gd name="connsiteY7" fmla="*/ 0 h 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547" h="84121">
                  <a:moveTo>
                    <a:pt x="26668" y="0"/>
                  </a:moveTo>
                  <a:cubicBezTo>
                    <a:pt x="32658" y="715"/>
                    <a:pt x="39186" y="447"/>
                    <a:pt x="41331" y="8047"/>
                  </a:cubicBezTo>
                  <a:cubicBezTo>
                    <a:pt x="56531" y="32724"/>
                    <a:pt x="81835" y="42559"/>
                    <a:pt x="107049" y="52127"/>
                  </a:cubicBezTo>
                  <a:cubicBezTo>
                    <a:pt x="115901" y="55435"/>
                    <a:pt x="126720" y="54272"/>
                    <a:pt x="131548" y="65091"/>
                  </a:cubicBezTo>
                  <a:cubicBezTo>
                    <a:pt x="101774" y="68132"/>
                    <a:pt x="75218" y="86014"/>
                    <a:pt x="44282" y="83957"/>
                  </a:cubicBezTo>
                  <a:cubicBezTo>
                    <a:pt x="35609" y="81096"/>
                    <a:pt x="26400" y="78772"/>
                    <a:pt x="27383" y="66522"/>
                  </a:cubicBezTo>
                  <a:cubicBezTo>
                    <a:pt x="23092" y="46315"/>
                    <a:pt x="-5431" y="38089"/>
                    <a:pt x="917" y="12696"/>
                  </a:cubicBezTo>
                  <a:cubicBezTo>
                    <a:pt x="9501" y="8494"/>
                    <a:pt x="18084" y="4202"/>
                    <a:pt x="26668"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1" name="Freeform: Shape 230">
              <a:extLst>
                <a:ext uri="{FF2B5EF4-FFF2-40B4-BE49-F238E27FC236}">
                  <a16:creationId xmlns:a16="http://schemas.microsoft.com/office/drawing/2014/main" id="{42381695-03FC-7413-93E9-32C41EC1FD38}"/>
                </a:ext>
              </a:extLst>
            </p:cNvPr>
            <p:cNvSpPr/>
            <p:nvPr/>
          </p:nvSpPr>
          <p:spPr>
            <a:xfrm>
              <a:off x="5719234" y="9696216"/>
              <a:ext cx="111186" cy="25220"/>
            </a:xfrm>
            <a:custGeom>
              <a:avLst/>
              <a:gdLst>
                <a:gd name="connsiteX0" fmla="*/ 76268 w 76268"/>
                <a:gd name="connsiteY0" fmla="*/ 15154 h 17299"/>
                <a:gd name="connsiteX1" fmla="*/ 10908 w 76268"/>
                <a:gd name="connsiteY1" fmla="*/ 17300 h 17299"/>
                <a:gd name="connsiteX2" fmla="*/ 0 w 76268"/>
                <a:gd name="connsiteY2" fmla="*/ 15422 h 17299"/>
                <a:gd name="connsiteX3" fmla="*/ 4202 w 76268"/>
                <a:gd name="connsiteY3" fmla="*/ 2726 h 17299"/>
                <a:gd name="connsiteX4" fmla="*/ 63393 w 76268"/>
                <a:gd name="connsiteY4" fmla="*/ 3799 h 17299"/>
                <a:gd name="connsiteX5" fmla="*/ 76179 w 76268"/>
                <a:gd name="connsiteY5" fmla="*/ 15154 h 1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7299">
                  <a:moveTo>
                    <a:pt x="76268" y="15154"/>
                  </a:moveTo>
                  <a:cubicBezTo>
                    <a:pt x="54452" y="15869"/>
                    <a:pt x="32725" y="16584"/>
                    <a:pt x="10908" y="17300"/>
                  </a:cubicBezTo>
                  <a:cubicBezTo>
                    <a:pt x="7242" y="16674"/>
                    <a:pt x="3666" y="16048"/>
                    <a:pt x="0" y="15422"/>
                  </a:cubicBezTo>
                  <a:cubicBezTo>
                    <a:pt x="1431" y="11220"/>
                    <a:pt x="2861" y="6928"/>
                    <a:pt x="4202" y="2726"/>
                  </a:cubicBezTo>
                  <a:cubicBezTo>
                    <a:pt x="23962" y="2726"/>
                    <a:pt x="43812" y="-4070"/>
                    <a:pt x="63393" y="3799"/>
                  </a:cubicBezTo>
                  <a:cubicBezTo>
                    <a:pt x="67685" y="7554"/>
                    <a:pt x="71887" y="11399"/>
                    <a:pt x="76179" y="1515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2" name="Freeform: Shape 231">
              <a:extLst>
                <a:ext uri="{FF2B5EF4-FFF2-40B4-BE49-F238E27FC236}">
                  <a16:creationId xmlns:a16="http://schemas.microsoft.com/office/drawing/2014/main" id="{1E573907-E386-D9BC-D4A9-1D57327A524D}"/>
                </a:ext>
              </a:extLst>
            </p:cNvPr>
            <p:cNvSpPr/>
            <p:nvPr/>
          </p:nvSpPr>
          <p:spPr>
            <a:xfrm>
              <a:off x="5595246" y="9103724"/>
              <a:ext cx="35765" cy="71480"/>
            </a:xfrm>
            <a:custGeom>
              <a:avLst/>
              <a:gdLst>
                <a:gd name="connsiteX0" fmla="*/ 9675 w 24533"/>
                <a:gd name="connsiteY0" fmla="*/ 89 h 49033"/>
                <a:gd name="connsiteX1" fmla="*/ 22103 w 24533"/>
                <a:gd name="connsiteY1" fmla="*/ 14217 h 49033"/>
                <a:gd name="connsiteX2" fmla="*/ 15845 w 24533"/>
                <a:gd name="connsiteY2" fmla="*/ 47567 h 49033"/>
                <a:gd name="connsiteX3" fmla="*/ 16113 w 24533"/>
                <a:gd name="connsiteY3" fmla="*/ 47299 h 49033"/>
                <a:gd name="connsiteX4" fmla="*/ 2433 w 24533"/>
                <a:gd name="connsiteY4" fmla="*/ 28344 h 49033"/>
                <a:gd name="connsiteX5" fmla="*/ 9765 w 24533"/>
                <a:gd name="connsiteY5" fmla="*/ 0 h 4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33" h="49033">
                  <a:moveTo>
                    <a:pt x="9675" y="89"/>
                  </a:moveTo>
                  <a:cubicBezTo>
                    <a:pt x="18080" y="1252"/>
                    <a:pt x="29614" y="2235"/>
                    <a:pt x="22103" y="14217"/>
                  </a:cubicBezTo>
                  <a:cubicBezTo>
                    <a:pt x="15129" y="25304"/>
                    <a:pt x="20136" y="37017"/>
                    <a:pt x="15845" y="47567"/>
                  </a:cubicBezTo>
                  <a:lnTo>
                    <a:pt x="16113" y="47299"/>
                  </a:lnTo>
                  <a:cubicBezTo>
                    <a:pt x="-6687" y="54183"/>
                    <a:pt x="913" y="39073"/>
                    <a:pt x="2433" y="28344"/>
                  </a:cubicBezTo>
                  <a:cubicBezTo>
                    <a:pt x="8066" y="19760"/>
                    <a:pt x="-2217" y="6974"/>
                    <a:pt x="9765"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3" name="Freeform: Shape 232">
              <a:extLst>
                <a:ext uri="{FF2B5EF4-FFF2-40B4-BE49-F238E27FC236}">
                  <a16:creationId xmlns:a16="http://schemas.microsoft.com/office/drawing/2014/main" id="{335D5A84-2045-22E2-966C-D9CAC4F20B5D}"/>
                </a:ext>
              </a:extLst>
            </p:cNvPr>
            <p:cNvSpPr/>
            <p:nvPr/>
          </p:nvSpPr>
          <p:spPr>
            <a:xfrm>
              <a:off x="5802708" y="9719592"/>
              <a:ext cx="55606" cy="25338"/>
            </a:xfrm>
            <a:custGeom>
              <a:avLst/>
              <a:gdLst>
                <a:gd name="connsiteX0" fmla="*/ 4791 w 38142"/>
                <a:gd name="connsiteY0" fmla="*/ 4036 h 17381"/>
                <a:gd name="connsiteX1" fmla="*/ 38142 w 38142"/>
                <a:gd name="connsiteY1" fmla="*/ 4930 h 17381"/>
                <a:gd name="connsiteX2" fmla="*/ 13196 w 38142"/>
                <a:gd name="connsiteY2" fmla="*/ 16912 h 17381"/>
                <a:gd name="connsiteX3" fmla="*/ 4881 w 38142"/>
                <a:gd name="connsiteY3" fmla="*/ 4126 h 17381"/>
              </a:gdLst>
              <a:ahLst/>
              <a:cxnLst>
                <a:cxn ang="0">
                  <a:pos x="connsiteX0" y="connsiteY0"/>
                </a:cxn>
                <a:cxn ang="0">
                  <a:pos x="connsiteX1" y="connsiteY1"/>
                </a:cxn>
                <a:cxn ang="0">
                  <a:pos x="connsiteX2" y="connsiteY2"/>
                </a:cxn>
                <a:cxn ang="0">
                  <a:pos x="connsiteX3" y="connsiteY3"/>
                </a:cxn>
              </a:cxnLst>
              <a:rect l="l" t="t" r="r" b="b"/>
              <a:pathLst>
                <a:path w="38142" h="17381">
                  <a:moveTo>
                    <a:pt x="4791" y="4036"/>
                  </a:moveTo>
                  <a:cubicBezTo>
                    <a:pt x="15789" y="7971"/>
                    <a:pt x="27323" y="-7497"/>
                    <a:pt x="38142" y="4930"/>
                  </a:cubicBezTo>
                  <a:cubicBezTo>
                    <a:pt x="29827" y="9133"/>
                    <a:pt x="21958" y="15034"/>
                    <a:pt x="13196" y="16912"/>
                  </a:cubicBezTo>
                  <a:cubicBezTo>
                    <a:pt x="8100" y="17985"/>
                    <a:pt x="-7994" y="18432"/>
                    <a:pt x="4881" y="412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4" name="Freeform: Shape 233">
              <a:extLst>
                <a:ext uri="{FF2B5EF4-FFF2-40B4-BE49-F238E27FC236}">
                  <a16:creationId xmlns:a16="http://schemas.microsoft.com/office/drawing/2014/main" id="{8564C710-7DC0-E48E-F17F-93FFB78B3CE4}"/>
                </a:ext>
              </a:extLst>
            </p:cNvPr>
            <p:cNvSpPr/>
            <p:nvPr/>
          </p:nvSpPr>
          <p:spPr>
            <a:xfrm>
              <a:off x="10407992" y="2794868"/>
              <a:ext cx="200756" cy="213760"/>
            </a:xfrm>
            <a:custGeom>
              <a:avLst/>
              <a:gdLst>
                <a:gd name="connsiteX0" fmla="*/ 5855 w 137710"/>
                <a:gd name="connsiteY0" fmla="*/ 89474 h 146630"/>
                <a:gd name="connsiteX1" fmla="*/ 10951 w 137710"/>
                <a:gd name="connsiteY1" fmla="*/ 65780 h 146630"/>
                <a:gd name="connsiteX2" fmla="*/ 40546 w 137710"/>
                <a:gd name="connsiteY2" fmla="*/ 26975 h 146630"/>
                <a:gd name="connsiteX3" fmla="*/ 64240 w 137710"/>
                <a:gd name="connsiteY3" fmla="*/ 5248 h 146630"/>
                <a:gd name="connsiteX4" fmla="*/ 115741 w 137710"/>
                <a:gd name="connsiteY4" fmla="*/ 13653 h 146630"/>
                <a:gd name="connsiteX5" fmla="*/ 124056 w 137710"/>
                <a:gd name="connsiteY5" fmla="*/ 123182 h 146630"/>
                <a:gd name="connsiteX6" fmla="*/ 129332 w 137710"/>
                <a:gd name="connsiteY6" fmla="*/ 142942 h 146630"/>
                <a:gd name="connsiteX7" fmla="*/ 109840 w 137710"/>
                <a:gd name="connsiteY7" fmla="*/ 144283 h 146630"/>
                <a:gd name="connsiteX8" fmla="*/ 70946 w 137710"/>
                <a:gd name="connsiteY8" fmla="*/ 144015 h 146630"/>
                <a:gd name="connsiteX9" fmla="*/ 56819 w 137710"/>
                <a:gd name="connsiteY9" fmla="*/ 116923 h 146630"/>
                <a:gd name="connsiteX10" fmla="*/ 18461 w 137710"/>
                <a:gd name="connsiteY10" fmla="*/ 117639 h 146630"/>
                <a:gd name="connsiteX11" fmla="*/ 11219 w 137710"/>
                <a:gd name="connsiteY11" fmla="*/ 110396 h 146630"/>
                <a:gd name="connsiteX12" fmla="*/ 5855 w 137710"/>
                <a:gd name="connsiteY12" fmla="*/ 89563 h 14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0" h="146630">
                  <a:moveTo>
                    <a:pt x="5855" y="89474"/>
                  </a:moveTo>
                  <a:cubicBezTo>
                    <a:pt x="5050" y="80980"/>
                    <a:pt x="-9703" y="68641"/>
                    <a:pt x="10951" y="65780"/>
                  </a:cubicBezTo>
                  <a:cubicBezTo>
                    <a:pt x="34466" y="62472"/>
                    <a:pt x="37506" y="44589"/>
                    <a:pt x="40546" y="26975"/>
                  </a:cubicBezTo>
                  <a:cubicBezTo>
                    <a:pt x="42960" y="12848"/>
                    <a:pt x="49309" y="4801"/>
                    <a:pt x="64240" y="5248"/>
                  </a:cubicBezTo>
                  <a:cubicBezTo>
                    <a:pt x="82033" y="4265"/>
                    <a:pt x="102061" y="-10220"/>
                    <a:pt x="115741" y="13653"/>
                  </a:cubicBezTo>
                  <a:cubicBezTo>
                    <a:pt x="78367" y="37168"/>
                    <a:pt x="87755" y="102260"/>
                    <a:pt x="124056" y="123182"/>
                  </a:cubicBezTo>
                  <a:cubicBezTo>
                    <a:pt x="129421" y="128815"/>
                    <a:pt x="148555" y="130782"/>
                    <a:pt x="129332" y="142942"/>
                  </a:cubicBezTo>
                  <a:cubicBezTo>
                    <a:pt x="122894" y="144283"/>
                    <a:pt x="115920" y="138561"/>
                    <a:pt x="109840" y="144283"/>
                  </a:cubicBezTo>
                  <a:cubicBezTo>
                    <a:pt x="96876" y="147234"/>
                    <a:pt x="83911" y="147681"/>
                    <a:pt x="70946" y="144015"/>
                  </a:cubicBezTo>
                  <a:cubicBezTo>
                    <a:pt x="49219" y="143926"/>
                    <a:pt x="59591" y="127027"/>
                    <a:pt x="56819" y="116923"/>
                  </a:cubicBezTo>
                  <a:cubicBezTo>
                    <a:pt x="43855" y="106909"/>
                    <a:pt x="31247" y="116119"/>
                    <a:pt x="18461" y="117639"/>
                  </a:cubicBezTo>
                  <a:cubicBezTo>
                    <a:pt x="16047" y="115224"/>
                    <a:pt x="13633" y="112810"/>
                    <a:pt x="11219" y="110396"/>
                  </a:cubicBezTo>
                  <a:cubicBezTo>
                    <a:pt x="6033" y="104316"/>
                    <a:pt x="10951" y="95643"/>
                    <a:pt x="5855" y="8956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5" name="Freeform: Shape 234">
              <a:extLst>
                <a:ext uri="{FF2B5EF4-FFF2-40B4-BE49-F238E27FC236}">
                  <a16:creationId xmlns:a16="http://schemas.microsoft.com/office/drawing/2014/main" id="{1A86281B-A6CD-0DA8-9900-3B89E7D972C9}"/>
                </a:ext>
              </a:extLst>
            </p:cNvPr>
            <p:cNvSpPr/>
            <p:nvPr/>
          </p:nvSpPr>
          <p:spPr>
            <a:xfrm>
              <a:off x="10274579" y="3108036"/>
              <a:ext cx="82800" cy="47551"/>
            </a:xfrm>
            <a:custGeom>
              <a:avLst/>
              <a:gdLst>
                <a:gd name="connsiteX0" fmla="*/ 0 w 56797"/>
                <a:gd name="connsiteY0" fmla="*/ 30857 h 32618"/>
                <a:gd name="connsiteX1" fmla="*/ 45242 w 56797"/>
                <a:gd name="connsiteY1" fmla="*/ 993 h 32618"/>
                <a:gd name="connsiteX2" fmla="*/ 55703 w 56797"/>
                <a:gd name="connsiteY2" fmla="*/ 13690 h 32618"/>
                <a:gd name="connsiteX3" fmla="*/ 0 w 56797"/>
                <a:gd name="connsiteY3" fmla="*/ 30857 h 32618"/>
              </a:gdLst>
              <a:ahLst/>
              <a:cxnLst>
                <a:cxn ang="0">
                  <a:pos x="connsiteX0" y="connsiteY0"/>
                </a:cxn>
                <a:cxn ang="0">
                  <a:pos x="connsiteX1" y="connsiteY1"/>
                </a:cxn>
                <a:cxn ang="0">
                  <a:pos x="connsiteX2" y="connsiteY2"/>
                </a:cxn>
                <a:cxn ang="0">
                  <a:pos x="connsiteX3" y="connsiteY3"/>
                </a:cxn>
              </a:cxnLst>
              <a:rect l="l" t="t" r="r" b="b"/>
              <a:pathLst>
                <a:path w="56797" h="32618">
                  <a:moveTo>
                    <a:pt x="0" y="30857"/>
                  </a:moveTo>
                  <a:cubicBezTo>
                    <a:pt x="1699" y="-1063"/>
                    <a:pt x="22621" y="-1689"/>
                    <a:pt x="45242" y="993"/>
                  </a:cubicBezTo>
                  <a:cubicBezTo>
                    <a:pt x="52216" y="1798"/>
                    <a:pt x="59637" y="7431"/>
                    <a:pt x="55703" y="13690"/>
                  </a:cubicBezTo>
                  <a:cubicBezTo>
                    <a:pt x="42381" y="34701"/>
                    <a:pt x="21458" y="34254"/>
                    <a:pt x="0" y="3085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6" name="Freeform: Shape 235">
              <a:extLst>
                <a:ext uri="{FF2B5EF4-FFF2-40B4-BE49-F238E27FC236}">
                  <a16:creationId xmlns:a16="http://schemas.microsoft.com/office/drawing/2014/main" id="{62AF1F24-F7B4-BDC2-7334-66A6B10A7FCA}"/>
                </a:ext>
              </a:extLst>
            </p:cNvPr>
            <p:cNvSpPr/>
            <p:nvPr/>
          </p:nvSpPr>
          <p:spPr>
            <a:xfrm>
              <a:off x="10658904" y="3001154"/>
              <a:ext cx="83734" cy="54103"/>
            </a:xfrm>
            <a:custGeom>
              <a:avLst/>
              <a:gdLst>
                <a:gd name="connsiteX0" fmla="*/ 3354 w 57438"/>
                <a:gd name="connsiteY0" fmla="*/ 1528 h 37111"/>
                <a:gd name="connsiteX1" fmla="*/ 6215 w 57438"/>
                <a:gd name="connsiteY1" fmla="*/ 8 h 37111"/>
                <a:gd name="connsiteX2" fmla="*/ 57269 w 57438"/>
                <a:gd name="connsiteY2" fmla="*/ 28620 h 37111"/>
                <a:gd name="connsiteX3" fmla="*/ 54229 w 57438"/>
                <a:gd name="connsiteY3" fmla="*/ 35862 h 37111"/>
                <a:gd name="connsiteX4" fmla="*/ 4606 w 57438"/>
                <a:gd name="connsiteY4" fmla="*/ 20841 h 37111"/>
                <a:gd name="connsiteX5" fmla="*/ 3443 w 57438"/>
                <a:gd name="connsiteY5" fmla="*/ 1528 h 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38" h="37111">
                  <a:moveTo>
                    <a:pt x="3354" y="1528"/>
                  </a:moveTo>
                  <a:cubicBezTo>
                    <a:pt x="4337" y="992"/>
                    <a:pt x="5232" y="97"/>
                    <a:pt x="6215" y="8"/>
                  </a:cubicBezTo>
                  <a:cubicBezTo>
                    <a:pt x="28747" y="-350"/>
                    <a:pt x="44662" y="11363"/>
                    <a:pt x="57269" y="28620"/>
                  </a:cubicBezTo>
                  <a:cubicBezTo>
                    <a:pt x="58074" y="29782"/>
                    <a:pt x="55839" y="35326"/>
                    <a:pt x="54229" y="35862"/>
                  </a:cubicBezTo>
                  <a:cubicBezTo>
                    <a:pt x="34648" y="41316"/>
                    <a:pt x="20610" y="27547"/>
                    <a:pt x="4606" y="20841"/>
                  </a:cubicBezTo>
                  <a:cubicBezTo>
                    <a:pt x="-1743" y="14761"/>
                    <a:pt x="-938" y="8234"/>
                    <a:pt x="3443" y="152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7" name="Freeform: Shape 236">
              <a:extLst>
                <a:ext uri="{FF2B5EF4-FFF2-40B4-BE49-F238E27FC236}">
                  <a16:creationId xmlns:a16="http://schemas.microsoft.com/office/drawing/2014/main" id="{F2B20E5C-2BBB-41DD-91DC-B68907FF6DB1}"/>
                </a:ext>
              </a:extLst>
            </p:cNvPr>
            <p:cNvSpPr/>
            <p:nvPr/>
          </p:nvSpPr>
          <p:spPr>
            <a:xfrm>
              <a:off x="9149428" y="3155634"/>
              <a:ext cx="59699" cy="47328"/>
            </a:xfrm>
            <a:custGeom>
              <a:avLst/>
              <a:gdLst>
                <a:gd name="connsiteX0" fmla="*/ 34871 w 40950"/>
                <a:gd name="connsiteY0" fmla="*/ 16268 h 32465"/>
                <a:gd name="connsiteX1" fmla="*/ 15379 w 40950"/>
                <a:gd name="connsiteY1" fmla="*/ 29680 h 32465"/>
                <a:gd name="connsiteX2" fmla="*/ 15379 w 40950"/>
                <a:gd name="connsiteY2" fmla="*/ 29680 h 32465"/>
                <a:gd name="connsiteX3" fmla="*/ 0 w 40950"/>
                <a:gd name="connsiteY3" fmla="*/ 23421 h 32465"/>
                <a:gd name="connsiteX4" fmla="*/ 9478 w 40950"/>
                <a:gd name="connsiteY4" fmla="*/ 11797 h 32465"/>
                <a:gd name="connsiteX5" fmla="*/ 40951 w 40950"/>
                <a:gd name="connsiteY5" fmla="*/ 5449 h 32465"/>
                <a:gd name="connsiteX6" fmla="*/ 34871 w 40950"/>
                <a:gd name="connsiteY6" fmla="*/ 16268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 h="32465">
                  <a:moveTo>
                    <a:pt x="34871" y="16268"/>
                  </a:moveTo>
                  <a:cubicBezTo>
                    <a:pt x="28343" y="20738"/>
                    <a:pt x="21906" y="25209"/>
                    <a:pt x="15379" y="29680"/>
                  </a:cubicBezTo>
                  <a:lnTo>
                    <a:pt x="15379" y="29680"/>
                  </a:lnTo>
                  <a:cubicBezTo>
                    <a:pt x="7332" y="34776"/>
                    <a:pt x="2056" y="32988"/>
                    <a:pt x="0" y="23421"/>
                  </a:cubicBezTo>
                  <a:lnTo>
                    <a:pt x="9478" y="11797"/>
                  </a:lnTo>
                  <a:cubicBezTo>
                    <a:pt x="18776" y="3840"/>
                    <a:pt x="27628" y="-6532"/>
                    <a:pt x="40951" y="5449"/>
                  </a:cubicBezTo>
                  <a:cubicBezTo>
                    <a:pt x="38894" y="9025"/>
                    <a:pt x="36927" y="12691"/>
                    <a:pt x="34871" y="1626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8" name="Freeform: Shape 237">
              <a:extLst>
                <a:ext uri="{FF2B5EF4-FFF2-40B4-BE49-F238E27FC236}">
                  <a16:creationId xmlns:a16="http://schemas.microsoft.com/office/drawing/2014/main" id="{6EEDEBF7-2CAE-C253-0BC7-F9C43FCD2B85}"/>
                </a:ext>
              </a:extLst>
            </p:cNvPr>
            <p:cNvSpPr/>
            <p:nvPr/>
          </p:nvSpPr>
          <p:spPr>
            <a:xfrm>
              <a:off x="9420549" y="2997078"/>
              <a:ext cx="47835" cy="23193"/>
            </a:xfrm>
            <a:custGeom>
              <a:avLst/>
              <a:gdLst>
                <a:gd name="connsiteX0" fmla="*/ 32814 w 32813"/>
                <a:gd name="connsiteY0" fmla="*/ 6649 h 15909"/>
                <a:gd name="connsiteX1" fmla="*/ 0 w 32813"/>
                <a:gd name="connsiteY1" fmla="*/ 7453 h 15909"/>
                <a:gd name="connsiteX2" fmla="*/ 32814 w 32813"/>
                <a:gd name="connsiteY2" fmla="*/ 6649 h 15909"/>
              </a:gdLst>
              <a:ahLst/>
              <a:cxnLst>
                <a:cxn ang="0">
                  <a:pos x="connsiteX0" y="connsiteY0"/>
                </a:cxn>
                <a:cxn ang="0">
                  <a:pos x="connsiteX1" y="connsiteY1"/>
                </a:cxn>
                <a:cxn ang="0">
                  <a:pos x="connsiteX2" y="connsiteY2"/>
                </a:cxn>
              </a:cxnLst>
              <a:rect l="l" t="t" r="r" b="b"/>
              <a:pathLst>
                <a:path w="32813" h="15909">
                  <a:moveTo>
                    <a:pt x="32814" y="6649"/>
                  </a:moveTo>
                  <a:cubicBezTo>
                    <a:pt x="21995" y="12550"/>
                    <a:pt x="11355" y="23726"/>
                    <a:pt x="0" y="7453"/>
                  </a:cubicBezTo>
                  <a:cubicBezTo>
                    <a:pt x="10729" y="-1220"/>
                    <a:pt x="21637" y="-3365"/>
                    <a:pt x="32814" y="66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39" name="Freeform: Shape 238">
              <a:extLst>
                <a:ext uri="{FF2B5EF4-FFF2-40B4-BE49-F238E27FC236}">
                  <a16:creationId xmlns:a16="http://schemas.microsoft.com/office/drawing/2014/main" id="{DF4337D5-EE95-3F64-B60A-370161833A65}"/>
                </a:ext>
              </a:extLst>
            </p:cNvPr>
            <p:cNvSpPr/>
            <p:nvPr/>
          </p:nvSpPr>
          <p:spPr>
            <a:xfrm>
              <a:off x="14911704" y="8715741"/>
              <a:ext cx="157577" cy="178092"/>
            </a:xfrm>
            <a:custGeom>
              <a:avLst/>
              <a:gdLst>
                <a:gd name="connsiteX0" fmla="*/ 4882 w 108090"/>
                <a:gd name="connsiteY0" fmla="*/ 318 h 122163"/>
                <a:gd name="connsiteX1" fmla="*/ 89287 w 108090"/>
                <a:gd name="connsiteY1" fmla="*/ 3537 h 122163"/>
                <a:gd name="connsiteX2" fmla="*/ 107795 w 108090"/>
                <a:gd name="connsiteY2" fmla="*/ 13819 h 122163"/>
                <a:gd name="connsiteX3" fmla="*/ 78110 w 108090"/>
                <a:gd name="connsiteY3" fmla="*/ 92054 h 122163"/>
                <a:gd name="connsiteX4" fmla="*/ 63715 w 108090"/>
                <a:gd name="connsiteY4" fmla="*/ 117805 h 122163"/>
                <a:gd name="connsiteX5" fmla="*/ 3094 w 108090"/>
                <a:gd name="connsiteY5" fmla="*/ 84991 h 122163"/>
                <a:gd name="connsiteX6" fmla="*/ 8816 w 108090"/>
                <a:gd name="connsiteY6" fmla="*/ 58883 h 122163"/>
                <a:gd name="connsiteX7" fmla="*/ 3899 w 108090"/>
                <a:gd name="connsiteY7" fmla="*/ 32685 h 122163"/>
                <a:gd name="connsiteX8" fmla="*/ 4972 w 108090"/>
                <a:gd name="connsiteY8" fmla="*/ 229 h 12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90" h="122163">
                  <a:moveTo>
                    <a:pt x="4882" y="318"/>
                  </a:moveTo>
                  <a:cubicBezTo>
                    <a:pt x="32599" y="10869"/>
                    <a:pt x="60228" y="22045"/>
                    <a:pt x="89287" y="3537"/>
                  </a:cubicBezTo>
                  <a:cubicBezTo>
                    <a:pt x="100910" y="-3885"/>
                    <a:pt x="109851" y="765"/>
                    <a:pt x="107795" y="13819"/>
                  </a:cubicBezTo>
                  <a:cubicBezTo>
                    <a:pt x="103503" y="41626"/>
                    <a:pt x="111997" y="74440"/>
                    <a:pt x="78110" y="92054"/>
                  </a:cubicBezTo>
                  <a:cubicBezTo>
                    <a:pt x="70152" y="96167"/>
                    <a:pt x="76501" y="111546"/>
                    <a:pt x="63715" y="117805"/>
                  </a:cubicBezTo>
                  <a:cubicBezTo>
                    <a:pt x="41094" y="128981"/>
                    <a:pt x="20350" y="118878"/>
                    <a:pt x="3094" y="84991"/>
                  </a:cubicBezTo>
                  <a:cubicBezTo>
                    <a:pt x="-1734" y="74798"/>
                    <a:pt x="143" y="66125"/>
                    <a:pt x="8816" y="58883"/>
                  </a:cubicBezTo>
                  <a:cubicBezTo>
                    <a:pt x="18473" y="48064"/>
                    <a:pt x="-751" y="42610"/>
                    <a:pt x="3899" y="32685"/>
                  </a:cubicBezTo>
                  <a:cubicBezTo>
                    <a:pt x="-393" y="21688"/>
                    <a:pt x="-2539" y="10779"/>
                    <a:pt x="4972" y="22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0" name="Freeform: Shape 239">
              <a:extLst>
                <a:ext uri="{FF2B5EF4-FFF2-40B4-BE49-F238E27FC236}">
                  <a16:creationId xmlns:a16="http://schemas.microsoft.com/office/drawing/2014/main" id="{60EBF590-ABDE-47F9-2428-F279E7A6C23D}"/>
                </a:ext>
              </a:extLst>
            </p:cNvPr>
            <p:cNvSpPr/>
            <p:nvPr/>
          </p:nvSpPr>
          <p:spPr>
            <a:xfrm>
              <a:off x="6248179" y="4507379"/>
              <a:ext cx="110258" cy="50290"/>
            </a:xfrm>
            <a:custGeom>
              <a:avLst/>
              <a:gdLst>
                <a:gd name="connsiteX0" fmla="*/ 70814 w 75631"/>
                <a:gd name="connsiteY0" fmla="*/ 34293 h 34497"/>
                <a:gd name="connsiteX1" fmla="*/ 0 w 75631"/>
                <a:gd name="connsiteY1" fmla="*/ 4519 h 34497"/>
                <a:gd name="connsiteX2" fmla="*/ 65002 w 75631"/>
                <a:gd name="connsiteY2" fmla="*/ 15338 h 34497"/>
                <a:gd name="connsiteX3" fmla="*/ 70814 w 75631"/>
                <a:gd name="connsiteY3" fmla="*/ 34293 h 34497"/>
              </a:gdLst>
              <a:ahLst/>
              <a:cxnLst>
                <a:cxn ang="0">
                  <a:pos x="connsiteX0" y="connsiteY0"/>
                </a:cxn>
                <a:cxn ang="0">
                  <a:pos x="connsiteX1" y="connsiteY1"/>
                </a:cxn>
                <a:cxn ang="0">
                  <a:pos x="connsiteX2" y="connsiteY2"/>
                </a:cxn>
                <a:cxn ang="0">
                  <a:pos x="connsiteX3" y="connsiteY3"/>
                </a:cxn>
              </a:cxnLst>
              <a:rect l="l" t="t" r="r" b="b"/>
              <a:pathLst>
                <a:path w="75631" h="34497">
                  <a:moveTo>
                    <a:pt x="70814" y="34293"/>
                  </a:moveTo>
                  <a:cubicBezTo>
                    <a:pt x="43096" y="35903"/>
                    <a:pt x="19224" y="28213"/>
                    <a:pt x="0" y="4519"/>
                  </a:cubicBezTo>
                  <a:cubicBezTo>
                    <a:pt x="24856" y="-6926"/>
                    <a:pt x="44706" y="5860"/>
                    <a:pt x="65002" y="15338"/>
                  </a:cubicBezTo>
                  <a:cubicBezTo>
                    <a:pt x="71797" y="20166"/>
                    <a:pt x="81633" y="24100"/>
                    <a:pt x="70814" y="342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1" name="Freeform: Shape 240">
              <a:extLst>
                <a:ext uri="{FF2B5EF4-FFF2-40B4-BE49-F238E27FC236}">
                  <a16:creationId xmlns:a16="http://schemas.microsoft.com/office/drawing/2014/main" id="{DAFE0ED2-42BE-E702-D28F-511A45D9F8FC}"/>
                </a:ext>
              </a:extLst>
            </p:cNvPr>
            <p:cNvSpPr/>
            <p:nvPr/>
          </p:nvSpPr>
          <p:spPr>
            <a:xfrm>
              <a:off x="10736490" y="2125950"/>
              <a:ext cx="85559" cy="72169"/>
            </a:xfrm>
            <a:custGeom>
              <a:avLst/>
              <a:gdLst>
                <a:gd name="connsiteX0" fmla="*/ 53761 w 58690"/>
                <a:gd name="connsiteY0" fmla="*/ 39031 h 49504"/>
                <a:gd name="connsiteX1" fmla="*/ 41601 w 58690"/>
                <a:gd name="connsiteY1" fmla="*/ 46721 h 49504"/>
                <a:gd name="connsiteX2" fmla="*/ 10039 w 58690"/>
                <a:gd name="connsiteY2" fmla="*/ 48598 h 49504"/>
                <a:gd name="connsiteX3" fmla="*/ 1813 w 58690"/>
                <a:gd name="connsiteY3" fmla="*/ 32951 h 49504"/>
                <a:gd name="connsiteX4" fmla="*/ 20947 w 58690"/>
                <a:gd name="connsiteY4" fmla="*/ 16857 h 49504"/>
                <a:gd name="connsiteX5" fmla="*/ 53761 w 58690"/>
                <a:gd name="connsiteY5" fmla="*/ 7022 h 49504"/>
                <a:gd name="connsiteX6" fmla="*/ 53761 w 58690"/>
                <a:gd name="connsiteY6" fmla="*/ 39121 h 4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90" h="49504">
                  <a:moveTo>
                    <a:pt x="53761" y="39031"/>
                  </a:moveTo>
                  <a:cubicBezTo>
                    <a:pt x="49738" y="41624"/>
                    <a:pt x="45625" y="44128"/>
                    <a:pt x="41601" y="46721"/>
                  </a:cubicBezTo>
                  <a:cubicBezTo>
                    <a:pt x="31319" y="50923"/>
                    <a:pt x="20589" y="49313"/>
                    <a:pt x="10039" y="48598"/>
                  </a:cubicBezTo>
                  <a:cubicBezTo>
                    <a:pt x="25" y="47883"/>
                    <a:pt x="-2032" y="41624"/>
                    <a:pt x="1813" y="32951"/>
                  </a:cubicBezTo>
                  <a:cubicBezTo>
                    <a:pt x="8430" y="27676"/>
                    <a:pt x="19248" y="23384"/>
                    <a:pt x="20947" y="16857"/>
                  </a:cubicBezTo>
                  <a:cubicBezTo>
                    <a:pt x="26938" y="-7105"/>
                    <a:pt x="39634" y="-757"/>
                    <a:pt x="53761" y="7022"/>
                  </a:cubicBezTo>
                  <a:cubicBezTo>
                    <a:pt x="60288" y="17751"/>
                    <a:pt x="60378" y="28391"/>
                    <a:pt x="53761" y="3912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2" name="Freeform: Shape 241">
              <a:extLst>
                <a:ext uri="{FF2B5EF4-FFF2-40B4-BE49-F238E27FC236}">
                  <a16:creationId xmlns:a16="http://schemas.microsoft.com/office/drawing/2014/main" id="{C099DF5A-8771-9E4F-F68A-54DD49A9AD36}"/>
                </a:ext>
              </a:extLst>
            </p:cNvPr>
            <p:cNvSpPr/>
            <p:nvPr/>
          </p:nvSpPr>
          <p:spPr>
            <a:xfrm>
              <a:off x="10631866" y="2168119"/>
              <a:ext cx="94347" cy="63927"/>
            </a:xfrm>
            <a:custGeom>
              <a:avLst/>
              <a:gdLst>
                <a:gd name="connsiteX0" fmla="*/ 62046 w 64718"/>
                <a:gd name="connsiteY0" fmla="*/ 23785 h 43851"/>
                <a:gd name="connsiteX1" fmla="*/ 23152 w 64718"/>
                <a:gd name="connsiteY1" fmla="*/ 40505 h 43851"/>
                <a:gd name="connsiteX2" fmla="*/ 84 w 64718"/>
                <a:gd name="connsiteY2" fmla="*/ 29150 h 43851"/>
                <a:gd name="connsiteX3" fmla="*/ 16625 w 64718"/>
                <a:gd name="connsiteY3" fmla="*/ 7959 h 43851"/>
                <a:gd name="connsiteX4" fmla="*/ 28517 w 64718"/>
                <a:gd name="connsiteY4" fmla="*/ 3042 h 43851"/>
                <a:gd name="connsiteX5" fmla="*/ 60616 w 64718"/>
                <a:gd name="connsiteY5" fmla="*/ 5992 h 43851"/>
                <a:gd name="connsiteX6" fmla="*/ 62941 w 64718"/>
                <a:gd name="connsiteY6" fmla="*/ 10195 h 43851"/>
                <a:gd name="connsiteX7" fmla="*/ 62046 w 64718"/>
                <a:gd name="connsiteY7" fmla="*/ 23785 h 4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18" h="43851">
                  <a:moveTo>
                    <a:pt x="62046" y="23785"/>
                  </a:moveTo>
                  <a:cubicBezTo>
                    <a:pt x="46489" y="23428"/>
                    <a:pt x="44074" y="53738"/>
                    <a:pt x="23152" y="40505"/>
                  </a:cubicBezTo>
                  <a:cubicBezTo>
                    <a:pt x="15731" y="35856"/>
                    <a:pt x="1425" y="43635"/>
                    <a:pt x="84" y="29150"/>
                  </a:cubicBezTo>
                  <a:cubicBezTo>
                    <a:pt x="-899" y="18242"/>
                    <a:pt x="6879" y="11804"/>
                    <a:pt x="16625" y="7959"/>
                  </a:cubicBezTo>
                  <a:cubicBezTo>
                    <a:pt x="20649" y="6350"/>
                    <a:pt x="24493" y="4651"/>
                    <a:pt x="28517" y="3042"/>
                  </a:cubicBezTo>
                  <a:cubicBezTo>
                    <a:pt x="39515" y="896"/>
                    <a:pt x="50780" y="-3843"/>
                    <a:pt x="60616" y="5992"/>
                  </a:cubicBezTo>
                  <a:cubicBezTo>
                    <a:pt x="60169" y="8049"/>
                    <a:pt x="60973" y="9479"/>
                    <a:pt x="62941" y="10195"/>
                  </a:cubicBezTo>
                  <a:cubicBezTo>
                    <a:pt x="65801" y="14934"/>
                    <a:pt x="64997" y="19494"/>
                    <a:pt x="62046" y="2378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3" name="Freeform: Shape 242">
              <a:extLst>
                <a:ext uri="{FF2B5EF4-FFF2-40B4-BE49-F238E27FC236}">
                  <a16:creationId xmlns:a16="http://schemas.microsoft.com/office/drawing/2014/main" id="{0525D4D2-F149-9F26-5743-04D380249FDB}"/>
                </a:ext>
              </a:extLst>
            </p:cNvPr>
            <p:cNvSpPr/>
            <p:nvPr/>
          </p:nvSpPr>
          <p:spPr>
            <a:xfrm>
              <a:off x="10500611" y="2126404"/>
              <a:ext cx="79371" cy="37285"/>
            </a:xfrm>
            <a:custGeom>
              <a:avLst/>
              <a:gdLst>
                <a:gd name="connsiteX0" fmla="*/ 7146 w 54445"/>
                <a:gd name="connsiteY0" fmla="*/ 25487 h 25576"/>
                <a:gd name="connsiteX1" fmla="*/ 14389 w 54445"/>
                <a:gd name="connsiteY1" fmla="*/ 6085 h 25576"/>
                <a:gd name="connsiteX2" fmla="*/ 47828 w 54445"/>
                <a:gd name="connsiteY2" fmla="*/ 720 h 25576"/>
                <a:gd name="connsiteX3" fmla="*/ 53908 w 54445"/>
                <a:gd name="connsiteY3" fmla="*/ 6264 h 25576"/>
                <a:gd name="connsiteX4" fmla="*/ 7146 w 54445"/>
                <a:gd name="connsiteY4" fmla="*/ 25577 h 2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25576">
                  <a:moveTo>
                    <a:pt x="7146" y="25487"/>
                  </a:moveTo>
                  <a:cubicBezTo>
                    <a:pt x="-4925" y="13596"/>
                    <a:pt x="-1170" y="7337"/>
                    <a:pt x="14389" y="6085"/>
                  </a:cubicBezTo>
                  <a:cubicBezTo>
                    <a:pt x="25654" y="5101"/>
                    <a:pt x="37725" y="9036"/>
                    <a:pt x="47828" y="720"/>
                  </a:cubicBezTo>
                  <a:cubicBezTo>
                    <a:pt x="53193" y="-1068"/>
                    <a:pt x="55607" y="363"/>
                    <a:pt x="53908" y="6264"/>
                  </a:cubicBezTo>
                  <a:cubicBezTo>
                    <a:pt x="42642" y="23252"/>
                    <a:pt x="23151" y="20123"/>
                    <a:pt x="7146" y="2557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4" name="Freeform: Shape 243">
              <a:extLst>
                <a:ext uri="{FF2B5EF4-FFF2-40B4-BE49-F238E27FC236}">
                  <a16:creationId xmlns:a16="http://schemas.microsoft.com/office/drawing/2014/main" id="{FD0B6CC1-34ED-28AA-C5F0-BF55A65103F0}"/>
                </a:ext>
              </a:extLst>
            </p:cNvPr>
            <p:cNvSpPr/>
            <p:nvPr/>
          </p:nvSpPr>
          <p:spPr>
            <a:xfrm>
              <a:off x="10397453" y="2233863"/>
              <a:ext cx="65216" cy="27207"/>
            </a:xfrm>
            <a:custGeom>
              <a:avLst/>
              <a:gdLst>
                <a:gd name="connsiteX0" fmla="*/ 44735 w 44735"/>
                <a:gd name="connsiteY0" fmla="*/ 6316 h 18663"/>
                <a:gd name="connsiteX1" fmla="*/ 5573 w 44735"/>
                <a:gd name="connsiteY1" fmla="*/ 16331 h 18663"/>
                <a:gd name="connsiteX2" fmla="*/ 6199 w 44735"/>
                <a:gd name="connsiteY2" fmla="*/ 3724 h 18663"/>
                <a:gd name="connsiteX3" fmla="*/ 44735 w 44735"/>
                <a:gd name="connsiteY3" fmla="*/ 6316 h 18663"/>
              </a:gdLst>
              <a:ahLst/>
              <a:cxnLst>
                <a:cxn ang="0">
                  <a:pos x="connsiteX0" y="connsiteY0"/>
                </a:cxn>
                <a:cxn ang="0">
                  <a:pos x="connsiteX1" y="connsiteY1"/>
                </a:cxn>
                <a:cxn ang="0">
                  <a:pos x="connsiteX2" y="connsiteY2"/>
                </a:cxn>
                <a:cxn ang="0">
                  <a:pos x="connsiteX3" y="connsiteY3"/>
                </a:cxn>
              </a:cxnLst>
              <a:rect l="l" t="t" r="r" b="b"/>
              <a:pathLst>
                <a:path w="44735" h="18663">
                  <a:moveTo>
                    <a:pt x="44735" y="6316"/>
                  </a:moveTo>
                  <a:cubicBezTo>
                    <a:pt x="34811" y="21516"/>
                    <a:pt x="19521" y="19728"/>
                    <a:pt x="5573" y="16331"/>
                  </a:cubicBezTo>
                  <a:cubicBezTo>
                    <a:pt x="-3994" y="14006"/>
                    <a:pt x="477" y="7747"/>
                    <a:pt x="6199" y="3724"/>
                  </a:cubicBezTo>
                  <a:cubicBezTo>
                    <a:pt x="19342" y="594"/>
                    <a:pt x="32486" y="-3876"/>
                    <a:pt x="44735" y="631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5" name="Freeform: Shape 244">
              <a:extLst>
                <a:ext uri="{FF2B5EF4-FFF2-40B4-BE49-F238E27FC236}">
                  <a16:creationId xmlns:a16="http://schemas.microsoft.com/office/drawing/2014/main" id="{8EB0C9FF-C924-F728-A581-31800BF56DFB}"/>
                </a:ext>
              </a:extLst>
            </p:cNvPr>
            <p:cNvSpPr/>
            <p:nvPr/>
          </p:nvSpPr>
          <p:spPr>
            <a:xfrm>
              <a:off x="10651452" y="2132445"/>
              <a:ext cx="34887" cy="31102"/>
            </a:xfrm>
            <a:custGeom>
              <a:avLst/>
              <a:gdLst>
                <a:gd name="connsiteX0" fmla="*/ 14545 w 23931"/>
                <a:gd name="connsiteY0" fmla="*/ 20539 h 21335"/>
                <a:gd name="connsiteX1" fmla="*/ 1043 w 23931"/>
                <a:gd name="connsiteY1" fmla="*/ 17767 h 21335"/>
                <a:gd name="connsiteX2" fmla="*/ 8822 w 23931"/>
                <a:gd name="connsiteY2" fmla="*/ 242 h 21335"/>
                <a:gd name="connsiteX3" fmla="*/ 20714 w 23931"/>
                <a:gd name="connsiteY3" fmla="*/ 14995 h 21335"/>
                <a:gd name="connsiteX4" fmla="*/ 20983 w 23931"/>
                <a:gd name="connsiteY4" fmla="*/ 14638 h 21335"/>
                <a:gd name="connsiteX5" fmla="*/ 14545 w 23931"/>
                <a:gd name="connsiteY5" fmla="*/ 20539 h 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31" h="21335">
                  <a:moveTo>
                    <a:pt x="14545" y="20539"/>
                  </a:moveTo>
                  <a:cubicBezTo>
                    <a:pt x="9717" y="20897"/>
                    <a:pt x="3279" y="23221"/>
                    <a:pt x="1043" y="17767"/>
                  </a:cubicBezTo>
                  <a:cubicBezTo>
                    <a:pt x="-2086" y="10257"/>
                    <a:pt x="2206" y="4355"/>
                    <a:pt x="8822" y="242"/>
                  </a:cubicBezTo>
                  <a:cubicBezTo>
                    <a:pt x="20088" y="-652"/>
                    <a:pt x="28940" y="242"/>
                    <a:pt x="20714" y="14995"/>
                  </a:cubicBezTo>
                  <a:lnTo>
                    <a:pt x="20983" y="14638"/>
                  </a:lnTo>
                  <a:cubicBezTo>
                    <a:pt x="20178" y="18035"/>
                    <a:pt x="18032" y="20002"/>
                    <a:pt x="14545" y="2053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6" name="Freeform: Shape 245">
              <a:extLst>
                <a:ext uri="{FF2B5EF4-FFF2-40B4-BE49-F238E27FC236}">
                  <a16:creationId xmlns:a16="http://schemas.microsoft.com/office/drawing/2014/main" id="{A40AF738-2642-85DE-A4A1-934BA0807B70}"/>
                </a:ext>
              </a:extLst>
            </p:cNvPr>
            <p:cNvSpPr/>
            <p:nvPr/>
          </p:nvSpPr>
          <p:spPr>
            <a:xfrm>
              <a:off x="10718930" y="2083124"/>
              <a:ext cx="33948" cy="27198"/>
            </a:xfrm>
            <a:custGeom>
              <a:avLst/>
              <a:gdLst>
                <a:gd name="connsiteX0" fmla="*/ 8137 w 23287"/>
                <a:gd name="connsiteY0" fmla="*/ 17891 h 18657"/>
                <a:gd name="connsiteX1" fmla="*/ 0 w 23287"/>
                <a:gd name="connsiteY1" fmla="*/ 9754 h 18657"/>
                <a:gd name="connsiteX2" fmla="*/ 21102 w 23287"/>
                <a:gd name="connsiteY2" fmla="*/ 3227 h 18657"/>
                <a:gd name="connsiteX3" fmla="*/ 21190 w 23287"/>
                <a:gd name="connsiteY3" fmla="*/ 3227 h 18657"/>
                <a:gd name="connsiteX4" fmla="*/ 8137 w 23287"/>
                <a:gd name="connsiteY4" fmla="*/ 17891 h 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87" h="18657">
                  <a:moveTo>
                    <a:pt x="8137" y="17891"/>
                  </a:moveTo>
                  <a:cubicBezTo>
                    <a:pt x="5455" y="15208"/>
                    <a:pt x="2683" y="12437"/>
                    <a:pt x="0" y="9754"/>
                  </a:cubicBezTo>
                  <a:cubicBezTo>
                    <a:pt x="3308" y="-4462"/>
                    <a:pt x="12428" y="187"/>
                    <a:pt x="21102" y="3227"/>
                  </a:cubicBezTo>
                  <a:lnTo>
                    <a:pt x="21190" y="3227"/>
                  </a:lnTo>
                  <a:cubicBezTo>
                    <a:pt x="26823" y="17086"/>
                    <a:pt x="20654" y="20394"/>
                    <a:pt x="8137" y="1789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7" name="Freeform: Shape 246">
              <a:extLst>
                <a:ext uri="{FF2B5EF4-FFF2-40B4-BE49-F238E27FC236}">
                  <a16:creationId xmlns:a16="http://schemas.microsoft.com/office/drawing/2014/main" id="{BCDBB89A-FD44-8C1F-AFFD-FB320032A41C}"/>
                </a:ext>
              </a:extLst>
            </p:cNvPr>
            <p:cNvSpPr/>
            <p:nvPr/>
          </p:nvSpPr>
          <p:spPr>
            <a:xfrm>
              <a:off x="11053291" y="2695770"/>
              <a:ext cx="64226" cy="50177"/>
            </a:xfrm>
            <a:custGeom>
              <a:avLst/>
              <a:gdLst>
                <a:gd name="connsiteX0" fmla="*/ 26181 w 44056"/>
                <a:gd name="connsiteY0" fmla="*/ 34420 h 34419"/>
                <a:gd name="connsiteX1" fmla="*/ 1057 w 44056"/>
                <a:gd name="connsiteY1" fmla="*/ 31201 h 34419"/>
                <a:gd name="connsiteX2" fmla="*/ 17151 w 44056"/>
                <a:gd name="connsiteY2" fmla="*/ 622 h 34419"/>
                <a:gd name="connsiteX3" fmla="*/ 41828 w 44056"/>
                <a:gd name="connsiteY3" fmla="*/ 23422 h 34419"/>
                <a:gd name="connsiteX4" fmla="*/ 26092 w 44056"/>
                <a:gd name="connsiteY4" fmla="*/ 34420 h 3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56" h="34419">
                  <a:moveTo>
                    <a:pt x="26181" y="34420"/>
                  </a:moveTo>
                  <a:cubicBezTo>
                    <a:pt x="17777" y="33347"/>
                    <a:pt x="9462" y="32274"/>
                    <a:pt x="1057" y="31201"/>
                  </a:cubicBezTo>
                  <a:cubicBezTo>
                    <a:pt x="-2877" y="16090"/>
                    <a:pt x="4544" y="4378"/>
                    <a:pt x="17151" y="622"/>
                  </a:cubicBezTo>
                  <a:cubicBezTo>
                    <a:pt x="32083" y="-3759"/>
                    <a:pt x="32887" y="16180"/>
                    <a:pt x="41828" y="23422"/>
                  </a:cubicBezTo>
                  <a:cubicBezTo>
                    <a:pt x="50859" y="30754"/>
                    <a:pt x="29758" y="27356"/>
                    <a:pt x="26092" y="3442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8" name="Freeform: Shape 247">
              <a:extLst>
                <a:ext uri="{FF2B5EF4-FFF2-40B4-BE49-F238E27FC236}">
                  <a16:creationId xmlns:a16="http://schemas.microsoft.com/office/drawing/2014/main" id="{B2E29F4E-51BB-16EC-2ACD-628C297576D8}"/>
                </a:ext>
              </a:extLst>
            </p:cNvPr>
            <p:cNvSpPr/>
            <p:nvPr/>
          </p:nvSpPr>
          <p:spPr>
            <a:xfrm>
              <a:off x="8251863" y="4129704"/>
              <a:ext cx="184573" cy="235926"/>
            </a:xfrm>
            <a:custGeom>
              <a:avLst/>
              <a:gdLst>
                <a:gd name="connsiteX0" fmla="*/ 105953 w 126609"/>
                <a:gd name="connsiteY0" fmla="*/ 89 h 161834"/>
                <a:gd name="connsiteX1" fmla="*/ 122583 w 126609"/>
                <a:gd name="connsiteY1" fmla="*/ 6438 h 161834"/>
                <a:gd name="connsiteX2" fmla="*/ 123925 w 126609"/>
                <a:gd name="connsiteY2" fmla="*/ 19045 h 161834"/>
                <a:gd name="connsiteX3" fmla="*/ 121957 w 126609"/>
                <a:gd name="connsiteY3" fmla="*/ 74390 h 161834"/>
                <a:gd name="connsiteX4" fmla="*/ 84852 w 126609"/>
                <a:gd name="connsiteY4" fmla="*/ 144310 h 161834"/>
                <a:gd name="connsiteX5" fmla="*/ 0 w 126609"/>
                <a:gd name="connsiteY5" fmla="*/ 161835 h 161834"/>
                <a:gd name="connsiteX6" fmla="*/ 12875 w 126609"/>
                <a:gd name="connsiteY6" fmla="*/ 117666 h 161834"/>
                <a:gd name="connsiteX7" fmla="*/ 23784 w 126609"/>
                <a:gd name="connsiteY7" fmla="*/ 97369 h 161834"/>
                <a:gd name="connsiteX8" fmla="*/ 26734 w 126609"/>
                <a:gd name="connsiteY8" fmla="*/ 93346 h 161834"/>
                <a:gd name="connsiteX9" fmla="*/ 19313 w 126609"/>
                <a:gd name="connsiteY9" fmla="*/ 78414 h 161834"/>
                <a:gd name="connsiteX10" fmla="*/ 17435 w 126609"/>
                <a:gd name="connsiteY10" fmla="*/ 76805 h 161834"/>
                <a:gd name="connsiteX11" fmla="*/ 14932 w 126609"/>
                <a:gd name="connsiteY11" fmla="*/ 77073 h 161834"/>
                <a:gd name="connsiteX12" fmla="*/ 13769 w 126609"/>
                <a:gd name="connsiteY12" fmla="*/ 49176 h 161834"/>
                <a:gd name="connsiteX13" fmla="*/ 13591 w 126609"/>
                <a:gd name="connsiteY13" fmla="*/ 48014 h 161834"/>
                <a:gd name="connsiteX14" fmla="*/ 45332 w 126609"/>
                <a:gd name="connsiteY14" fmla="*/ 44348 h 161834"/>
                <a:gd name="connsiteX15" fmla="*/ 71529 w 126609"/>
                <a:gd name="connsiteY15" fmla="*/ 6169 h 161834"/>
                <a:gd name="connsiteX16" fmla="*/ 106042 w 126609"/>
                <a:gd name="connsiteY16" fmla="*/ 0 h 16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609" h="161834">
                  <a:moveTo>
                    <a:pt x="105953" y="89"/>
                  </a:moveTo>
                  <a:cubicBezTo>
                    <a:pt x="110244" y="5454"/>
                    <a:pt x="116146" y="6617"/>
                    <a:pt x="122583" y="6438"/>
                  </a:cubicBezTo>
                  <a:cubicBezTo>
                    <a:pt x="128127" y="10104"/>
                    <a:pt x="127322" y="14395"/>
                    <a:pt x="123925" y="19045"/>
                  </a:cubicBezTo>
                  <a:cubicBezTo>
                    <a:pt x="129737" y="37642"/>
                    <a:pt x="120258" y="55614"/>
                    <a:pt x="121957" y="74390"/>
                  </a:cubicBezTo>
                  <a:cubicBezTo>
                    <a:pt x="124818" y="104880"/>
                    <a:pt x="127054" y="128753"/>
                    <a:pt x="84852" y="144310"/>
                  </a:cubicBezTo>
                  <a:cubicBezTo>
                    <a:pt x="55793" y="155040"/>
                    <a:pt x="28433" y="157096"/>
                    <a:pt x="0" y="161835"/>
                  </a:cubicBezTo>
                  <a:cubicBezTo>
                    <a:pt x="715" y="146099"/>
                    <a:pt x="-2414" y="129200"/>
                    <a:pt x="12875" y="117666"/>
                  </a:cubicBezTo>
                  <a:cubicBezTo>
                    <a:pt x="23784" y="114805"/>
                    <a:pt x="15290" y="101572"/>
                    <a:pt x="23784" y="97369"/>
                  </a:cubicBezTo>
                  <a:cubicBezTo>
                    <a:pt x="26019" y="96922"/>
                    <a:pt x="27002" y="95581"/>
                    <a:pt x="26734" y="93346"/>
                  </a:cubicBezTo>
                  <a:cubicBezTo>
                    <a:pt x="31741" y="84673"/>
                    <a:pt x="25125" y="81722"/>
                    <a:pt x="19313" y="78414"/>
                  </a:cubicBezTo>
                  <a:lnTo>
                    <a:pt x="17435" y="76805"/>
                  </a:lnTo>
                  <a:lnTo>
                    <a:pt x="14932" y="77073"/>
                  </a:lnTo>
                  <a:cubicBezTo>
                    <a:pt x="1431" y="68310"/>
                    <a:pt x="20386" y="58207"/>
                    <a:pt x="13769" y="49176"/>
                  </a:cubicBezTo>
                  <a:lnTo>
                    <a:pt x="13591" y="48014"/>
                  </a:lnTo>
                  <a:cubicBezTo>
                    <a:pt x="22979" y="36391"/>
                    <a:pt x="34424" y="42828"/>
                    <a:pt x="45332" y="44348"/>
                  </a:cubicBezTo>
                  <a:cubicBezTo>
                    <a:pt x="59369" y="35228"/>
                    <a:pt x="40861" y="3755"/>
                    <a:pt x="71529" y="6169"/>
                  </a:cubicBezTo>
                  <a:cubicBezTo>
                    <a:pt x="82080" y="-1073"/>
                    <a:pt x="94955" y="4381"/>
                    <a:pt x="10604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49" name="Freeform: Shape 248">
              <a:extLst>
                <a:ext uri="{FF2B5EF4-FFF2-40B4-BE49-F238E27FC236}">
                  <a16:creationId xmlns:a16="http://schemas.microsoft.com/office/drawing/2014/main" id="{58347D14-015F-7439-FFAE-16C013EC2E94}"/>
                </a:ext>
              </a:extLst>
            </p:cNvPr>
            <p:cNvSpPr/>
            <p:nvPr/>
          </p:nvSpPr>
          <p:spPr>
            <a:xfrm>
              <a:off x="9369192" y="2467408"/>
              <a:ext cx="105709" cy="56413"/>
            </a:xfrm>
            <a:custGeom>
              <a:avLst/>
              <a:gdLst>
                <a:gd name="connsiteX0" fmla="*/ 0 w 72512"/>
                <a:gd name="connsiteY0" fmla="*/ 37546 h 38697"/>
                <a:gd name="connsiteX1" fmla="*/ 72513 w 72512"/>
                <a:gd name="connsiteY1" fmla="*/ 22614 h 38697"/>
                <a:gd name="connsiteX2" fmla="*/ 0 w 72512"/>
                <a:gd name="connsiteY2" fmla="*/ 37546 h 38697"/>
              </a:gdLst>
              <a:ahLst/>
              <a:cxnLst>
                <a:cxn ang="0">
                  <a:pos x="connsiteX0" y="connsiteY0"/>
                </a:cxn>
                <a:cxn ang="0">
                  <a:pos x="connsiteX1" y="connsiteY1"/>
                </a:cxn>
                <a:cxn ang="0">
                  <a:pos x="connsiteX2" y="connsiteY2"/>
                </a:cxn>
              </a:cxnLst>
              <a:rect l="l" t="t" r="r" b="b"/>
              <a:pathLst>
                <a:path w="72512" h="38697">
                  <a:moveTo>
                    <a:pt x="0" y="37546"/>
                  </a:moveTo>
                  <a:cubicBezTo>
                    <a:pt x="19224" y="-7696"/>
                    <a:pt x="36480" y="-11273"/>
                    <a:pt x="72513" y="22614"/>
                  </a:cubicBezTo>
                  <a:cubicBezTo>
                    <a:pt x="45868" y="36205"/>
                    <a:pt x="21700" y="41182"/>
                    <a:pt x="0" y="3754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0" name="Freeform: Shape 249">
              <a:extLst>
                <a:ext uri="{FF2B5EF4-FFF2-40B4-BE49-F238E27FC236}">
                  <a16:creationId xmlns:a16="http://schemas.microsoft.com/office/drawing/2014/main" id="{AFE0D947-C4D1-53FE-7233-03976EE11526}"/>
                </a:ext>
              </a:extLst>
            </p:cNvPr>
            <p:cNvSpPr/>
            <p:nvPr/>
          </p:nvSpPr>
          <p:spPr>
            <a:xfrm>
              <a:off x="13540225" y="2324933"/>
              <a:ext cx="402298" cy="164963"/>
            </a:xfrm>
            <a:custGeom>
              <a:avLst/>
              <a:gdLst>
                <a:gd name="connsiteX0" fmla="*/ 2628 w 275958"/>
                <a:gd name="connsiteY0" fmla="*/ 54270 h 113157"/>
                <a:gd name="connsiteX1" fmla="*/ 44830 w 275958"/>
                <a:gd name="connsiteY1" fmla="*/ 8044 h 113157"/>
                <a:gd name="connsiteX2" fmla="*/ 83456 w 275958"/>
                <a:gd name="connsiteY2" fmla="*/ 8223 h 113157"/>
                <a:gd name="connsiteX3" fmla="*/ 125121 w 275958"/>
                <a:gd name="connsiteY3" fmla="*/ 21277 h 113157"/>
                <a:gd name="connsiteX4" fmla="*/ 133169 w 275958"/>
                <a:gd name="connsiteY4" fmla="*/ 15465 h 113157"/>
                <a:gd name="connsiteX5" fmla="*/ 133169 w 275958"/>
                <a:gd name="connsiteY5" fmla="*/ 2590 h 113157"/>
                <a:gd name="connsiteX6" fmla="*/ 170364 w 275958"/>
                <a:gd name="connsiteY6" fmla="*/ 5809 h 113157"/>
                <a:gd name="connsiteX7" fmla="*/ 251907 w 275958"/>
                <a:gd name="connsiteY7" fmla="*/ 20562 h 113157"/>
                <a:gd name="connsiteX8" fmla="*/ 275959 w 275958"/>
                <a:gd name="connsiteY8" fmla="*/ 39159 h 113157"/>
                <a:gd name="connsiteX9" fmla="*/ 199244 w 275958"/>
                <a:gd name="connsiteY9" fmla="*/ 48100 h 113157"/>
                <a:gd name="connsiteX10" fmla="*/ 188515 w 275958"/>
                <a:gd name="connsiteY10" fmla="*/ 36030 h 113157"/>
                <a:gd name="connsiteX11" fmla="*/ 177964 w 275958"/>
                <a:gd name="connsiteY11" fmla="*/ 47117 h 113157"/>
                <a:gd name="connsiteX12" fmla="*/ 183061 w 275958"/>
                <a:gd name="connsiteY12" fmla="*/ 67592 h 113157"/>
                <a:gd name="connsiteX13" fmla="*/ 214891 w 275958"/>
                <a:gd name="connsiteY13" fmla="*/ 89409 h 113157"/>
                <a:gd name="connsiteX14" fmla="*/ 110458 w 275958"/>
                <a:gd name="connsiteY14" fmla="*/ 83597 h 113157"/>
                <a:gd name="connsiteX15" fmla="*/ 107955 w 275958"/>
                <a:gd name="connsiteY15" fmla="*/ 108274 h 113157"/>
                <a:gd name="connsiteX16" fmla="*/ 76929 w 275958"/>
                <a:gd name="connsiteY16" fmla="*/ 108543 h 113157"/>
                <a:gd name="connsiteX17" fmla="*/ 2628 w 275958"/>
                <a:gd name="connsiteY17" fmla="*/ 59813 h 113157"/>
                <a:gd name="connsiteX18" fmla="*/ 303 w 275958"/>
                <a:gd name="connsiteY18" fmla="*/ 56058 h 113157"/>
                <a:gd name="connsiteX19" fmla="*/ 2717 w 275958"/>
                <a:gd name="connsiteY19" fmla="*/ 54270 h 11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5958" h="113157">
                  <a:moveTo>
                    <a:pt x="2628" y="54270"/>
                  </a:moveTo>
                  <a:cubicBezTo>
                    <a:pt x="19526" y="41484"/>
                    <a:pt x="22209" y="15733"/>
                    <a:pt x="44830" y="8044"/>
                  </a:cubicBezTo>
                  <a:cubicBezTo>
                    <a:pt x="57705" y="11978"/>
                    <a:pt x="70581" y="12425"/>
                    <a:pt x="83456" y="8223"/>
                  </a:cubicBezTo>
                  <a:cubicBezTo>
                    <a:pt x="96421" y="15555"/>
                    <a:pt x="109027" y="24138"/>
                    <a:pt x="125121" y="21277"/>
                  </a:cubicBezTo>
                  <a:cubicBezTo>
                    <a:pt x="131291" y="24228"/>
                    <a:pt x="137192" y="26821"/>
                    <a:pt x="133169" y="15465"/>
                  </a:cubicBezTo>
                  <a:cubicBezTo>
                    <a:pt x="127267" y="10995"/>
                    <a:pt x="123334" y="4825"/>
                    <a:pt x="133169" y="2590"/>
                  </a:cubicBezTo>
                  <a:cubicBezTo>
                    <a:pt x="145508" y="-271"/>
                    <a:pt x="160082" y="-2506"/>
                    <a:pt x="170364" y="5809"/>
                  </a:cubicBezTo>
                  <a:cubicBezTo>
                    <a:pt x="195310" y="25837"/>
                    <a:pt x="226782" y="5272"/>
                    <a:pt x="251907" y="20562"/>
                  </a:cubicBezTo>
                  <a:cubicBezTo>
                    <a:pt x="254142" y="35672"/>
                    <a:pt x="272919" y="24496"/>
                    <a:pt x="275959" y="39159"/>
                  </a:cubicBezTo>
                  <a:cubicBezTo>
                    <a:pt x="257898" y="78500"/>
                    <a:pt x="227051" y="83060"/>
                    <a:pt x="199244" y="48100"/>
                  </a:cubicBezTo>
                  <a:cubicBezTo>
                    <a:pt x="195846" y="43809"/>
                    <a:pt x="198708" y="32811"/>
                    <a:pt x="188515" y="36030"/>
                  </a:cubicBezTo>
                  <a:cubicBezTo>
                    <a:pt x="184133" y="37460"/>
                    <a:pt x="179573" y="42646"/>
                    <a:pt x="177964" y="47117"/>
                  </a:cubicBezTo>
                  <a:cubicBezTo>
                    <a:pt x="175460" y="54270"/>
                    <a:pt x="175818" y="61870"/>
                    <a:pt x="183061" y="67592"/>
                  </a:cubicBezTo>
                  <a:cubicBezTo>
                    <a:pt x="191107" y="73851"/>
                    <a:pt x="204519" y="70811"/>
                    <a:pt x="214891" y="89409"/>
                  </a:cubicBezTo>
                  <a:cubicBezTo>
                    <a:pt x="176265" y="79216"/>
                    <a:pt x="143630" y="101211"/>
                    <a:pt x="110458" y="83597"/>
                  </a:cubicBezTo>
                  <a:cubicBezTo>
                    <a:pt x="103574" y="91465"/>
                    <a:pt x="127715" y="102642"/>
                    <a:pt x="107955" y="108274"/>
                  </a:cubicBezTo>
                  <a:cubicBezTo>
                    <a:pt x="98030" y="111046"/>
                    <a:pt x="91324" y="117573"/>
                    <a:pt x="76929" y="108543"/>
                  </a:cubicBezTo>
                  <a:cubicBezTo>
                    <a:pt x="51893" y="92717"/>
                    <a:pt x="31329" y="69827"/>
                    <a:pt x="2628" y="59813"/>
                  </a:cubicBezTo>
                  <a:cubicBezTo>
                    <a:pt x="303" y="58562"/>
                    <a:pt x="-502" y="57310"/>
                    <a:pt x="303" y="56058"/>
                  </a:cubicBezTo>
                  <a:cubicBezTo>
                    <a:pt x="1108" y="54896"/>
                    <a:pt x="1913" y="54270"/>
                    <a:pt x="2717" y="5427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1" name="Freeform: Shape 250">
              <a:extLst>
                <a:ext uri="{FF2B5EF4-FFF2-40B4-BE49-F238E27FC236}">
                  <a16:creationId xmlns:a16="http://schemas.microsoft.com/office/drawing/2014/main" id="{EEDB884C-A89A-8E4D-698C-C52E6E9F790B}"/>
                </a:ext>
              </a:extLst>
            </p:cNvPr>
            <p:cNvSpPr/>
            <p:nvPr/>
          </p:nvSpPr>
          <p:spPr>
            <a:xfrm>
              <a:off x="13988983" y="2380372"/>
              <a:ext cx="223880" cy="77908"/>
            </a:xfrm>
            <a:custGeom>
              <a:avLst/>
              <a:gdLst>
                <a:gd name="connsiteX0" fmla="*/ 15253 w 153572"/>
                <a:gd name="connsiteY0" fmla="*/ 2024 h 53442"/>
                <a:gd name="connsiteX1" fmla="*/ 46904 w 153572"/>
                <a:gd name="connsiteY1" fmla="*/ 2561 h 53442"/>
                <a:gd name="connsiteX2" fmla="*/ 73639 w 153572"/>
                <a:gd name="connsiteY2" fmla="*/ 9982 h 53442"/>
                <a:gd name="connsiteX3" fmla="*/ 136227 w 153572"/>
                <a:gd name="connsiteY3" fmla="*/ 21963 h 53442"/>
                <a:gd name="connsiteX4" fmla="*/ 153572 w 153572"/>
                <a:gd name="connsiteY4" fmla="*/ 34928 h 53442"/>
                <a:gd name="connsiteX5" fmla="*/ 30810 w 153572"/>
                <a:gd name="connsiteY5" fmla="*/ 42528 h 53442"/>
                <a:gd name="connsiteX6" fmla="*/ 1483 w 153572"/>
                <a:gd name="connsiteY6" fmla="*/ 15168 h 53442"/>
                <a:gd name="connsiteX7" fmla="*/ 15253 w 153572"/>
                <a:gd name="connsiteY7" fmla="*/ 2024 h 5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 h="53442">
                  <a:moveTo>
                    <a:pt x="15253" y="2024"/>
                  </a:moveTo>
                  <a:cubicBezTo>
                    <a:pt x="25267" y="31441"/>
                    <a:pt x="36354" y="3455"/>
                    <a:pt x="46904" y="2561"/>
                  </a:cubicBezTo>
                  <a:cubicBezTo>
                    <a:pt x="54594" y="9535"/>
                    <a:pt x="66933" y="-479"/>
                    <a:pt x="73639" y="9982"/>
                  </a:cubicBezTo>
                  <a:cubicBezTo>
                    <a:pt x="92057" y="25987"/>
                    <a:pt x="117450" y="4528"/>
                    <a:pt x="136227" y="21963"/>
                  </a:cubicBezTo>
                  <a:cubicBezTo>
                    <a:pt x="141234" y="26613"/>
                    <a:pt x="150264" y="27060"/>
                    <a:pt x="153572" y="34928"/>
                  </a:cubicBezTo>
                  <a:cubicBezTo>
                    <a:pt x="113426" y="49502"/>
                    <a:pt x="73460" y="64076"/>
                    <a:pt x="30810" y="42528"/>
                  </a:cubicBezTo>
                  <a:cubicBezTo>
                    <a:pt x="18024" y="36090"/>
                    <a:pt x="4881" y="31173"/>
                    <a:pt x="1483" y="15168"/>
                  </a:cubicBezTo>
                  <a:cubicBezTo>
                    <a:pt x="-2540" y="1756"/>
                    <a:pt x="1483" y="-3161"/>
                    <a:pt x="15253" y="202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2" name="Freeform: Shape 251">
              <a:extLst>
                <a:ext uri="{FF2B5EF4-FFF2-40B4-BE49-F238E27FC236}">
                  <a16:creationId xmlns:a16="http://schemas.microsoft.com/office/drawing/2014/main" id="{28991AFF-08DF-BC81-A6AE-E9FF36B4770B}"/>
                </a:ext>
              </a:extLst>
            </p:cNvPr>
            <p:cNvSpPr/>
            <p:nvPr/>
          </p:nvSpPr>
          <p:spPr>
            <a:xfrm>
              <a:off x="13742575" y="2546366"/>
              <a:ext cx="155503" cy="64127"/>
            </a:xfrm>
            <a:custGeom>
              <a:avLst/>
              <a:gdLst>
                <a:gd name="connsiteX0" fmla="*/ 106668 w 106667"/>
                <a:gd name="connsiteY0" fmla="*/ 31936 h 43988"/>
                <a:gd name="connsiteX1" fmla="*/ 0 w 106667"/>
                <a:gd name="connsiteY1" fmla="*/ 33366 h 43988"/>
                <a:gd name="connsiteX2" fmla="*/ 106131 w 106667"/>
                <a:gd name="connsiteY2" fmla="*/ 31220 h 43988"/>
                <a:gd name="connsiteX3" fmla="*/ 106668 w 106667"/>
                <a:gd name="connsiteY3" fmla="*/ 31936 h 43988"/>
              </a:gdLst>
              <a:ahLst/>
              <a:cxnLst>
                <a:cxn ang="0">
                  <a:pos x="connsiteX0" y="connsiteY0"/>
                </a:cxn>
                <a:cxn ang="0">
                  <a:pos x="connsiteX1" y="connsiteY1"/>
                </a:cxn>
                <a:cxn ang="0">
                  <a:pos x="connsiteX2" y="connsiteY2"/>
                </a:cxn>
                <a:cxn ang="0">
                  <a:pos x="connsiteX3" y="connsiteY3"/>
                </a:cxn>
              </a:cxnLst>
              <a:rect l="l" t="t" r="r" b="b"/>
              <a:pathLst>
                <a:path w="106667" h="43988">
                  <a:moveTo>
                    <a:pt x="106668" y="31936"/>
                  </a:moveTo>
                  <a:cubicBezTo>
                    <a:pt x="71708" y="57954"/>
                    <a:pt x="37284" y="33813"/>
                    <a:pt x="0" y="33366"/>
                  </a:cubicBezTo>
                  <a:cubicBezTo>
                    <a:pt x="46762" y="-10803"/>
                    <a:pt x="75910" y="-10714"/>
                    <a:pt x="106131" y="31220"/>
                  </a:cubicBezTo>
                  <a:lnTo>
                    <a:pt x="106668" y="31936"/>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3" name="Freeform: Shape 252">
              <a:extLst>
                <a:ext uri="{FF2B5EF4-FFF2-40B4-BE49-F238E27FC236}">
                  <a16:creationId xmlns:a16="http://schemas.microsoft.com/office/drawing/2014/main" id="{AFB5D6B5-FAED-DC00-542E-8142E1E5E994}"/>
                </a:ext>
              </a:extLst>
            </p:cNvPr>
            <p:cNvSpPr/>
            <p:nvPr/>
          </p:nvSpPr>
          <p:spPr>
            <a:xfrm>
              <a:off x="13727045" y="2513785"/>
              <a:ext cx="46025" cy="38065"/>
            </a:xfrm>
            <a:custGeom>
              <a:avLst/>
              <a:gdLst>
                <a:gd name="connsiteX0" fmla="*/ 31397 w 31571"/>
                <a:gd name="connsiteY0" fmla="*/ 11813 h 26111"/>
                <a:gd name="connsiteX1" fmla="*/ 10921 w 31571"/>
                <a:gd name="connsiteY1" fmla="*/ 25940 h 26111"/>
                <a:gd name="connsiteX2" fmla="*/ 639 w 31571"/>
                <a:gd name="connsiteY2" fmla="*/ 13333 h 26111"/>
                <a:gd name="connsiteX3" fmla="*/ 23529 w 31571"/>
                <a:gd name="connsiteY3" fmla="*/ 11 h 26111"/>
                <a:gd name="connsiteX4" fmla="*/ 31397 w 31571"/>
                <a:gd name="connsiteY4" fmla="*/ 11813 h 26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1" h="26111">
                  <a:moveTo>
                    <a:pt x="31397" y="11813"/>
                  </a:moveTo>
                  <a:cubicBezTo>
                    <a:pt x="27552" y="19592"/>
                    <a:pt x="21919" y="27371"/>
                    <a:pt x="10921" y="25940"/>
                  </a:cubicBezTo>
                  <a:cubicBezTo>
                    <a:pt x="5110" y="25135"/>
                    <a:pt x="-2222" y="21648"/>
                    <a:pt x="639" y="13333"/>
                  </a:cubicBezTo>
                  <a:cubicBezTo>
                    <a:pt x="4216" y="2961"/>
                    <a:pt x="13693" y="279"/>
                    <a:pt x="23529" y="11"/>
                  </a:cubicBezTo>
                  <a:cubicBezTo>
                    <a:pt x="30324" y="-257"/>
                    <a:pt x="32201" y="4481"/>
                    <a:pt x="31397" y="1181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4" name="Freeform: Shape 253">
              <a:extLst>
                <a:ext uri="{FF2B5EF4-FFF2-40B4-BE49-F238E27FC236}">
                  <a16:creationId xmlns:a16="http://schemas.microsoft.com/office/drawing/2014/main" id="{DA731461-06A5-3A31-405E-819949D686A7}"/>
                </a:ext>
              </a:extLst>
            </p:cNvPr>
            <p:cNvSpPr/>
            <p:nvPr/>
          </p:nvSpPr>
          <p:spPr>
            <a:xfrm>
              <a:off x="13510280" y="2382645"/>
              <a:ext cx="33906" cy="36104"/>
            </a:xfrm>
            <a:custGeom>
              <a:avLst/>
              <a:gdLst>
                <a:gd name="connsiteX0" fmla="*/ 23170 w 23258"/>
                <a:gd name="connsiteY0" fmla="*/ 14682 h 24765"/>
                <a:gd name="connsiteX1" fmla="*/ 23170 w 23258"/>
                <a:gd name="connsiteY1" fmla="*/ 20226 h 24765"/>
                <a:gd name="connsiteX2" fmla="*/ 16553 w 23258"/>
                <a:gd name="connsiteY2" fmla="*/ 21567 h 24765"/>
                <a:gd name="connsiteX3" fmla="*/ 2605 w 23258"/>
                <a:gd name="connsiteY3" fmla="*/ 20226 h 24765"/>
                <a:gd name="connsiteX4" fmla="*/ 4572 w 23258"/>
                <a:gd name="connsiteY4" fmla="*/ 1002 h 24765"/>
                <a:gd name="connsiteX5" fmla="*/ 16553 w 23258"/>
                <a:gd name="connsiteY5" fmla="*/ 7350 h 24765"/>
                <a:gd name="connsiteX6" fmla="*/ 23259 w 23258"/>
                <a:gd name="connsiteY6" fmla="*/ 14772 h 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8" h="24765">
                  <a:moveTo>
                    <a:pt x="23170" y="14682"/>
                  </a:moveTo>
                  <a:cubicBezTo>
                    <a:pt x="23170" y="16560"/>
                    <a:pt x="23170" y="18348"/>
                    <a:pt x="23170" y="20226"/>
                  </a:cubicBezTo>
                  <a:cubicBezTo>
                    <a:pt x="20935" y="20673"/>
                    <a:pt x="18788" y="21120"/>
                    <a:pt x="16553" y="21567"/>
                  </a:cubicBezTo>
                  <a:cubicBezTo>
                    <a:pt x="12172" y="18169"/>
                    <a:pt x="6181" y="31313"/>
                    <a:pt x="2605" y="20226"/>
                  </a:cubicBezTo>
                  <a:cubicBezTo>
                    <a:pt x="-78" y="13430"/>
                    <a:pt x="-2313" y="5652"/>
                    <a:pt x="4572" y="1002"/>
                  </a:cubicBezTo>
                  <a:cubicBezTo>
                    <a:pt x="9311" y="-2217"/>
                    <a:pt x="13692" y="2969"/>
                    <a:pt x="16553" y="7350"/>
                  </a:cubicBezTo>
                  <a:cubicBezTo>
                    <a:pt x="18788" y="9854"/>
                    <a:pt x="21023" y="12268"/>
                    <a:pt x="23259" y="1477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56" name="Freeform: Shape 255">
              <a:extLst>
                <a:ext uri="{FF2B5EF4-FFF2-40B4-BE49-F238E27FC236}">
                  <a16:creationId xmlns:a16="http://schemas.microsoft.com/office/drawing/2014/main" id="{A9C920B9-3E5C-F992-7F99-41F7ECCAFFBB}"/>
                </a:ext>
              </a:extLst>
            </p:cNvPr>
            <p:cNvSpPr/>
            <p:nvPr/>
          </p:nvSpPr>
          <p:spPr>
            <a:xfrm>
              <a:off x="15509032" y="2788139"/>
              <a:ext cx="194084" cy="71211"/>
            </a:xfrm>
            <a:custGeom>
              <a:avLst/>
              <a:gdLst>
                <a:gd name="connsiteX0" fmla="*/ 101482 w 133132"/>
                <a:gd name="connsiteY0" fmla="*/ 48847 h 48847"/>
                <a:gd name="connsiteX1" fmla="*/ 80739 w 133132"/>
                <a:gd name="connsiteY1" fmla="*/ 48847 h 48847"/>
                <a:gd name="connsiteX2" fmla="*/ 32367 w 133132"/>
                <a:gd name="connsiteY2" fmla="*/ 43482 h 48847"/>
                <a:gd name="connsiteX3" fmla="*/ 0 w 133132"/>
                <a:gd name="connsiteY3" fmla="*/ 38386 h 48847"/>
                <a:gd name="connsiteX4" fmla="*/ 38983 w 133132"/>
                <a:gd name="connsiteY4" fmla="*/ 2532 h 48847"/>
                <a:gd name="connsiteX5" fmla="*/ 71261 w 133132"/>
                <a:gd name="connsiteY5" fmla="*/ 4678 h 48847"/>
                <a:gd name="connsiteX6" fmla="*/ 84047 w 133132"/>
                <a:gd name="connsiteY6" fmla="*/ 10489 h 48847"/>
                <a:gd name="connsiteX7" fmla="*/ 117218 w 133132"/>
                <a:gd name="connsiteY7" fmla="*/ 15854 h 48847"/>
                <a:gd name="connsiteX8" fmla="*/ 130004 w 133132"/>
                <a:gd name="connsiteY8" fmla="*/ 23454 h 48847"/>
                <a:gd name="connsiteX9" fmla="*/ 101571 w 133132"/>
                <a:gd name="connsiteY9" fmla="*/ 48847 h 4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132" h="48847">
                  <a:moveTo>
                    <a:pt x="101482" y="48847"/>
                  </a:moveTo>
                  <a:cubicBezTo>
                    <a:pt x="94597" y="48847"/>
                    <a:pt x="87623" y="48847"/>
                    <a:pt x="80739" y="48847"/>
                  </a:cubicBezTo>
                  <a:cubicBezTo>
                    <a:pt x="65180" y="42141"/>
                    <a:pt x="47924" y="50188"/>
                    <a:pt x="32367" y="43482"/>
                  </a:cubicBezTo>
                  <a:cubicBezTo>
                    <a:pt x="22174" y="41873"/>
                    <a:pt x="11891" y="40263"/>
                    <a:pt x="0" y="38386"/>
                  </a:cubicBezTo>
                  <a:cubicBezTo>
                    <a:pt x="8225" y="19699"/>
                    <a:pt x="17703" y="4946"/>
                    <a:pt x="38983" y="2532"/>
                  </a:cubicBezTo>
                  <a:cubicBezTo>
                    <a:pt x="49891" y="565"/>
                    <a:pt x="60978" y="-2922"/>
                    <a:pt x="71261" y="4678"/>
                  </a:cubicBezTo>
                  <a:cubicBezTo>
                    <a:pt x="73407" y="11384"/>
                    <a:pt x="78861" y="10579"/>
                    <a:pt x="84047" y="10489"/>
                  </a:cubicBezTo>
                  <a:cubicBezTo>
                    <a:pt x="94239" y="17642"/>
                    <a:pt x="106757" y="10221"/>
                    <a:pt x="117218" y="15854"/>
                  </a:cubicBezTo>
                  <a:cubicBezTo>
                    <a:pt x="121510" y="18358"/>
                    <a:pt x="125712" y="20951"/>
                    <a:pt x="130004" y="23454"/>
                  </a:cubicBezTo>
                  <a:cubicBezTo>
                    <a:pt x="143148" y="57341"/>
                    <a:pt x="111227" y="40621"/>
                    <a:pt x="101571" y="48847"/>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3" name="Freeform: Shape 262">
              <a:extLst>
                <a:ext uri="{FF2B5EF4-FFF2-40B4-BE49-F238E27FC236}">
                  <a16:creationId xmlns:a16="http://schemas.microsoft.com/office/drawing/2014/main" id="{A0BCC4D6-E1C0-35DA-C978-1F9C50EC7B82}"/>
                </a:ext>
              </a:extLst>
            </p:cNvPr>
            <p:cNvSpPr/>
            <p:nvPr/>
          </p:nvSpPr>
          <p:spPr>
            <a:xfrm>
              <a:off x="6786996" y="3087195"/>
              <a:ext cx="81307" cy="83917"/>
            </a:xfrm>
            <a:custGeom>
              <a:avLst/>
              <a:gdLst>
                <a:gd name="connsiteX0" fmla="*/ 16475 w 55773"/>
                <a:gd name="connsiteY0" fmla="*/ 0 h 57563"/>
                <a:gd name="connsiteX1" fmla="*/ 55012 w 55773"/>
                <a:gd name="connsiteY1" fmla="*/ 52932 h 57563"/>
                <a:gd name="connsiteX2" fmla="*/ 55369 w 55773"/>
                <a:gd name="connsiteY2" fmla="*/ 52663 h 57563"/>
                <a:gd name="connsiteX3" fmla="*/ 16565 w 55773"/>
                <a:gd name="connsiteY3" fmla="*/ 54273 h 57563"/>
                <a:gd name="connsiteX4" fmla="*/ 16475 w 55773"/>
                <a:gd name="connsiteY4" fmla="*/ 89 h 5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 h="57563">
                  <a:moveTo>
                    <a:pt x="16475" y="0"/>
                  </a:moveTo>
                  <a:cubicBezTo>
                    <a:pt x="31049" y="16362"/>
                    <a:pt x="60913" y="21638"/>
                    <a:pt x="55012" y="52932"/>
                  </a:cubicBezTo>
                  <a:lnTo>
                    <a:pt x="55369" y="52663"/>
                  </a:lnTo>
                  <a:cubicBezTo>
                    <a:pt x="42673" y="60085"/>
                    <a:pt x="29619" y="57760"/>
                    <a:pt x="16565" y="54273"/>
                  </a:cubicBezTo>
                  <a:cubicBezTo>
                    <a:pt x="-5493" y="47716"/>
                    <a:pt x="-5520" y="29655"/>
                    <a:pt x="16475" y="8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4" name="Freeform: Shape 263">
              <a:extLst>
                <a:ext uri="{FF2B5EF4-FFF2-40B4-BE49-F238E27FC236}">
                  <a16:creationId xmlns:a16="http://schemas.microsoft.com/office/drawing/2014/main" id="{BCDDE459-38BE-EEE3-A5A9-C1786F856014}"/>
                </a:ext>
              </a:extLst>
            </p:cNvPr>
            <p:cNvSpPr/>
            <p:nvPr/>
          </p:nvSpPr>
          <p:spPr>
            <a:xfrm>
              <a:off x="11827246" y="2082594"/>
              <a:ext cx="242007" cy="113783"/>
            </a:xfrm>
            <a:custGeom>
              <a:avLst/>
              <a:gdLst>
                <a:gd name="connsiteX0" fmla="*/ 44986 w 166006"/>
                <a:gd name="connsiteY0" fmla="*/ 66983 h 78050"/>
                <a:gd name="connsiteX1" fmla="*/ 43287 w 166006"/>
                <a:gd name="connsiteY1" fmla="*/ 66536 h 78050"/>
                <a:gd name="connsiteX2" fmla="*/ 42214 w 166006"/>
                <a:gd name="connsiteY2" fmla="*/ 67966 h 78050"/>
                <a:gd name="connsiteX3" fmla="*/ 22991 w 166006"/>
                <a:gd name="connsiteY3" fmla="*/ 68413 h 78050"/>
                <a:gd name="connsiteX4" fmla="*/ 280 w 166006"/>
                <a:gd name="connsiteY4" fmla="*/ 53660 h 78050"/>
                <a:gd name="connsiteX5" fmla="*/ 16196 w 166006"/>
                <a:gd name="connsiteY5" fmla="*/ 36583 h 78050"/>
                <a:gd name="connsiteX6" fmla="*/ 46506 w 166006"/>
                <a:gd name="connsiteY6" fmla="*/ 18164 h 78050"/>
                <a:gd name="connsiteX7" fmla="*/ 63852 w 166006"/>
                <a:gd name="connsiteY7" fmla="*/ 12710 h 78050"/>
                <a:gd name="connsiteX8" fmla="*/ 124116 w 166006"/>
                <a:gd name="connsiteY8" fmla="*/ 3501 h 78050"/>
                <a:gd name="connsiteX9" fmla="*/ 124116 w 166006"/>
                <a:gd name="connsiteY9" fmla="*/ 3501 h 78050"/>
                <a:gd name="connsiteX10" fmla="*/ 156751 w 166006"/>
                <a:gd name="connsiteY10" fmla="*/ 2606 h 78050"/>
                <a:gd name="connsiteX11" fmla="*/ 154515 w 166006"/>
                <a:gd name="connsiteY11" fmla="*/ 74046 h 78050"/>
                <a:gd name="connsiteX12" fmla="*/ 131000 w 166006"/>
                <a:gd name="connsiteY12" fmla="*/ 76639 h 78050"/>
                <a:gd name="connsiteX13" fmla="*/ 92643 w 166006"/>
                <a:gd name="connsiteY13" fmla="*/ 74493 h 78050"/>
                <a:gd name="connsiteX14" fmla="*/ 92732 w 166006"/>
                <a:gd name="connsiteY14" fmla="*/ 74493 h 78050"/>
                <a:gd name="connsiteX15" fmla="*/ 44897 w 166006"/>
                <a:gd name="connsiteY15" fmla="*/ 66983 h 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006" h="78050">
                  <a:moveTo>
                    <a:pt x="44986" y="66983"/>
                  </a:moveTo>
                  <a:lnTo>
                    <a:pt x="43287" y="66536"/>
                  </a:lnTo>
                  <a:lnTo>
                    <a:pt x="42214" y="67966"/>
                  </a:lnTo>
                  <a:cubicBezTo>
                    <a:pt x="35777" y="65463"/>
                    <a:pt x="29429" y="69129"/>
                    <a:pt x="22991" y="68413"/>
                  </a:cubicBezTo>
                  <a:cubicBezTo>
                    <a:pt x="13067" y="67251"/>
                    <a:pt x="2427" y="64658"/>
                    <a:pt x="280" y="53660"/>
                  </a:cubicBezTo>
                  <a:cubicBezTo>
                    <a:pt x="-1776" y="43110"/>
                    <a:pt x="7881" y="38997"/>
                    <a:pt x="16196" y="36583"/>
                  </a:cubicBezTo>
                  <a:cubicBezTo>
                    <a:pt x="28088" y="33096"/>
                    <a:pt x="35598" y="22992"/>
                    <a:pt x="46506" y="18164"/>
                  </a:cubicBezTo>
                  <a:cubicBezTo>
                    <a:pt x="52050" y="15482"/>
                    <a:pt x="57772" y="13515"/>
                    <a:pt x="63852" y="12710"/>
                  </a:cubicBezTo>
                  <a:cubicBezTo>
                    <a:pt x="83970" y="9581"/>
                    <a:pt x="106412" y="22098"/>
                    <a:pt x="124116" y="3501"/>
                  </a:cubicBezTo>
                  <a:lnTo>
                    <a:pt x="124116" y="3501"/>
                  </a:lnTo>
                  <a:cubicBezTo>
                    <a:pt x="134845" y="-1685"/>
                    <a:pt x="145753" y="-344"/>
                    <a:pt x="156751" y="2606"/>
                  </a:cubicBezTo>
                  <a:cubicBezTo>
                    <a:pt x="177494" y="26837"/>
                    <a:pt x="157287" y="50442"/>
                    <a:pt x="154515" y="74046"/>
                  </a:cubicBezTo>
                  <a:cubicBezTo>
                    <a:pt x="153711" y="80931"/>
                    <a:pt x="139226" y="76907"/>
                    <a:pt x="131000" y="76639"/>
                  </a:cubicBezTo>
                  <a:cubicBezTo>
                    <a:pt x="118214" y="76192"/>
                    <a:pt x="105428" y="75209"/>
                    <a:pt x="92643" y="74493"/>
                  </a:cubicBezTo>
                  <a:lnTo>
                    <a:pt x="92732" y="74493"/>
                  </a:lnTo>
                  <a:cubicBezTo>
                    <a:pt x="77443" y="67877"/>
                    <a:pt x="60812" y="69486"/>
                    <a:pt x="44897" y="6698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5" name="Freeform: Shape 264">
              <a:extLst>
                <a:ext uri="{FF2B5EF4-FFF2-40B4-BE49-F238E27FC236}">
                  <a16:creationId xmlns:a16="http://schemas.microsoft.com/office/drawing/2014/main" id="{65FEC166-3BB5-9B35-56DD-67F92A02E6F3}"/>
                </a:ext>
              </a:extLst>
            </p:cNvPr>
            <p:cNvSpPr/>
            <p:nvPr/>
          </p:nvSpPr>
          <p:spPr>
            <a:xfrm>
              <a:off x="12105947" y="2129022"/>
              <a:ext cx="153008" cy="136338"/>
            </a:xfrm>
            <a:custGeom>
              <a:avLst/>
              <a:gdLst>
                <a:gd name="connsiteX0" fmla="*/ 57492 w 104957"/>
                <a:gd name="connsiteY0" fmla="*/ 10101 h 93521"/>
                <a:gd name="connsiteX1" fmla="*/ 70277 w 104957"/>
                <a:gd name="connsiteY1" fmla="*/ 18416 h 93521"/>
                <a:gd name="connsiteX2" fmla="*/ 83958 w 104957"/>
                <a:gd name="connsiteY2" fmla="*/ 31023 h 93521"/>
                <a:gd name="connsiteX3" fmla="*/ 104164 w 104957"/>
                <a:gd name="connsiteY3" fmla="*/ 49621 h 93521"/>
                <a:gd name="connsiteX4" fmla="*/ 74837 w 104957"/>
                <a:gd name="connsiteY4" fmla="*/ 68933 h 93521"/>
                <a:gd name="connsiteX5" fmla="*/ 8852 w 104957"/>
                <a:gd name="connsiteY5" fmla="*/ 93522 h 93521"/>
                <a:gd name="connsiteX6" fmla="*/ 0 w 104957"/>
                <a:gd name="connsiteY6" fmla="*/ 6345 h 93521"/>
                <a:gd name="connsiteX7" fmla="*/ 57581 w 104957"/>
                <a:gd name="connsiteY7" fmla="*/ 10011 h 9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57" h="93521">
                  <a:moveTo>
                    <a:pt x="57492" y="10101"/>
                  </a:moveTo>
                  <a:cubicBezTo>
                    <a:pt x="61783" y="12872"/>
                    <a:pt x="65986" y="15644"/>
                    <a:pt x="70277" y="18416"/>
                  </a:cubicBezTo>
                  <a:cubicBezTo>
                    <a:pt x="73228" y="24317"/>
                    <a:pt x="77341" y="28877"/>
                    <a:pt x="83958" y="31023"/>
                  </a:cubicBezTo>
                  <a:cubicBezTo>
                    <a:pt x="93793" y="34152"/>
                    <a:pt x="108546" y="36030"/>
                    <a:pt x="104164" y="49621"/>
                  </a:cubicBezTo>
                  <a:cubicBezTo>
                    <a:pt x="100588" y="60708"/>
                    <a:pt x="90842" y="70901"/>
                    <a:pt x="74837" y="68933"/>
                  </a:cubicBezTo>
                  <a:cubicBezTo>
                    <a:pt x="49713" y="65893"/>
                    <a:pt x="23336" y="60350"/>
                    <a:pt x="8852" y="93522"/>
                  </a:cubicBezTo>
                  <a:cubicBezTo>
                    <a:pt x="13322" y="42021"/>
                    <a:pt x="10372" y="12962"/>
                    <a:pt x="0" y="6345"/>
                  </a:cubicBezTo>
                  <a:cubicBezTo>
                    <a:pt x="20922" y="-15024"/>
                    <a:pt x="37553" y="25748"/>
                    <a:pt x="57581" y="10011"/>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6" name="Freeform: Shape 265">
              <a:extLst>
                <a:ext uri="{FF2B5EF4-FFF2-40B4-BE49-F238E27FC236}">
                  <a16:creationId xmlns:a16="http://schemas.microsoft.com/office/drawing/2014/main" id="{642382E8-6AE7-39C2-7818-8A37ED47FDDB}"/>
                </a:ext>
              </a:extLst>
            </p:cNvPr>
            <p:cNvSpPr/>
            <p:nvPr/>
          </p:nvSpPr>
          <p:spPr>
            <a:xfrm>
              <a:off x="7907358" y="2896550"/>
              <a:ext cx="95181" cy="32710"/>
            </a:xfrm>
            <a:custGeom>
              <a:avLst/>
              <a:gdLst>
                <a:gd name="connsiteX0" fmla="*/ 63929 w 65290"/>
                <a:gd name="connsiteY0" fmla="*/ 8638 h 22438"/>
                <a:gd name="connsiteX1" fmla="*/ 51412 w 65290"/>
                <a:gd name="connsiteY1" fmla="*/ 21513 h 22438"/>
                <a:gd name="connsiteX2" fmla="*/ 0 w 65290"/>
                <a:gd name="connsiteY2" fmla="*/ 7654 h 22438"/>
                <a:gd name="connsiteX3" fmla="*/ 46047 w 65290"/>
                <a:gd name="connsiteY3" fmla="*/ 412 h 22438"/>
                <a:gd name="connsiteX4" fmla="*/ 63929 w 65290"/>
                <a:gd name="connsiteY4" fmla="*/ 8638 h 22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90" h="22438">
                  <a:moveTo>
                    <a:pt x="63929" y="8638"/>
                  </a:moveTo>
                  <a:cubicBezTo>
                    <a:pt x="68132" y="21066"/>
                    <a:pt x="62230" y="24285"/>
                    <a:pt x="51412" y="21513"/>
                  </a:cubicBezTo>
                  <a:cubicBezTo>
                    <a:pt x="35139" y="17490"/>
                    <a:pt x="19045" y="12840"/>
                    <a:pt x="0" y="7654"/>
                  </a:cubicBezTo>
                  <a:cubicBezTo>
                    <a:pt x="16005" y="-5489"/>
                    <a:pt x="31830" y="2826"/>
                    <a:pt x="46047" y="412"/>
                  </a:cubicBezTo>
                  <a:cubicBezTo>
                    <a:pt x="51501" y="4167"/>
                    <a:pt x="56329" y="9443"/>
                    <a:pt x="63929" y="863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7" name="Freeform: Shape 266">
              <a:extLst>
                <a:ext uri="{FF2B5EF4-FFF2-40B4-BE49-F238E27FC236}">
                  <a16:creationId xmlns:a16="http://schemas.microsoft.com/office/drawing/2014/main" id="{75A0CD8E-8D4F-CC4E-E040-CDFD67E86A93}"/>
                </a:ext>
              </a:extLst>
            </p:cNvPr>
            <p:cNvSpPr/>
            <p:nvPr/>
          </p:nvSpPr>
          <p:spPr>
            <a:xfrm>
              <a:off x="8096079" y="2655227"/>
              <a:ext cx="21185" cy="44057"/>
            </a:xfrm>
            <a:custGeom>
              <a:avLst/>
              <a:gdLst>
                <a:gd name="connsiteX0" fmla="*/ 13515 w 14532"/>
                <a:gd name="connsiteY0" fmla="*/ 22532 h 30221"/>
                <a:gd name="connsiteX1" fmla="*/ 4216 w 14532"/>
                <a:gd name="connsiteY1" fmla="*/ 30221 h 30221"/>
                <a:gd name="connsiteX2" fmla="*/ 9849 w 14532"/>
                <a:gd name="connsiteY2" fmla="*/ 0 h 30221"/>
                <a:gd name="connsiteX3" fmla="*/ 13515 w 14532"/>
                <a:gd name="connsiteY3" fmla="*/ 22532 h 30221"/>
              </a:gdLst>
              <a:ahLst/>
              <a:cxnLst>
                <a:cxn ang="0">
                  <a:pos x="connsiteX0" y="connsiteY0"/>
                </a:cxn>
                <a:cxn ang="0">
                  <a:pos x="connsiteX1" y="connsiteY1"/>
                </a:cxn>
                <a:cxn ang="0">
                  <a:pos x="connsiteX2" y="connsiteY2"/>
                </a:cxn>
                <a:cxn ang="0">
                  <a:pos x="connsiteX3" y="connsiteY3"/>
                </a:cxn>
              </a:cxnLst>
              <a:rect l="l" t="t" r="r" b="b"/>
              <a:pathLst>
                <a:path w="14532" h="30221">
                  <a:moveTo>
                    <a:pt x="13515" y="22532"/>
                  </a:moveTo>
                  <a:cubicBezTo>
                    <a:pt x="10386" y="25125"/>
                    <a:pt x="7346" y="27628"/>
                    <a:pt x="4216" y="30221"/>
                  </a:cubicBezTo>
                  <a:cubicBezTo>
                    <a:pt x="-2311" y="18598"/>
                    <a:pt x="-1864" y="8226"/>
                    <a:pt x="9849" y="0"/>
                  </a:cubicBezTo>
                  <a:cubicBezTo>
                    <a:pt x="17360" y="6527"/>
                    <a:pt x="13604" y="14842"/>
                    <a:pt x="13515" y="22532"/>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8" name="Freeform: Shape 267">
              <a:extLst>
                <a:ext uri="{FF2B5EF4-FFF2-40B4-BE49-F238E27FC236}">
                  <a16:creationId xmlns:a16="http://schemas.microsoft.com/office/drawing/2014/main" id="{A8F01D8F-EF1D-10A4-30C0-B86313DA223B}"/>
                </a:ext>
              </a:extLst>
            </p:cNvPr>
            <p:cNvSpPr/>
            <p:nvPr/>
          </p:nvSpPr>
          <p:spPr>
            <a:xfrm>
              <a:off x="15871900" y="7597451"/>
              <a:ext cx="145090" cy="83435"/>
            </a:xfrm>
            <a:custGeom>
              <a:avLst/>
              <a:gdLst>
                <a:gd name="connsiteX0" fmla="*/ 99524 w 99524"/>
                <a:gd name="connsiteY0" fmla="*/ 55249 h 57232"/>
                <a:gd name="connsiteX1" fmla="*/ 33628 w 99524"/>
                <a:gd name="connsiteY1" fmla="*/ 32360 h 57232"/>
                <a:gd name="connsiteX2" fmla="*/ 19054 w 99524"/>
                <a:gd name="connsiteY2" fmla="*/ 21004 h 57232"/>
                <a:gd name="connsiteX3" fmla="*/ 993 w 99524"/>
                <a:gd name="connsiteY3" fmla="*/ 5536 h 57232"/>
                <a:gd name="connsiteX4" fmla="*/ 27280 w 99524"/>
                <a:gd name="connsiteY4" fmla="*/ 4463 h 57232"/>
                <a:gd name="connsiteX5" fmla="*/ 99524 w 99524"/>
                <a:gd name="connsiteY5" fmla="*/ 55249 h 5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24" h="57232">
                  <a:moveTo>
                    <a:pt x="99524" y="55249"/>
                  </a:moveTo>
                  <a:cubicBezTo>
                    <a:pt x="68499" y="64459"/>
                    <a:pt x="54640" y="38976"/>
                    <a:pt x="33628" y="32360"/>
                  </a:cubicBezTo>
                  <a:cubicBezTo>
                    <a:pt x="28532" y="30750"/>
                    <a:pt x="26833" y="21004"/>
                    <a:pt x="19054" y="21004"/>
                  </a:cubicBezTo>
                  <a:cubicBezTo>
                    <a:pt x="7967" y="21004"/>
                    <a:pt x="-3478" y="16713"/>
                    <a:pt x="993" y="5536"/>
                  </a:cubicBezTo>
                  <a:cubicBezTo>
                    <a:pt x="4569" y="-3316"/>
                    <a:pt x="19054" y="82"/>
                    <a:pt x="27280" y="4463"/>
                  </a:cubicBezTo>
                  <a:cubicBezTo>
                    <a:pt x="52315" y="17607"/>
                    <a:pt x="79317" y="28247"/>
                    <a:pt x="99524" y="5524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69" name="Freeform: Shape 268">
              <a:extLst>
                <a:ext uri="{FF2B5EF4-FFF2-40B4-BE49-F238E27FC236}">
                  <a16:creationId xmlns:a16="http://schemas.microsoft.com/office/drawing/2014/main" id="{C0FDEAB5-E154-8545-4113-384557F298C7}"/>
                </a:ext>
              </a:extLst>
            </p:cNvPr>
            <p:cNvSpPr/>
            <p:nvPr/>
          </p:nvSpPr>
          <p:spPr>
            <a:xfrm>
              <a:off x="15013675" y="3811395"/>
              <a:ext cx="36405" cy="41711"/>
            </a:xfrm>
            <a:custGeom>
              <a:avLst/>
              <a:gdLst>
                <a:gd name="connsiteX0" fmla="*/ 24973 w 24972"/>
                <a:gd name="connsiteY0" fmla="*/ 8944 h 28611"/>
                <a:gd name="connsiteX1" fmla="*/ 9683 w 24972"/>
                <a:gd name="connsiteY1" fmla="*/ 27542 h 28611"/>
                <a:gd name="connsiteX2" fmla="*/ 116 w 24972"/>
                <a:gd name="connsiteY2" fmla="*/ 20120 h 28611"/>
                <a:gd name="connsiteX3" fmla="*/ 10309 w 24972"/>
                <a:gd name="connsiteY3" fmla="*/ 271 h 28611"/>
                <a:gd name="connsiteX4" fmla="*/ 24973 w 24972"/>
                <a:gd name="connsiteY4" fmla="*/ 8944 h 28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2" h="28611">
                  <a:moveTo>
                    <a:pt x="24973" y="8944"/>
                  </a:moveTo>
                  <a:cubicBezTo>
                    <a:pt x="23363" y="17975"/>
                    <a:pt x="17283" y="23786"/>
                    <a:pt x="9683" y="27542"/>
                  </a:cubicBezTo>
                  <a:cubicBezTo>
                    <a:pt x="3246" y="30671"/>
                    <a:pt x="295" y="26558"/>
                    <a:pt x="116" y="20120"/>
                  </a:cubicBezTo>
                  <a:cubicBezTo>
                    <a:pt x="-62" y="11626"/>
                    <a:pt x="-1225" y="2149"/>
                    <a:pt x="10309" y="271"/>
                  </a:cubicBezTo>
                  <a:cubicBezTo>
                    <a:pt x="16568" y="-712"/>
                    <a:pt x="23095" y="718"/>
                    <a:pt x="24973" y="8944"/>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0" name="Freeform: Shape 269">
              <a:extLst>
                <a:ext uri="{FF2B5EF4-FFF2-40B4-BE49-F238E27FC236}">
                  <a16:creationId xmlns:a16="http://schemas.microsoft.com/office/drawing/2014/main" id="{05E4B79D-5C7A-B91C-7AFF-7F9248117242}"/>
                </a:ext>
              </a:extLst>
            </p:cNvPr>
            <p:cNvSpPr/>
            <p:nvPr/>
          </p:nvSpPr>
          <p:spPr>
            <a:xfrm>
              <a:off x="15934878" y="6193834"/>
              <a:ext cx="45567" cy="35643"/>
            </a:xfrm>
            <a:custGeom>
              <a:avLst/>
              <a:gdLst>
                <a:gd name="connsiteX0" fmla="*/ 21275 w 31257"/>
                <a:gd name="connsiteY0" fmla="*/ 1993 h 24449"/>
                <a:gd name="connsiteX1" fmla="*/ 25835 w 31257"/>
                <a:gd name="connsiteY1" fmla="*/ 3692 h 24449"/>
                <a:gd name="connsiteX2" fmla="*/ 15196 w 31257"/>
                <a:gd name="connsiteY2" fmla="*/ 24346 h 24449"/>
                <a:gd name="connsiteX3" fmla="*/ 622 w 31257"/>
                <a:gd name="connsiteY3" fmla="*/ 15941 h 24449"/>
                <a:gd name="connsiteX4" fmla="*/ 21275 w 31257"/>
                <a:gd name="connsiteY4" fmla="*/ 1993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7" h="24449">
                  <a:moveTo>
                    <a:pt x="21275" y="1993"/>
                  </a:moveTo>
                  <a:cubicBezTo>
                    <a:pt x="22348" y="3781"/>
                    <a:pt x="23868" y="4318"/>
                    <a:pt x="25835" y="3692"/>
                  </a:cubicBezTo>
                  <a:cubicBezTo>
                    <a:pt x="34240" y="16746"/>
                    <a:pt x="34419" y="25508"/>
                    <a:pt x="15196" y="24346"/>
                  </a:cubicBezTo>
                  <a:cubicBezTo>
                    <a:pt x="10815" y="20769"/>
                    <a:pt x="2678" y="23720"/>
                    <a:pt x="622" y="15941"/>
                  </a:cubicBezTo>
                  <a:cubicBezTo>
                    <a:pt x="-2955" y="-4176"/>
                    <a:pt x="9563" y="-511"/>
                    <a:pt x="21275" y="1993"/>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1" name="Freeform: Shape 270">
              <a:extLst>
                <a:ext uri="{FF2B5EF4-FFF2-40B4-BE49-F238E27FC236}">
                  <a16:creationId xmlns:a16="http://schemas.microsoft.com/office/drawing/2014/main" id="{819658E6-7790-D88A-FCA7-497DC978A32B}"/>
                </a:ext>
              </a:extLst>
            </p:cNvPr>
            <p:cNvSpPr/>
            <p:nvPr/>
          </p:nvSpPr>
          <p:spPr>
            <a:xfrm>
              <a:off x="16559230" y="7366493"/>
              <a:ext cx="35714" cy="23046"/>
            </a:xfrm>
            <a:custGeom>
              <a:avLst/>
              <a:gdLst>
                <a:gd name="connsiteX0" fmla="*/ 0 w 24498"/>
                <a:gd name="connsiteY0" fmla="*/ 15809 h 15808"/>
                <a:gd name="connsiteX1" fmla="*/ 24499 w 24498"/>
                <a:gd name="connsiteY1" fmla="*/ 9639 h 15808"/>
                <a:gd name="connsiteX2" fmla="*/ 0 w 24498"/>
                <a:gd name="connsiteY2" fmla="*/ 15809 h 15808"/>
              </a:gdLst>
              <a:ahLst/>
              <a:cxnLst>
                <a:cxn ang="0">
                  <a:pos x="connsiteX0" y="connsiteY0"/>
                </a:cxn>
                <a:cxn ang="0">
                  <a:pos x="connsiteX1" y="connsiteY1"/>
                </a:cxn>
                <a:cxn ang="0">
                  <a:pos x="connsiteX2" y="connsiteY2"/>
                </a:cxn>
              </a:cxnLst>
              <a:rect l="l" t="t" r="r" b="b"/>
              <a:pathLst>
                <a:path w="24498" h="15808">
                  <a:moveTo>
                    <a:pt x="0" y="15809"/>
                  </a:moveTo>
                  <a:cubicBezTo>
                    <a:pt x="3219" y="-6097"/>
                    <a:pt x="12786" y="-2342"/>
                    <a:pt x="24499" y="9639"/>
                  </a:cubicBezTo>
                  <a:cubicBezTo>
                    <a:pt x="16363" y="11696"/>
                    <a:pt x="8137" y="13752"/>
                    <a:pt x="0" y="1580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2" name="Freeform: Shape 271">
              <a:extLst>
                <a:ext uri="{FF2B5EF4-FFF2-40B4-BE49-F238E27FC236}">
                  <a16:creationId xmlns:a16="http://schemas.microsoft.com/office/drawing/2014/main" id="{B74ECF31-6897-D8AD-D63B-BC0524096F47}"/>
                </a:ext>
              </a:extLst>
            </p:cNvPr>
            <p:cNvSpPr/>
            <p:nvPr/>
          </p:nvSpPr>
          <p:spPr>
            <a:xfrm>
              <a:off x="13270134" y="2653074"/>
              <a:ext cx="81893" cy="50250"/>
            </a:xfrm>
            <a:custGeom>
              <a:avLst/>
              <a:gdLst>
                <a:gd name="connsiteX0" fmla="*/ 30356 w 56174"/>
                <a:gd name="connsiteY0" fmla="*/ 34469 h 34469"/>
                <a:gd name="connsiteX1" fmla="*/ 24634 w 56174"/>
                <a:gd name="connsiteY1" fmla="*/ 31340 h 34469"/>
                <a:gd name="connsiteX2" fmla="*/ 1566 w 56174"/>
                <a:gd name="connsiteY2" fmla="*/ 8272 h 34469"/>
                <a:gd name="connsiteX3" fmla="*/ 35095 w 56174"/>
                <a:gd name="connsiteY3" fmla="*/ 8182 h 34469"/>
                <a:gd name="connsiteX4" fmla="*/ 51726 w 56174"/>
                <a:gd name="connsiteY4" fmla="*/ 10328 h 34469"/>
                <a:gd name="connsiteX5" fmla="*/ 55392 w 56174"/>
                <a:gd name="connsiteY5" fmla="*/ 22309 h 34469"/>
                <a:gd name="connsiteX6" fmla="*/ 30356 w 56174"/>
                <a:gd name="connsiteY6" fmla="*/ 34469 h 34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74" h="34469">
                  <a:moveTo>
                    <a:pt x="30356" y="34469"/>
                  </a:moveTo>
                  <a:cubicBezTo>
                    <a:pt x="28479" y="33486"/>
                    <a:pt x="26422" y="32681"/>
                    <a:pt x="24634" y="31340"/>
                  </a:cubicBezTo>
                  <a:cubicBezTo>
                    <a:pt x="15514" y="24634"/>
                    <a:pt x="-5945" y="25618"/>
                    <a:pt x="1566" y="8272"/>
                  </a:cubicBezTo>
                  <a:cubicBezTo>
                    <a:pt x="8629" y="-8180"/>
                    <a:pt x="23561" y="4338"/>
                    <a:pt x="35095" y="8182"/>
                  </a:cubicBezTo>
                  <a:cubicBezTo>
                    <a:pt x="40639" y="8898"/>
                    <a:pt x="46182" y="9613"/>
                    <a:pt x="51726" y="10328"/>
                  </a:cubicBezTo>
                  <a:cubicBezTo>
                    <a:pt x="58790" y="12564"/>
                    <a:pt x="55302" y="18018"/>
                    <a:pt x="55392" y="22309"/>
                  </a:cubicBezTo>
                  <a:cubicBezTo>
                    <a:pt x="50385" y="33218"/>
                    <a:pt x="35721" y="24187"/>
                    <a:pt x="30356" y="3446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3" name="Freeform: Shape 272">
              <a:extLst>
                <a:ext uri="{FF2B5EF4-FFF2-40B4-BE49-F238E27FC236}">
                  <a16:creationId xmlns:a16="http://schemas.microsoft.com/office/drawing/2014/main" id="{FD3FAF52-3EEE-58DB-FC88-812386AEDD72}"/>
                </a:ext>
              </a:extLst>
            </p:cNvPr>
            <p:cNvSpPr/>
            <p:nvPr/>
          </p:nvSpPr>
          <p:spPr>
            <a:xfrm>
              <a:off x="6171133" y="9496458"/>
              <a:ext cx="55929" cy="30141"/>
            </a:xfrm>
            <a:custGeom>
              <a:avLst/>
              <a:gdLst>
                <a:gd name="connsiteX0" fmla="*/ 13688 w 38365"/>
                <a:gd name="connsiteY0" fmla="*/ 20386 h 20675"/>
                <a:gd name="connsiteX1" fmla="*/ 992 w 38365"/>
                <a:gd name="connsiteY1" fmla="*/ 7511 h 20675"/>
                <a:gd name="connsiteX2" fmla="*/ 13777 w 38365"/>
                <a:gd name="connsiteY2" fmla="*/ 0 h 20675"/>
                <a:gd name="connsiteX3" fmla="*/ 38366 w 38365"/>
                <a:gd name="connsiteY3" fmla="*/ 1609 h 20675"/>
                <a:gd name="connsiteX4" fmla="*/ 13688 w 38365"/>
                <a:gd name="connsiteY4" fmla="*/ 20386 h 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65" h="20675">
                  <a:moveTo>
                    <a:pt x="13688" y="20386"/>
                  </a:moveTo>
                  <a:cubicBezTo>
                    <a:pt x="3942" y="21548"/>
                    <a:pt x="-2585" y="19581"/>
                    <a:pt x="992" y="7511"/>
                  </a:cubicBezTo>
                  <a:cubicBezTo>
                    <a:pt x="5283" y="5007"/>
                    <a:pt x="9486" y="2504"/>
                    <a:pt x="13777" y="0"/>
                  </a:cubicBezTo>
                  <a:cubicBezTo>
                    <a:pt x="21824" y="536"/>
                    <a:pt x="29872" y="1073"/>
                    <a:pt x="38366" y="1609"/>
                  </a:cubicBezTo>
                  <a:cubicBezTo>
                    <a:pt x="35057" y="16273"/>
                    <a:pt x="20215" y="12518"/>
                    <a:pt x="13688" y="2038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4" name="Freeform: Shape 273">
              <a:extLst>
                <a:ext uri="{FF2B5EF4-FFF2-40B4-BE49-F238E27FC236}">
                  <a16:creationId xmlns:a16="http://schemas.microsoft.com/office/drawing/2014/main" id="{B6C4730C-E30B-DC4B-E5AE-DC5A11DAC431}"/>
                </a:ext>
              </a:extLst>
            </p:cNvPr>
            <p:cNvSpPr/>
            <p:nvPr/>
          </p:nvSpPr>
          <p:spPr>
            <a:xfrm>
              <a:off x="6247747" y="9483365"/>
              <a:ext cx="38361" cy="35643"/>
            </a:xfrm>
            <a:custGeom>
              <a:avLst/>
              <a:gdLst>
                <a:gd name="connsiteX0" fmla="*/ 7001 w 26314"/>
                <a:gd name="connsiteY0" fmla="*/ 24450 h 24449"/>
                <a:gd name="connsiteX1" fmla="*/ 474 w 26314"/>
                <a:gd name="connsiteY1" fmla="*/ 9876 h 24449"/>
                <a:gd name="connsiteX2" fmla="*/ 474 w 26314"/>
                <a:gd name="connsiteY2" fmla="*/ 9876 h 24449"/>
                <a:gd name="connsiteX3" fmla="*/ 26314 w 26314"/>
                <a:gd name="connsiteY3" fmla="*/ 4511 h 24449"/>
                <a:gd name="connsiteX4" fmla="*/ 7091 w 26314"/>
                <a:gd name="connsiteY4" fmla="*/ 24450 h 24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 h="24449">
                  <a:moveTo>
                    <a:pt x="7001" y="24450"/>
                  </a:moveTo>
                  <a:cubicBezTo>
                    <a:pt x="-1850" y="22572"/>
                    <a:pt x="27" y="15956"/>
                    <a:pt x="474" y="9876"/>
                  </a:cubicBezTo>
                  <a:lnTo>
                    <a:pt x="474" y="9876"/>
                  </a:lnTo>
                  <a:cubicBezTo>
                    <a:pt x="7448" y="40"/>
                    <a:pt x="15585" y="-3715"/>
                    <a:pt x="26314" y="4511"/>
                  </a:cubicBezTo>
                  <a:cubicBezTo>
                    <a:pt x="19877" y="11127"/>
                    <a:pt x="13439" y="17833"/>
                    <a:pt x="7091" y="2445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5" name="Freeform: Shape 274">
              <a:extLst>
                <a:ext uri="{FF2B5EF4-FFF2-40B4-BE49-F238E27FC236}">
                  <a16:creationId xmlns:a16="http://schemas.microsoft.com/office/drawing/2014/main" id="{0B4C964A-6390-51CD-EADF-CE41EE77459C}"/>
                </a:ext>
              </a:extLst>
            </p:cNvPr>
            <p:cNvSpPr/>
            <p:nvPr/>
          </p:nvSpPr>
          <p:spPr>
            <a:xfrm>
              <a:off x="11767776" y="2042976"/>
              <a:ext cx="200784" cy="81369"/>
            </a:xfrm>
            <a:custGeom>
              <a:avLst/>
              <a:gdLst>
                <a:gd name="connsiteX0" fmla="*/ 16755 w 137728"/>
                <a:gd name="connsiteY0" fmla="*/ 18875 h 55815"/>
                <a:gd name="connsiteX1" fmla="*/ 53772 w 137728"/>
                <a:gd name="connsiteY1" fmla="*/ 16639 h 55815"/>
                <a:gd name="connsiteX2" fmla="*/ 66289 w 137728"/>
                <a:gd name="connsiteY2" fmla="*/ 4658 h 55815"/>
                <a:gd name="connsiteX3" fmla="*/ 137729 w 137728"/>
                <a:gd name="connsiteY3" fmla="*/ 17355 h 55815"/>
                <a:gd name="connsiteX4" fmla="*/ 119310 w 137728"/>
                <a:gd name="connsiteY4" fmla="*/ 30856 h 55815"/>
                <a:gd name="connsiteX5" fmla="*/ 104558 w 137728"/>
                <a:gd name="connsiteY5" fmla="*/ 40780 h 55815"/>
                <a:gd name="connsiteX6" fmla="*/ 77645 w 137728"/>
                <a:gd name="connsiteY6" fmla="*/ 49632 h 55815"/>
                <a:gd name="connsiteX7" fmla="*/ 7099 w 137728"/>
                <a:gd name="connsiteY7" fmla="*/ 49364 h 55815"/>
                <a:gd name="connsiteX8" fmla="*/ 9156 w 137728"/>
                <a:gd name="connsiteY8" fmla="*/ 22898 h 55815"/>
                <a:gd name="connsiteX9" fmla="*/ 16755 w 137728"/>
                <a:gd name="connsiteY9" fmla="*/ 18875 h 5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28" h="55815">
                  <a:moveTo>
                    <a:pt x="16755" y="18875"/>
                  </a:moveTo>
                  <a:cubicBezTo>
                    <a:pt x="28915" y="14940"/>
                    <a:pt x="41254" y="15030"/>
                    <a:pt x="53772" y="16639"/>
                  </a:cubicBezTo>
                  <a:cubicBezTo>
                    <a:pt x="62355" y="17712"/>
                    <a:pt x="68167" y="14940"/>
                    <a:pt x="66289" y="4658"/>
                  </a:cubicBezTo>
                  <a:cubicBezTo>
                    <a:pt x="94007" y="-10095"/>
                    <a:pt x="113499" y="14672"/>
                    <a:pt x="137729" y="17355"/>
                  </a:cubicBezTo>
                  <a:cubicBezTo>
                    <a:pt x="134868" y="29157"/>
                    <a:pt x="124407" y="25759"/>
                    <a:pt x="119310" y="30856"/>
                  </a:cubicBezTo>
                  <a:cubicBezTo>
                    <a:pt x="116181" y="36757"/>
                    <a:pt x="111710" y="40870"/>
                    <a:pt x="104558" y="40780"/>
                  </a:cubicBezTo>
                  <a:cubicBezTo>
                    <a:pt x="95258" y="42569"/>
                    <a:pt x="86228" y="45340"/>
                    <a:pt x="77645" y="49632"/>
                  </a:cubicBezTo>
                  <a:cubicBezTo>
                    <a:pt x="54040" y="58573"/>
                    <a:pt x="30524" y="57232"/>
                    <a:pt x="7099" y="49364"/>
                  </a:cubicBezTo>
                  <a:cubicBezTo>
                    <a:pt x="-8369" y="39350"/>
                    <a:pt x="5758" y="31571"/>
                    <a:pt x="9156" y="22898"/>
                  </a:cubicBezTo>
                  <a:cubicBezTo>
                    <a:pt x="11212" y="20573"/>
                    <a:pt x="13715" y="19232"/>
                    <a:pt x="16755" y="1887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6" name="Freeform: Shape 275">
              <a:extLst>
                <a:ext uri="{FF2B5EF4-FFF2-40B4-BE49-F238E27FC236}">
                  <a16:creationId xmlns:a16="http://schemas.microsoft.com/office/drawing/2014/main" id="{43D59585-3BE8-77BD-E2C9-7CE6F69FD30D}"/>
                </a:ext>
              </a:extLst>
            </p:cNvPr>
            <p:cNvSpPr/>
            <p:nvPr/>
          </p:nvSpPr>
          <p:spPr>
            <a:xfrm>
              <a:off x="7794342" y="3375924"/>
              <a:ext cx="401431" cy="260666"/>
            </a:xfrm>
            <a:custGeom>
              <a:avLst/>
              <a:gdLst>
                <a:gd name="connsiteX0" fmla="*/ 247048 w 275363"/>
                <a:gd name="connsiteY0" fmla="*/ 8487 h 178804"/>
                <a:gd name="connsiteX1" fmla="*/ 248210 w 275363"/>
                <a:gd name="connsiteY1" fmla="*/ 25743 h 178804"/>
                <a:gd name="connsiteX2" fmla="*/ 275034 w 275363"/>
                <a:gd name="connsiteY2" fmla="*/ 78228 h 178804"/>
                <a:gd name="connsiteX3" fmla="*/ 273692 w 275363"/>
                <a:gd name="connsiteY3" fmla="*/ 98435 h 178804"/>
                <a:gd name="connsiteX4" fmla="*/ 155937 w 275363"/>
                <a:gd name="connsiteY4" fmla="*/ 168533 h 178804"/>
                <a:gd name="connsiteX5" fmla="*/ 143241 w 275363"/>
                <a:gd name="connsiteY5" fmla="*/ 177027 h 178804"/>
                <a:gd name="connsiteX6" fmla="*/ 61698 w 275363"/>
                <a:gd name="connsiteY6" fmla="*/ 151098 h 178804"/>
                <a:gd name="connsiteX7" fmla="*/ 53025 w 275363"/>
                <a:gd name="connsiteY7" fmla="*/ 134736 h 178804"/>
                <a:gd name="connsiteX8" fmla="*/ 43368 w 275363"/>
                <a:gd name="connsiteY8" fmla="*/ 116585 h 178804"/>
                <a:gd name="connsiteX9" fmla="*/ 17081 w 275363"/>
                <a:gd name="connsiteY9" fmla="*/ 99061 h 178804"/>
                <a:gd name="connsiteX10" fmla="*/ 39077 w 275363"/>
                <a:gd name="connsiteY10" fmla="*/ 83414 h 178804"/>
                <a:gd name="connsiteX11" fmla="*/ 38808 w 275363"/>
                <a:gd name="connsiteY11" fmla="*/ 78228 h 178804"/>
                <a:gd name="connsiteX12" fmla="*/ 32460 w 275363"/>
                <a:gd name="connsiteY12" fmla="*/ 78228 h 178804"/>
                <a:gd name="connsiteX13" fmla="*/ 5816 w 275363"/>
                <a:gd name="connsiteY13" fmla="*/ 73221 h 178804"/>
                <a:gd name="connsiteX14" fmla="*/ 987 w 275363"/>
                <a:gd name="connsiteY14" fmla="*/ 59094 h 178804"/>
                <a:gd name="connsiteX15" fmla="*/ 5816 w 275363"/>
                <a:gd name="connsiteY15" fmla="*/ 58110 h 178804"/>
                <a:gd name="connsiteX16" fmla="*/ 26201 w 275363"/>
                <a:gd name="connsiteY16" fmla="*/ 28157 h 178804"/>
                <a:gd name="connsiteX17" fmla="*/ 50253 w 275363"/>
                <a:gd name="connsiteY17" fmla="*/ 49705 h 178804"/>
                <a:gd name="connsiteX18" fmla="*/ 49538 w 275363"/>
                <a:gd name="connsiteY18" fmla="*/ 16712 h 178804"/>
                <a:gd name="connsiteX19" fmla="*/ 76987 w 275363"/>
                <a:gd name="connsiteY19" fmla="*/ 27084 h 178804"/>
                <a:gd name="connsiteX20" fmla="*/ 76361 w 275363"/>
                <a:gd name="connsiteY20" fmla="*/ 26637 h 178804"/>
                <a:gd name="connsiteX21" fmla="*/ 93349 w 275363"/>
                <a:gd name="connsiteY21" fmla="*/ 61061 h 178804"/>
                <a:gd name="connsiteX22" fmla="*/ 123660 w 275363"/>
                <a:gd name="connsiteY22" fmla="*/ 32181 h 178804"/>
                <a:gd name="connsiteX23" fmla="*/ 123660 w 275363"/>
                <a:gd name="connsiteY23" fmla="*/ 32181 h 178804"/>
                <a:gd name="connsiteX24" fmla="*/ 182761 w 275363"/>
                <a:gd name="connsiteY24" fmla="*/ 12868 h 178804"/>
                <a:gd name="connsiteX25" fmla="*/ 246959 w 275363"/>
                <a:gd name="connsiteY25" fmla="*/ 8218 h 1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5363" h="178804">
                  <a:moveTo>
                    <a:pt x="247048" y="8487"/>
                  </a:moveTo>
                  <a:cubicBezTo>
                    <a:pt x="247405" y="14209"/>
                    <a:pt x="247853" y="20021"/>
                    <a:pt x="248210" y="25743"/>
                  </a:cubicBezTo>
                  <a:cubicBezTo>
                    <a:pt x="260281" y="41658"/>
                    <a:pt x="272172" y="57574"/>
                    <a:pt x="275034" y="78228"/>
                  </a:cubicBezTo>
                  <a:cubicBezTo>
                    <a:pt x="275749" y="85023"/>
                    <a:pt x="275302" y="91818"/>
                    <a:pt x="273692" y="98435"/>
                  </a:cubicBezTo>
                  <a:cubicBezTo>
                    <a:pt x="253217" y="153244"/>
                    <a:pt x="207349" y="165672"/>
                    <a:pt x="155937" y="168533"/>
                  </a:cubicBezTo>
                  <a:cubicBezTo>
                    <a:pt x="151735" y="171394"/>
                    <a:pt x="147533" y="174256"/>
                    <a:pt x="143241" y="177027"/>
                  </a:cubicBezTo>
                  <a:cubicBezTo>
                    <a:pt x="110874" y="184717"/>
                    <a:pt x="86912" y="165851"/>
                    <a:pt x="61698" y="151098"/>
                  </a:cubicBezTo>
                  <a:cubicBezTo>
                    <a:pt x="57942" y="146091"/>
                    <a:pt x="55260" y="140547"/>
                    <a:pt x="53025" y="134736"/>
                  </a:cubicBezTo>
                  <a:cubicBezTo>
                    <a:pt x="50611" y="128298"/>
                    <a:pt x="48643" y="121503"/>
                    <a:pt x="43368" y="116585"/>
                  </a:cubicBezTo>
                  <a:cubicBezTo>
                    <a:pt x="35858" y="108896"/>
                    <a:pt x="20121" y="113456"/>
                    <a:pt x="17081" y="99061"/>
                  </a:cubicBezTo>
                  <a:cubicBezTo>
                    <a:pt x="20300" y="88063"/>
                    <a:pt x="30314" y="86811"/>
                    <a:pt x="39077" y="83414"/>
                  </a:cubicBezTo>
                  <a:cubicBezTo>
                    <a:pt x="42474" y="82072"/>
                    <a:pt x="43368" y="79569"/>
                    <a:pt x="38808" y="78228"/>
                  </a:cubicBezTo>
                  <a:cubicBezTo>
                    <a:pt x="36841" y="77602"/>
                    <a:pt x="34606" y="77959"/>
                    <a:pt x="32460" y="78228"/>
                  </a:cubicBezTo>
                  <a:cubicBezTo>
                    <a:pt x="22982" y="79301"/>
                    <a:pt x="13773" y="79390"/>
                    <a:pt x="5816" y="73221"/>
                  </a:cubicBezTo>
                  <a:cubicBezTo>
                    <a:pt x="-1338" y="70449"/>
                    <a:pt x="-443" y="64816"/>
                    <a:pt x="987" y="59094"/>
                  </a:cubicBezTo>
                  <a:cubicBezTo>
                    <a:pt x="2776" y="59809"/>
                    <a:pt x="4474" y="59451"/>
                    <a:pt x="5816" y="58110"/>
                  </a:cubicBezTo>
                  <a:cubicBezTo>
                    <a:pt x="13147" y="48454"/>
                    <a:pt x="8945" y="30839"/>
                    <a:pt x="26201" y="28157"/>
                  </a:cubicBezTo>
                  <a:cubicBezTo>
                    <a:pt x="40150" y="26011"/>
                    <a:pt x="44262" y="37188"/>
                    <a:pt x="50253" y="49705"/>
                  </a:cubicBezTo>
                  <a:cubicBezTo>
                    <a:pt x="46229" y="36383"/>
                    <a:pt x="36394" y="25117"/>
                    <a:pt x="49538" y="16712"/>
                  </a:cubicBezTo>
                  <a:cubicBezTo>
                    <a:pt x="61072" y="9381"/>
                    <a:pt x="69387" y="19305"/>
                    <a:pt x="76987" y="27084"/>
                  </a:cubicBezTo>
                  <a:lnTo>
                    <a:pt x="76361" y="26637"/>
                  </a:lnTo>
                  <a:cubicBezTo>
                    <a:pt x="92813" y="31734"/>
                    <a:pt x="86465" y="47917"/>
                    <a:pt x="93349" y="61061"/>
                  </a:cubicBezTo>
                  <a:cubicBezTo>
                    <a:pt x="101128" y="47917"/>
                    <a:pt x="109801" y="36919"/>
                    <a:pt x="123660" y="32181"/>
                  </a:cubicBezTo>
                  <a:lnTo>
                    <a:pt x="123660" y="32181"/>
                  </a:lnTo>
                  <a:cubicBezTo>
                    <a:pt x="146549" y="34952"/>
                    <a:pt x="163537" y="24044"/>
                    <a:pt x="182761" y="12868"/>
                  </a:cubicBezTo>
                  <a:cubicBezTo>
                    <a:pt x="200733" y="2496"/>
                    <a:pt x="224427" y="-7607"/>
                    <a:pt x="246959" y="821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7" name="Freeform: Shape 276">
              <a:extLst>
                <a:ext uri="{FF2B5EF4-FFF2-40B4-BE49-F238E27FC236}">
                  <a16:creationId xmlns:a16="http://schemas.microsoft.com/office/drawing/2014/main" id="{31B75169-C59E-9DCD-0C6C-01FB0E01FD4A}"/>
                </a:ext>
              </a:extLst>
            </p:cNvPr>
            <p:cNvSpPr/>
            <p:nvPr/>
          </p:nvSpPr>
          <p:spPr>
            <a:xfrm>
              <a:off x="8983718" y="4971118"/>
              <a:ext cx="58357" cy="121481"/>
            </a:xfrm>
            <a:custGeom>
              <a:avLst/>
              <a:gdLst>
                <a:gd name="connsiteX0" fmla="*/ 1012 w 40030"/>
                <a:gd name="connsiteY0" fmla="*/ 49069 h 83330"/>
                <a:gd name="connsiteX1" fmla="*/ 15586 w 40030"/>
                <a:gd name="connsiteY1" fmla="*/ 2843 h 83330"/>
                <a:gd name="connsiteX2" fmla="*/ 32038 w 40030"/>
                <a:gd name="connsiteY2" fmla="*/ 4811 h 83330"/>
                <a:gd name="connsiteX3" fmla="*/ 34094 w 40030"/>
                <a:gd name="connsiteY3" fmla="*/ 68472 h 83330"/>
                <a:gd name="connsiteX4" fmla="*/ 7092 w 40030"/>
                <a:gd name="connsiteY4" fmla="*/ 82151 h 83330"/>
                <a:gd name="connsiteX5" fmla="*/ 1101 w 40030"/>
                <a:gd name="connsiteY5" fmla="*/ 49159 h 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30" h="83330">
                  <a:moveTo>
                    <a:pt x="1012" y="49069"/>
                  </a:moveTo>
                  <a:cubicBezTo>
                    <a:pt x="2174" y="31276"/>
                    <a:pt x="-7393" y="12232"/>
                    <a:pt x="15586" y="2843"/>
                  </a:cubicBezTo>
                  <a:cubicBezTo>
                    <a:pt x="22381" y="72"/>
                    <a:pt x="29266" y="-2611"/>
                    <a:pt x="32038" y="4811"/>
                  </a:cubicBezTo>
                  <a:cubicBezTo>
                    <a:pt x="39727" y="25643"/>
                    <a:pt x="44377" y="48086"/>
                    <a:pt x="34094" y="68472"/>
                  </a:cubicBezTo>
                  <a:cubicBezTo>
                    <a:pt x="30339" y="75893"/>
                    <a:pt x="16838" y="86980"/>
                    <a:pt x="7092" y="82151"/>
                  </a:cubicBezTo>
                  <a:cubicBezTo>
                    <a:pt x="-6678" y="75267"/>
                    <a:pt x="4588" y="58994"/>
                    <a:pt x="1101" y="49159"/>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8" name="Freeform: Shape 277">
              <a:extLst>
                <a:ext uri="{FF2B5EF4-FFF2-40B4-BE49-F238E27FC236}">
                  <a16:creationId xmlns:a16="http://schemas.microsoft.com/office/drawing/2014/main" id="{BF00A76E-30C4-1899-BD71-97EC726D48D1}"/>
                </a:ext>
              </a:extLst>
            </p:cNvPr>
            <p:cNvSpPr/>
            <p:nvPr/>
          </p:nvSpPr>
          <p:spPr>
            <a:xfrm>
              <a:off x="9130918" y="5116820"/>
              <a:ext cx="110271" cy="70778"/>
            </a:xfrm>
            <a:custGeom>
              <a:avLst/>
              <a:gdLst>
                <a:gd name="connsiteX0" fmla="*/ 75642 w 75641"/>
                <a:gd name="connsiteY0" fmla="*/ 89 h 48550"/>
                <a:gd name="connsiteX1" fmla="*/ 75642 w 75641"/>
                <a:gd name="connsiteY1" fmla="*/ 48550 h 48550"/>
                <a:gd name="connsiteX2" fmla="*/ 0 w 75641"/>
                <a:gd name="connsiteY2" fmla="*/ 21190 h 48550"/>
                <a:gd name="connsiteX3" fmla="*/ 33976 w 75641"/>
                <a:gd name="connsiteY3" fmla="*/ 4471 h 48550"/>
                <a:gd name="connsiteX4" fmla="*/ 75552 w 75641"/>
                <a:gd name="connsiteY4" fmla="*/ 0 h 48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41" h="48550">
                  <a:moveTo>
                    <a:pt x="75642" y="89"/>
                  </a:moveTo>
                  <a:lnTo>
                    <a:pt x="75642" y="48550"/>
                  </a:lnTo>
                  <a:cubicBezTo>
                    <a:pt x="47656" y="45332"/>
                    <a:pt x="27896" y="23694"/>
                    <a:pt x="0" y="21190"/>
                  </a:cubicBezTo>
                  <a:cubicBezTo>
                    <a:pt x="7868" y="4471"/>
                    <a:pt x="22084" y="6438"/>
                    <a:pt x="33976" y="4471"/>
                  </a:cubicBezTo>
                  <a:cubicBezTo>
                    <a:pt x="46673" y="2325"/>
                    <a:pt x="59637" y="1699"/>
                    <a:pt x="75552"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79" name="Freeform: Shape 278">
              <a:extLst>
                <a:ext uri="{FF2B5EF4-FFF2-40B4-BE49-F238E27FC236}">
                  <a16:creationId xmlns:a16="http://schemas.microsoft.com/office/drawing/2014/main" id="{AD41DF65-A0C1-35B1-ACB0-D151AEE41A90}"/>
                </a:ext>
              </a:extLst>
            </p:cNvPr>
            <p:cNvSpPr/>
            <p:nvPr/>
          </p:nvSpPr>
          <p:spPr>
            <a:xfrm>
              <a:off x="8993479" y="4875288"/>
              <a:ext cx="32218" cy="68457"/>
            </a:xfrm>
            <a:custGeom>
              <a:avLst/>
              <a:gdLst>
                <a:gd name="connsiteX0" fmla="*/ 10231 w 22100"/>
                <a:gd name="connsiteY0" fmla="*/ 0 h 46958"/>
                <a:gd name="connsiteX1" fmla="*/ 16310 w 22100"/>
                <a:gd name="connsiteY1" fmla="*/ 43275 h 46958"/>
                <a:gd name="connsiteX2" fmla="*/ 5670 w 22100"/>
                <a:gd name="connsiteY2" fmla="*/ 44169 h 46958"/>
                <a:gd name="connsiteX3" fmla="*/ 10231 w 22100"/>
                <a:gd name="connsiteY3" fmla="*/ 0 h 46958"/>
              </a:gdLst>
              <a:ahLst/>
              <a:cxnLst>
                <a:cxn ang="0">
                  <a:pos x="connsiteX0" y="connsiteY0"/>
                </a:cxn>
                <a:cxn ang="0">
                  <a:pos x="connsiteX1" y="connsiteY1"/>
                </a:cxn>
                <a:cxn ang="0">
                  <a:pos x="connsiteX2" y="connsiteY2"/>
                </a:cxn>
                <a:cxn ang="0">
                  <a:pos x="connsiteX3" y="connsiteY3"/>
                </a:cxn>
              </a:cxnLst>
              <a:rect l="l" t="t" r="r" b="b"/>
              <a:pathLst>
                <a:path w="22100" h="46958">
                  <a:moveTo>
                    <a:pt x="10231" y="0"/>
                  </a:moveTo>
                  <a:cubicBezTo>
                    <a:pt x="27219" y="15110"/>
                    <a:pt x="22837" y="29327"/>
                    <a:pt x="16310" y="43275"/>
                  </a:cubicBezTo>
                  <a:cubicBezTo>
                    <a:pt x="14165" y="47835"/>
                    <a:pt x="8889" y="48193"/>
                    <a:pt x="5670" y="44169"/>
                  </a:cubicBezTo>
                  <a:cubicBezTo>
                    <a:pt x="-7562" y="27628"/>
                    <a:pt x="5939" y="15647"/>
                    <a:pt x="10231" y="0"/>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0" name="Freeform: Shape 279">
              <a:extLst>
                <a:ext uri="{FF2B5EF4-FFF2-40B4-BE49-F238E27FC236}">
                  <a16:creationId xmlns:a16="http://schemas.microsoft.com/office/drawing/2014/main" id="{064C5E18-B3AB-8C76-F75B-E2372BBE7D74}"/>
                </a:ext>
              </a:extLst>
            </p:cNvPr>
            <p:cNvSpPr/>
            <p:nvPr/>
          </p:nvSpPr>
          <p:spPr>
            <a:xfrm>
              <a:off x="3536459" y="4220016"/>
              <a:ext cx="23528" cy="28800"/>
            </a:xfrm>
            <a:custGeom>
              <a:avLst/>
              <a:gdLst>
                <a:gd name="connsiteX0" fmla="*/ 16089 w 16139"/>
                <a:gd name="connsiteY0" fmla="*/ 13425 h 19755"/>
                <a:gd name="connsiteX1" fmla="*/ 6791 w 16139"/>
                <a:gd name="connsiteY1" fmla="*/ 19237 h 19755"/>
                <a:gd name="connsiteX2" fmla="*/ 353 w 16139"/>
                <a:gd name="connsiteY2" fmla="*/ 6630 h 19755"/>
                <a:gd name="connsiteX3" fmla="*/ 8132 w 16139"/>
                <a:gd name="connsiteY3" fmla="*/ 1086 h 19755"/>
                <a:gd name="connsiteX4" fmla="*/ 16089 w 16139"/>
                <a:gd name="connsiteY4" fmla="*/ 13425 h 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9" h="19755">
                  <a:moveTo>
                    <a:pt x="16089" y="13425"/>
                  </a:moveTo>
                  <a:cubicBezTo>
                    <a:pt x="14838" y="18968"/>
                    <a:pt x="11619" y="20757"/>
                    <a:pt x="6791" y="19237"/>
                  </a:cubicBezTo>
                  <a:cubicBezTo>
                    <a:pt x="442" y="17270"/>
                    <a:pt x="-720" y="12352"/>
                    <a:pt x="353" y="6630"/>
                  </a:cubicBezTo>
                  <a:cubicBezTo>
                    <a:pt x="1158" y="2427"/>
                    <a:pt x="2409" y="-2133"/>
                    <a:pt x="8132" y="1086"/>
                  </a:cubicBezTo>
                  <a:cubicBezTo>
                    <a:pt x="12781" y="3768"/>
                    <a:pt x="16626" y="7613"/>
                    <a:pt x="16089" y="13425"/>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1" name="Freeform: Shape 280">
              <a:extLst>
                <a:ext uri="{FF2B5EF4-FFF2-40B4-BE49-F238E27FC236}">
                  <a16:creationId xmlns:a16="http://schemas.microsoft.com/office/drawing/2014/main" id="{EC7C658A-808A-785B-7DD2-03961E6D8A34}"/>
                </a:ext>
              </a:extLst>
            </p:cNvPr>
            <p:cNvSpPr/>
            <p:nvPr/>
          </p:nvSpPr>
          <p:spPr>
            <a:xfrm>
              <a:off x="15176004" y="6901296"/>
              <a:ext cx="139392" cy="80837"/>
            </a:xfrm>
            <a:custGeom>
              <a:avLst/>
              <a:gdLst>
                <a:gd name="connsiteX0" fmla="*/ 19224 w 95616"/>
                <a:gd name="connsiteY0" fmla="*/ 35383 h 55450"/>
                <a:gd name="connsiteX1" fmla="*/ 66254 w 95616"/>
                <a:gd name="connsiteY1" fmla="*/ 3642 h 55450"/>
                <a:gd name="connsiteX2" fmla="*/ 88965 w 95616"/>
                <a:gd name="connsiteY2" fmla="*/ 5430 h 55450"/>
                <a:gd name="connsiteX3" fmla="*/ 90753 w 95616"/>
                <a:gd name="connsiteY3" fmla="*/ 26531 h 55450"/>
                <a:gd name="connsiteX4" fmla="*/ 0 w 95616"/>
                <a:gd name="connsiteY4" fmla="*/ 54160 h 55450"/>
                <a:gd name="connsiteX5" fmla="*/ 19403 w 95616"/>
                <a:gd name="connsiteY5" fmla="*/ 35204 h 55450"/>
                <a:gd name="connsiteX6" fmla="*/ 19134 w 95616"/>
                <a:gd name="connsiteY6" fmla="*/ 35383 h 5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16" h="55450">
                  <a:moveTo>
                    <a:pt x="19224" y="35383"/>
                  </a:moveTo>
                  <a:cubicBezTo>
                    <a:pt x="36748" y="28051"/>
                    <a:pt x="65181" y="38065"/>
                    <a:pt x="66254" y="3642"/>
                  </a:cubicBezTo>
                  <a:cubicBezTo>
                    <a:pt x="66433" y="-2080"/>
                    <a:pt x="81991" y="-739"/>
                    <a:pt x="88965" y="5430"/>
                  </a:cubicBezTo>
                  <a:cubicBezTo>
                    <a:pt x="95671" y="11242"/>
                    <a:pt x="98979" y="15981"/>
                    <a:pt x="90753" y="26531"/>
                  </a:cubicBezTo>
                  <a:cubicBezTo>
                    <a:pt x="66523" y="57825"/>
                    <a:pt x="34692" y="57020"/>
                    <a:pt x="0" y="54160"/>
                  </a:cubicBezTo>
                  <a:cubicBezTo>
                    <a:pt x="268" y="39854"/>
                    <a:pt x="14932" y="42894"/>
                    <a:pt x="19403" y="35204"/>
                  </a:cubicBezTo>
                  <a:lnTo>
                    <a:pt x="19134" y="35383"/>
                  </a:ln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2" name="Freeform: Shape 281">
              <a:extLst>
                <a:ext uri="{FF2B5EF4-FFF2-40B4-BE49-F238E27FC236}">
                  <a16:creationId xmlns:a16="http://schemas.microsoft.com/office/drawing/2014/main" id="{DE938A8C-A321-2E24-4ACA-8488976DF83F}"/>
                </a:ext>
              </a:extLst>
            </p:cNvPr>
            <p:cNvSpPr/>
            <p:nvPr/>
          </p:nvSpPr>
          <p:spPr>
            <a:xfrm>
              <a:off x="15413499" y="6937389"/>
              <a:ext cx="66200" cy="61934"/>
            </a:xfrm>
            <a:custGeom>
              <a:avLst/>
              <a:gdLst>
                <a:gd name="connsiteX0" fmla="*/ 9758 w 45410"/>
                <a:gd name="connsiteY0" fmla="*/ 6 h 42483"/>
                <a:gd name="connsiteX1" fmla="*/ 44807 w 45410"/>
                <a:gd name="connsiteY1" fmla="*/ 31479 h 42483"/>
                <a:gd name="connsiteX2" fmla="*/ 37207 w 45410"/>
                <a:gd name="connsiteY2" fmla="*/ 42477 h 42483"/>
                <a:gd name="connsiteX3" fmla="*/ 12 w 45410"/>
                <a:gd name="connsiteY3" fmla="*/ 7964 h 42483"/>
                <a:gd name="connsiteX4" fmla="*/ 9758 w 45410"/>
                <a:gd name="connsiteY4" fmla="*/ 6 h 42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10" h="42483">
                  <a:moveTo>
                    <a:pt x="9758" y="6"/>
                  </a:moveTo>
                  <a:cubicBezTo>
                    <a:pt x="20040" y="10646"/>
                    <a:pt x="38728" y="14044"/>
                    <a:pt x="44807" y="31479"/>
                  </a:cubicBezTo>
                  <a:cubicBezTo>
                    <a:pt x="46685" y="36933"/>
                    <a:pt x="44182" y="41761"/>
                    <a:pt x="37207" y="42477"/>
                  </a:cubicBezTo>
                  <a:cubicBezTo>
                    <a:pt x="31306" y="43013"/>
                    <a:pt x="-703" y="13597"/>
                    <a:pt x="12" y="7964"/>
                  </a:cubicBezTo>
                  <a:cubicBezTo>
                    <a:pt x="549" y="3583"/>
                    <a:pt x="2337" y="-173"/>
                    <a:pt x="9758" y="6"/>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sp>
          <p:nvSpPr>
            <p:cNvPr id="283" name="Freeform: Shape 282">
              <a:extLst>
                <a:ext uri="{FF2B5EF4-FFF2-40B4-BE49-F238E27FC236}">
                  <a16:creationId xmlns:a16="http://schemas.microsoft.com/office/drawing/2014/main" id="{2C7C00A3-5ABA-2987-BF60-343EF85035D3}"/>
                </a:ext>
              </a:extLst>
            </p:cNvPr>
            <p:cNvSpPr/>
            <p:nvPr/>
          </p:nvSpPr>
          <p:spPr>
            <a:xfrm>
              <a:off x="15325470" y="6896933"/>
              <a:ext cx="21876" cy="22883"/>
            </a:xfrm>
            <a:custGeom>
              <a:avLst/>
              <a:gdLst>
                <a:gd name="connsiteX0" fmla="*/ 15006 w 15006"/>
                <a:gd name="connsiteY0" fmla="*/ 11578 h 15696"/>
                <a:gd name="connsiteX1" fmla="*/ 5975 w 15006"/>
                <a:gd name="connsiteY1" fmla="*/ 15601 h 15696"/>
                <a:gd name="connsiteX2" fmla="*/ 253 w 15006"/>
                <a:gd name="connsiteY2" fmla="*/ 5945 h 15696"/>
                <a:gd name="connsiteX3" fmla="*/ 6959 w 15006"/>
                <a:gd name="connsiteY3" fmla="*/ 1385 h 15696"/>
                <a:gd name="connsiteX4" fmla="*/ 14917 w 15006"/>
                <a:gd name="connsiteY4" fmla="*/ 11578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15696">
                  <a:moveTo>
                    <a:pt x="15006" y="11578"/>
                  </a:moveTo>
                  <a:cubicBezTo>
                    <a:pt x="10625" y="13634"/>
                    <a:pt x="6601" y="16227"/>
                    <a:pt x="5975" y="15601"/>
                  </a:cubicBezTo>
                  <a:cubicBezTo>
                    <a:pt x="3472" y="12919"/>
                    <a:pt x="1057" y="9521"/>
                    <a:pt x="253" y="5945"/>
                  </a:cubicBezTo>
                  <a:cubicBezTo>
                    <a:pt x="-999" y="312"/>
                    <a:pt x="2578" y="-1566"/>
                    <a:pt x="6959" y="1385"/>
                  </a:cubicBezTo>
                  <a:cubicBezTo>
                    <a:pt x="9999" y="3352"/>
                    <a:pt x="11698" y="7286"/>
                    <a:pt x="14917" y="11578"/>
                  </a:cubicBezTo>
                  <a:close/>
                </a:path>
              </a:pathLst>
            </a:custGeom>
            <a:grpFill/>
            <a:effectLst/>
          </p:spPr>
          <p:txBody>
            <a:bodyPr wrap="square" lIns="91440" tIns="45720" rIns="91440" bIns="45720" rtlCol="0">
              <a:noAutofit/>
            </a:bodyPr>
            <a:lstStyle/>
            <a:p>
              <a:pPr marR="0" lvl="0" indent="0" algn="ctr" fontAlgn="auto">
                <a:lnSpc>
                  <a:spcPct val="100000"/>
                </a:lnSpc>
                <a:spcBef>
                  <a:spcPts val="0"/>
                </a:spcBef>
                <a:spcAft>
                  <a:spcPts val="0"/>
                </a:spcAft>
                <a:buClrTx/>
                <a:buSzTx/>
                <a:buFontTx/>
                <a:buNone/>
                <a:tabLst/>
              </a:pPr>
              <a:endParaRPr kumimoji="0" lang="en-GB" sz="2000" b="0" i="0" u="none" strike="noStrike" kern="0" cap="none" spc="0" normalizeH="0" baseline="0">
                <a:ln>
                  <a:noFill/>
                </a:ln>
                <a:gradFill flip="none" rotWithShape="1">
                  <a:gsLst>
                    <a:gs pos="0">
                      <a:srgbClr val="000000"/>
                    </a:gs>
                    <a:gs pos="100000">
                      <a:srgbClr val="000000"/>
                    </a:gs>
                  </a:gsLst>
                  <a:lin ang="2700000" scaled="1"/>
                  <a:tileRect/>
                </a:gradFill>
                <a:effectLst/>
                <a:uLnTx/>
                <a:uFillTx/>
                <a:latin typeface="Segoe UI Semibold"/>
              </a:endParaRPr>
            </a:p>
          </p:txBody>
        </p:sp>
      </p:grpSp>
      <p:grpSp>
        <p:nvGrpSpPr>
          <p:cNvPr id="3" name="Group 2">
            <a:extLst>
              <a:ext uri="{FF2B5EF4-FFF2-40B4-BE49-F238E27FC236}">
                <a16:creationId xmlns:a16="http://schemas.microsoft.com/office/drawing/2014/main" id="{C0BFE5F3-9917-B4BE-6680-DA13F7C2A497}"/>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534EE9A7-3C7F-DBC8-282E-ADA6C191CA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8C520970-D07E-9D55-B6DC-FE1144404D3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1215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7014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tandard Cop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15" name="Text Placeholder 3">
            <a:extLst>
              <a:ext uri="{FF2B5EF4-FFF2-40B4-BE49-F238E27FC236}">
                <a16:creationId xmlns:a16="http://schemas.microsoft.com/office/drawing/2014/main" id="{8E3F4349-6C35-7229-080C-3B11BBF7B708}"/>
              </a:ext>
            </a:extLst>
          </p:cNvPr>
          <p:cNvSpPr>
            <a:spLocks noGrp="1"/>
          </p:cNvSpPr>
          <p:nvPr>
            <p:ph type="body" sz="quarter" idx="13"/>
          </p:nvPr>
        </p:nvSpPr>
        <p:spPr>
          <a:xfrm>
            <a:off x="382374" y="1233488"/>
            <a:ext cx="11425691" cy="5046662"/>
          </a:xfrm>
          <a:prstGeom prst="rect">
            <a:avLst/>
          </a:prstGeom>
        </p:spPr>
        <p:txBody>
          <a:bodyPr lIns="0" tIns="0" rIns="0" bIns="0" anchor="t" anchorCtr="0"/>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5865E63C-3BDB-0BEF-99DC-F19FE3A1CB49}"/>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28B44E5-6764-75F0-648C-3D208B6074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9E8D652B-A647-4237-D6C4-8E60271B36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52687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tandard Cop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2"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2"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6140926" y="1233492"/>
            <a:ext cx="5668182" cy="430887"/>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6140926" y="1817688"/>
            <a:ext cx="5668182"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E7D11E6-EFEC-45EF-66AB-37C41482F54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DA7425F1-BAB5-4783-1508-61EE0464EA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EA06108-4E7C-578A-FDC1-391E7AA941C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24181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ndard Copy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4"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4"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4226981"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4226981"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8071589" y="1233491"/>
            <a:ext cx="3738043" cy="861775"/>
          </a:xfrm>
          <a:prstGeom prst="rect">
            <a:avLst/>
          </a:prstGeom>
        </p:spPr>
        <p:txBody>
          <a:bodyPr wrap="square" lIns="0" tIns="0" rIns="0" bIns="0" anchor="t" anchorCtr="0">
            <a:spAutoFit/>
          </a:bodyPr>
          <a:lstStyle>
            <a:lvl1pPr marL="0" indent="0" algn="l">
              <a:buNone/>
              <a:defRPr sz="28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8071589" y="2260465"/>
            <a:ext cx="3738043" cy="307777"/>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AAF90978-0947-6978-A2C2-426604B439EA}"/>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6AA77BFB-386C-66FB-D657-36250BDF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7F1F9062-52D1-B0F4-9FD8-F1B17D845F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424141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Copy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a:xfrm>
            <a:off x="382371" y="421961"/>
            <a:ext cx="11425692" cy="492443"/>
          </a:xfrm>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4" name="Text Placeholder 3">
            <a:extLst>
              <a:ext uri="{FF2B5EF4-FFF2-40B4-BE49-F238E27FC236}">
                <a16:creationId xmlns:a16="http://schemas.microsoft.com/office/drawing/2014/main" id="{F59C7C78-2E92-BF6F-A894-AB64D0ED0CC1}"/>
              </a:ext>
            </a:extLst>
          </p:cNvPr>
          <p:cNvSpPr>
            <a:spLocks noGrp="1"/>
          </p:cNvSpPr>
          <p:nvPr>
            <p:ph type="body" sz="quarter" idx="13"/>
          </p:nvPr>
        </p:nvSpPr>
        <p:spPr>
          <a:xfrm>
            <a:off x="382375"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29" name="Text Placeholder 3">
            <a:extLst>
              <a:ext uri="{FF2B5EF4-FFF2-40B4-BE49-F238E27FC236}">
                <a16:creationId xmlns:a16="http://schemas.microsoft.com/office/drawing/2014/main" id="{60BA9050-41DD-FC9D-4A42-BFFFA8DB5816}"/>
              </a:ext>
            </a:extLst>
          </p:cNvPr>
          <p:cNvSpPr>
            <a:spLocks noGrp="1"/>
          </p:cNvSpPr>
          <p:nvPr>
            <p:ph type="body" sz="quarter" idx="14"/>
          </p:nvPr>
        </p:nvSpPr>
        <p:spPr>
          <a:xfrm>
            <a:off x="382375"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8" name="Text Placeholder 3">
            <a:extLst>
              <a:ext uri="{FF2B5EF4-FFF2-40B4-BE49-F238E27FC236}">
                <a16:creationId xmlns:a16="http://schemas.microsoft.com/office/drawing/2014/main" id="{74C7D9FE-3483-EDA2-3FBB-8A13B23FC96F}"/>
              </a:ext>
            </a:extLst>
          </p:cNvPr>
          <p:cNvSpPr>
            <a:spLocks noGrp="1"/>
          </p:cNvSpPr>
          <p:nvPr>
            <p:ph type="body" sz="quarter" idx="17"/>
          </p:nvPr>
        </p:nvSpPr>
        <p:spPr>
          <a:xfrm>
            <a:off x="3261130"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83416E95-1012-C228-FC5A-83581647BD50}"/>
              </a:ext>
            </a:extLst>
          </p:cNvPr>
          <p:cNvSpPr>
            <a:spLocks noGrp="1"/>
          </p:cNvSpPr>
          <p:nvPr>
            <p:ph type="body" sz="quarter" idx="18"/>
          </p:nvPr>
        </p:nvSpPr>
        <p:spPr>
          <a:xfrm>
            <a:off x="3261130"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7" name="Text Placeholder 3">
            <a:extLst>
              <a:ext uri="{FF2B5EF4-FFF2-40B4-BE49-F238E27FC236}">
                <a16:creationId xmlns:a16="http://schemas.microsoft.com/office/drawing/2014/main" id="{DBCFB725-05B9-36A7-9798-773857FF59A7}"/>
              </a:ext>
            </a:extLst>
          </p:cNvPr>
          <p:cNvSpPr>
            <a:spLocks noGrp="1"/>
          </p:cNvSpPr>
          <p:nvPr>
            <p:ph type="body" sz="quarter" idx="19"/>
          </p:nvPr>
        </p:nvSpPr>
        <p:spPr>
          <a:xfrm>
            <a:off x="6139884"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0A4E5B53-19EB-B282-E92F-22598875C918}"/>
              </a:ext>
            </a:extLst>
          </p:cNvPr>
          <p:cNvSpPr>
            <a:spLocks noGrp="1"/>
          </p:cNvSpPr>
          <p:nvPr>
            <p:ph type="body" sz="quarter" idx="20"/>
          </p:nvPr>
        </p:nvSpPr>
        <p:spPr>
          <a:xfrm>
            <a:off x="6139884"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1" name="Text Placeholder 3">
            <a:extLst>
              <a:ext uri="{FF2B5EF4-FFF2-40B4-BE49-F238E27FC236}">
                <a16:creationId xmlns:a16="http://schemas.microsoft.com/office/drawing/2014/main" id="{A0998A4A-FC2A-28AB-261D-51C0ECB95B9D}"/>
              </a:ext>
            </a:extLst>
          </p:cNvPr>
          <p:cNvSpPr>
            <a:spLocks noGrp="1"/>
          </p:cNvSpPr>
          <p:nvPr>
            <p:ph type="body" sz="quarter" idx="21"/>
          </p:nvPr>
        </p:nvSpPr>
        <p:spPr>
          <a:xfrm>
            <a:off x="9018637" y="1233489"/>
            <a:ext cx="2789427" cy="738664"/>
          </a:xfrm>
          <a:prstGeom prst="rect">
            <a:avLst/>
          </a:prstGeom>
        </p:spPr>
        <p:txBody>
          <a:bodyPr wrap="square" lIns="0" tIns="0" rIns="0" bIns="0" anchor="t" anchorCtr="0">
            <a:spAutoFit/>
          </a:bodyPr>
          <a:lstStyle>
            <a:lvl1pPr marL="0" indent="0" algn="l">
              <a:buNone/>
              <a:defRPr sz="24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12" name="Text Placeholder 3">
            <a:extLst>
              <a:ext uri="{FF2B5EF4-FFF2-40B4-BE49-F238E27FC236}">
                <a16:creationId xmlns:a16="http://schemas.microsoft.com/office/drawing/2014/main" id="{493BD5E0-EED2-2971-3224-C64B7A8E9F14}"/>
              </a:ext>
            </a:extLst>
          </p:cNvPr>
          <p:cNvSpPr>
            <a:spLocks noGrp="1"/>
          </p:cNvSpPr>
          <p:nvPr>
            <p:ph type="body" sz="quarter" idx="22"/>
          </p:nvPr>
        </p:nvSpPr>
        <p:spPr>
          <a:xfrm>
            <a:off x="9018637" y="2260465"/>
            <a:ext cx="2789427" cy="615553"/>
          </a:xfrm>
          <a:prstGeom prst="rect">
            <a:avLst/>
          </a:prstGeom>
        </p:spPr>
        <p:txBody>
          <a:bodyPr wrap="square" lIns="0" tIns="0" rIns="0" bIns="0" anchor="t" anchorCtr="0">
            <a:spAutoFit/>
          </a:bodyPr>
          <a:lstStyle>
            <a:lvl1pPr marL="0" indent="0" algn="l">
              <a:buNone/>
              <a:defRPr sz="2000">
                <a:solidFill>
                  <a:srgbClr val="2A446F"/>
                </a:solidFill>
                <a:latin typeface="+mn-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3" name="Group 2">
            <a:extLst>
              <a:ext uri="{FF2B5EF4-FFF2-40B4-BE49-F238E27FC236}">
                <a16:creationId xmlns:a16="http://schemas.microsoft.com/office/drawing/2014/main" id="{D9869ADD-7DC6-AB6A-7169-15221B5C858F}"/>
              </a:ext>
            </a:extLst>
          </p:cNvPr>
          <p:cNvGrpSpPr/>
          <p:nvPr userDrawn="1"/>
        </p:nvGrpSpPr>
        <p:grpSpPr>
          <a:xfrm>
            <a:off x="407459" y="6457261"/>
            <a:ext cx="1498506" cy="192755"/>
            <a:chOff x="611188" y="9429750"/>
            <a:chExt cx="3412172" cy="438912"/>
          </a:xfrm>
        </p:grpSpPr>
        <p:pic>
          <p:nvPicPr>
            <p:cNvPr id="4" name="Graphic 3">
              <a:extLst>
                <a:ext uri="{FF2B5EF4-FFF2-40B4-BE49-F238E27FC236}">
                  <a16:creationId xmlns:a16="http://schemas.microsoft.com/office/drawing/2014/main" id="{462FC76B-AAEA-29C6-88FC-9C36BC6C4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053A840A-CDF4-FDA0-FC02-74E586DAB6A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82107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96E84A7-F471-6F8C-00AA-3C038AF8E96C}"/>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AD89AEF8-6D34-6167-823F-122C1FE53A59}"/>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7" name="[T2O] TextBox 19">
            <a:extLst>
              <a:ext uri="{FF2B5EF4-FFF2-40B4-BE49-F238E27FC236}">
                <a16:creationId xmlns:a16="http://schemas.microsoft.com/office/drawing/2014/main" id="{0633A0DA-37A1-3917-A0D5-EDA98901290F}"/>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48" name="[T2O] TextBox 19">
            <a:extLst>
              <a:ext uri="{FF2B5EF4-FFF2-40B4-BE49-F238E27FC236}">
                <a16:creationId xmlns:a16="http://schemas.microsoft.com/office/drawing/2014/main" id="{261D5CF0-D071-EEF9-F5D0-B5B9D36618E9}"/>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2" name="Rectangle 51">
            <a:extLst>
              <a:ext uri="{FF2B5EF4-FFF2-40B4-BE49-F238E27FC236}">
                <a16:creationId xmlns:a16="http://schemas.microsoft.com/office/drawing/2014/main" id="{46648F5E-BDDC-E342-6415-DD4A0E1D4AC3}"/>
              </a:ext>
            </a:extLst>
          </p:cNvPr>
          <p:cNvSpPr/>
          <p:nvPr userDrawn="1"/>
        </p:nvSpPr>
        <p:spPr bwMode="auto">
          <a:xfrm>
            <a:off x="1246907" y="2677160"/>
            <a:ext cx="9698186" cy="15036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useBgFill="1">
        <p:nvSpPr>
          <p:cNvPr id="55" name="Rectangle 54">
            <a:extLst>
              <a:ext uri="{FF2B5EF4-FFF2-40B4-BE49-F238E27FC236}">
                <a16:creationId xmlns:a16="http://schemas.microsoft.com/office/drawing/2014/main" id="{7D98D782-84AC-4191-240B-C71C7D75078D}"/>
              </a:ext>
            </a:extLst>
          </p:cNvPr>
          <p:cNvSpPr/>
          <p:nvPr userDrawn="1"/>
        </p:nvSpPr>
        <p:spPr bwMode="auto">
          <a:xfrm>
            <a:off x="1246907" y="2677160"/>
            <a:ext cx="9698186" cy="150368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56" name="Title 55">
            <a:extLst>
              <a:ext uri="{FF2B5EF4-FFF2-40B4-BE49-F238E27FC236}">
                <a16:creationId xmlns:a16="http://schemas.microsoft.com/office/drawing/2014/main" id="{F6BAA477-ADB3-9C60-204B-6CD1625E99C6}"/>
              </a:ext>
            </a:extLst>
          </p:cNvPr>
          <p:cNvSpPr>
            <a:spLocks noGrp="1"/>
          </p:cNvSpPr>
          <p:nvPr>
            <p:ph type="title"/>
          </p:nvPr>
        </p:nvSpPr>
        <p:spPr>
          <a:xfrm>
            <a:off x="1503681" y="2943400"/>
            <a:ext cx="9184639" cy="971201"/>
          </a:xfrm>
        </p:spPr>
        <p:txBody>
          <a:bodyPr anchor="ctr">
            <a:normAutofit/>
          </a:bodyPr>
          <a:lstStyle>
            <a:lvl1pPr algn="ctr">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0C560AB8-5750-8DD9-CCE9-CC6D8ED88C3C}"/>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987C9073-4889-55E7-3060-8652FBCAD5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42CEABF6-5A07-667A-9F56-87A20E9D93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40530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74">
          <p15:clr>
            <a:srgbClr val="FBAE40"/>
          </p15:clr>
        </p15:guide>
        <p15:guide id="16" pos="5717">
          <p15:clr>
            <a:srgbClr val="FBAE40"/>
          </p15:clr>
        </p15:guide>
        <p15:guide id="17" pos="5795">
          <p15:clr>
            <a:srgbClr val="FBAE40"/>
          </p15:clr>
        </p15:guide>
        <p15:guide id="18" pos="8438">
          <p15:clr>
            <a:srgbClr val="FBAE40"/>
          </p15:clr>
        </p15:guide>
        <p15:guide id="19" pos="8480">
          <p15:clr>
            <a:srgbClr val="FBAE40"/>
          </p15:clr>
        </p15:guide>
        <p15:guide id="20" orient="horz" pos="116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blue and purple liquid&#10;&#10;Description automatically generated">
            <a:extLst>
              <a:ext uri="{FF2B5EF4-FFF2-40B4-BE49-F238E27FC236}">
                <a16:creationId xmlns:a16="http://schemas.microsoft.com/office/drawing/2014/main" id="{6364FEF3-E73D-680A-C88E-39649271477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720" b="8423"/>
          <a:stretch/>
        </p:blipFill>
        <p:spPr>
          <a:xfrm>
            <a:off x="0" y="0"/>
            <a:ext cx="12192000" cy="3200399"/>
          </a:xfrm>
          <a:prstGeom prst="rect">
            <a:avLst/>
          </a:prstGeom>
        </p:spPr>
      </p:pic>
      <p:sp useBgFill="1">
        <p:nvSpPr>
          <p:cNvPr id="30" name="Rectangle 29">
            <a:extLst>
              <a:ext uri="{FF2B5EF4-FFF2-40B4-BE49-F238E27FC236}">
                <a16:creationId xmlns:a16="http://schemas.microsoft.com/office/drawing/2014/main" id="{14512BFF-38DE-2945-A485-3DB2A763C186}"/>
              </a:ext>
            </a:extLst>
          </p:cNvPr>
          <p:cNvSpPr/>
          <p:nvPr userDrawn="1"/>
        </p:nvSpPr>
        <p:spPr bwMode="auto">
          <a:xfrm>
            <a:off x="407459" y="381000"/>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DB256788-E9A4-88BA-4E04-C43414BEAC8B}"/>
              </a:ext>
            </a:extLst>
          </p:cNvPr>
          <p:cNvGrpSpPr/>
          <p:nvPr userDrawn="1"/>
        </p:nvGrpSpPr>
        <p:grpSpPr>
          <a:xfrm>
            <a:off x="2300492" y="966252"/>
            <a:ext cx="7500001" cy="4468295"/>
            <a:chOff x="1274102" y="2093144"/>
            <a:chExt cx="14236072" cy="7315952"/>
          </a:xfrm>
        </p:grpSpPr>
        <p:sp useBgFill="1">
          <p:nvSpPr>
            <p:cNvPr id="5" name="Rectangle: Rounded Corners 4">
              <a:extLst>
                <a:ext uri="{FF2B5EF4-FFF2-40B4-BE49-F238E27FC236}">
                  <a16:creationId xmlns:a16="http://schemas.microsoft.com/office/drawing/2014/main" id="{10AA256E-4382-F646-B5DF-0B184BFC97B8}"/>
                </a:ext>
              </a:extLst>
            </p:cNvPr>
            <p:cNvSpPr/>
            <p:nvPr/>
          </p:nvSpPr>
          <p:spPr bwMode="auto">
            <a:xfrm>
              <a:off x="1274102" y="2093144"/>
              <a:ext cx="14236072" cy="7315952"/>
            </a:xfrm>
            <a:prstGeom prst="roundRect">
              <a:avLst>
                <a:gd name="adj" fmla="val 2880"/>
              </a:avLst>
            </a:prstGeom>
            <a:ln>
              <a:noFill/>
              <a:headEnd type="none" w="med" len="med"/>
              <a:tailEnd type="none" w="med" len="med"/>
            </a:ln>
            <a:effectLst>
              <a:outerShdw blurRad="101600" dist="381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3A233C0D-5B8F-4FC1-119C-C819FA58C30C}"/>
                </a:ext>
              </a:extLst>
            </p:cNvPr>
            <p:cNvSpPr/>
            <p:nvPr/>
          </p:nvSpPr>
          <p:spPr bwMode="auto">
            <a:xfrm>
              <a:off x="1274102" y="2093144"/>
              <a:ext cx="14236072" cy="7315952"/>
            </a:xfrm>
            <a:prstGeom prst="roundRect">
              <a:avLst>
                <a:gd name="adj" fmla="val 2880"/>
              </a:avLst>
            </a:prstGeom>
            <a:solidFill>
              <a:srgbClr val="FFFFFF">
                <a:alpha val="5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7" name="Picture 6" descr="A blue and purple liquid&#10;&#10;Description automatically generated">
            <a:extLst>
              <a:ext uri="{FF2B5EF4-FFF2-40B4-BE49-F238E27FC236}">
                <a16:creationId xmlns:a16="http://schemas.microsoft.com/office/drawing/2014/main" id="{95B5636B-5810-437E-47E3-7DB574BD2B0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694" b="54449"/>
          <a:stretch/>
        </p:blipFill>
        <p:spPr>
          <a:xfrm>
            <a:off x="0" y="3657601"/>
            <a:ext cx="12192000" cy="3200399"/>
          </a:xfrm>
          <a:prstGeom prst="rect">
            <a:avLst/>
          </a:prstGeom>
          <a:effectLst>
            <a:outerShdw blurRad="508000" dist="266700" dir="16200000" rotWithShape="0">
              <a:srgbClr val="002060">
                <a:alpha val="22000"/>
              </a:srgbClr>
            </a:outerShdw>
          </a:effectLst>
        </p:spPr>
      </p:pic>
      <p:sp useBgFill="1">
        <p:nvSpPr>
          <p:cNvPr id="37" name="Rectangle 36">
            <a:extLst>
              <a:ext uri="{FF2B5EF4-FFF2-40B4-BE49-F238E27FC236}">
                <a16:creationId xmlns:a16="http://schemas.microsoft.com/office/drawing/2014/main" id="{B172D1EA-74EF-2667-7EA8-07F7647571C1}"/>
              </a:ext>
            </a:extLst>
          </p:cNvPr>
          <p:cNvSpPr/>
          <p:nvPr userDrawn="1"/>
        </p:nvSpPr>
        <p:spPr bwMode="auto">
          <a:xfrm>
            <a:off x="10386485" y="4865159"/>
            <a:ext cx="1421341" cy="142134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EE992264-1791-7645-CF6D-1A6E7356E5DE}"/>
              </a:ext>
            </a:extLst>
          </p:cNvPr>
          <p:cNvPicPr>
            <a:picLocks noChangeAspect="1"/>
          </p:cNvPicPr>
          <p:nvPr userDrawn="1"/>
        </p:nvPicPr>
        <p:blipFill>
          <a:blip r:embed="rId4">
            <a:alphaModFix amt="40000"/>
            <a:extLst>
              <a:ext uri="{BEBA8EAE-BF5A-486C-A8C5-ECC9F3942E4B}">
                <a14:imgProps xmlns:a14="http://schemas.microsoft.com/office/drawing/2010/main">
                  <a14:imgLayer r:embed="rId5">
                    <a14:imgEffect>
                      <a14:artisticBlur radius="89"/>
                    </a14:imgEffect>
                  </a14:imgLayer>
                </a14:imgProps>
              </a:ext>
            </a:extLst>
          </a:blip>
          <a:stretch>
            <a:fillRect/>
          </a:stretch>
        </p:blipFill>
        <p:spPr>
          <a:xfrm>
            <a:off x="2301127" y="966252"/>
            <a:ext cx="7498730" cy="2235394"/>
          </a:xfrm>
          <a:prstGeom prst="rect">
            <a:avLst/>
          </a:prstGeom>
        </p:spPr>
      </p:pic>
      <p:pic>
        <p:nvPicPr>
          <p:cNvPr id="36" name="Picture 35">
            <a:extLst>
              <a:ext uri="{FF2B5EF4-FFF2-40B4-BE49-F238E27FC236}">
                <a16:creationId xmlns:a16="http://schemas.microsoft.com/office/drawing/2014/main" id="{91B48BEA-3738-7555-95E0-BEB3C9368A80}"/>
              </a:ext>
            </a:extLst>
          </p:cNvPr>
          <p:cNvPicPr>
            <a:picLocks noChangeAspect="1"/>
          </p:cNvPicPr>
          <p:nvPr userDrawn="1"/>
        </p:nvPicPr>
        <p:blipFill>
          <a:blip r:embed="rId6">
            <a:extLst>
              <a:ext uri="{BEBA8EAE-BF5A-486C-A8C5-ECC9F3942E4B}">
                <a14:imgProps xmlns:a14="http://schemas.microsoft.com/office/drawing/2010/main">
                  <a14:imgLayer r:embed="rId7">
                    <a14:imgEffect>
                      <a14:artisticBlur radius="55"/>
                    </a14:imgEffect>
                  </a14:imgLayer>
                </a14:imgProps>
              </a:ext>
            </a:extLst>
          </a:blip>
          <a:stretch>
            <a:fillRect/>
          </a:stretch>
        </p:blipFill>
        <p:spPr>
          <a:xfrm>
            <a:off x="10387926" y="4864569"/>
            <a:ext cx="1418459" cy="1422523"/>
          </a:xfrm>
          <a:prstGeom prst="rect">
            <a:avLst/>
          </a:prstGeom>
        </p:spPr>
      </p:pic>
      <p:pic>
        <p:nvPicPr>
          <p:cNvPr id="10" name="Picture 9" descr="A blue ball with a white circle&#10;&#10;Description automatically generated">
            <a:extLst>
              <a:ext uri="{FF2B5EF4-FFF2-40B4-BE49-F238E27FC236}">
                <a16:creationId xmlns:a16="http://schemas.microsoft.com/office/drawing/2014/main" id="{55F1AB08-F6EA-289E-7214-440F44F7BB2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flipH="1">
            <a:off x="1847199" y="2224639"/>
            <a:ext cx="733128" cy="746323"/>
          </a:xfrm>
          <a:prstGeom prst="rect">
            <a:avLst/>
          </a:prstGeom>
          <a:effectLst>
            <a:outerShdw blurRad="152400" dist="152400" dir="2700000" algn="tl" rotWithShape="0">
              <a:prstClr val="black">
                <a:alpha val="9000"/>
              </a:prstClr>
            </a:outerShdw>
          </a:effectLst>
        </p:spPr>
      </p:pic>
      <p:pic>
        <p:nvPicPr>
          <p:cNvPr id="11" name="Picture 10" descr="A blue circle with a black background&#10;&#10;Description automatically generated">
            <a:extLst>
              <a:ext uri="{FF2B5EF4-FFF2-40B4-BE49-F238E27FC236}">
                <a16:creationId xmlns:a16="http://schemas.microsoft.com/office/drawing/2014/main" id="{0D79B1B9-DE37-1C0C-D37E-C42DD44F1C4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23030" y="4334669"/>
            <a:ext cx="1026937" cy="1059799"/>
          </a:xfrm>
          <a:prstGeom prst="rect">
            <a:avLst/>
          </a:prstGeom>
          <a:effectLst>
            <a:outerShdw blurRad="152400" dist="152400" dir="2700000" algn="tl" rotWithShape="0">
              <a:prstClr val="black">
                <a:alpha val="9000"/>
              </a:prstClr>
            </a:outerShdw>
          </a:effectLst>
        </p:spPr>
      </p:pic>
      <p:pic>
        <p:nvPicPr>
          <p:cNvPr id="12" name="Graphic 11">
            <a:extLst>
              <a:ext uri="{FF2B5EF4-FFF2-40B4-BE49-F238E27FC236}">
                <a16:creationId xmlns:a16="http://schemas.microsoft.com/office/drawing/2014/main" id="{83A4CE8A-3F84-D01D-F322-231FCBCDE92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497928" y="6472169"/>
            <a:ext cx="408037" cy="162940"/>
          </a:xfrm>
          <a:prstGeom prst="rect">
            <a:avLst/>
          </a:prstGeom>
        </p:spPr>
      </p:pic>
      <p:pic>
        <p:nvPicPr>
          <p:cNvPr id="29" name="Picture 28">
            <a:extLst>
              <a:ext uri="{FF2B5EF4-FFF2-40B4-BE49-F238E27FC236}">
                <a16:creationId xmlns:a16="http://schemas.microsoft.com/office/drawing/2014/main" id="{1F7D0696-6202-AF7E-174B-55D248A83F66}"/>
              </a:ext>
            </a:extLst>
          </p:cNvPr>
          <p:cNvPicPr>
            <a:picLocks noChangeAspect="1"/>
          </p:cNvPicPr>
          <p:nvPr userDrawn="1"/>
        </p:nvPicPr>
        <p:blipFill>
          <a:blip r:embed="rId12">
            <a:alphaModFix amt="57000"/>
            <a:extLst>
              <a:ext uri="{BEBA8EAE-BF5A-486C-A8C5-ECC9F3942E4B}">
                <a14:imgProps xmlns:a14="http://schemas.microsoft.com/office/drawing/2010/main">
                  <a14:imgLayer r:embed="rId13">
                    <a14:imgEffect>
                      <a14:artisticBlur radius="68"/>
                    </a14:imgEffect>
                  </a14:imgLayer>
                </a14:imgProps>
              </a:ext>
            </a:extLst>
          </a:blip>
          <a:stretch>
            <a:fillRect/>
          </a:stretch>
        </p:blipFill>
        <p:spPr>
          <a:xfrm>
            <a:off x="406868" y="382441"/>
            <a:ext cx="1422523" cy="1418459"/>
          </a:xfrm>
          <a:prstGeom prst="rect">
            <a:avLst/>
          </a:prstGeom>
        </p:spPr>
      </p:pic>
      <p:grpSp>
        <p:nvGrpSpPr>
          <p:cNvPr id="13" name="Group 4">
            <a:extLst>
              <a:ext uri="{FF2B5EF4-FFF2-40B4-BE49-F238E27FC236}">
                <a16:creationId xmlns:a16="http://schemas.microsoft.com/office/drawing/2014/main" id="{73AFB015-16BA-AB7D-15EE-B6680269E01F}"/>
              </a:ext>
            </a:extLst>
          </p:cNvPr>
          <p:cNvGrpSpPr>
            <a:grpSpLocks noChangeAspect="1"/>
          </p:cNvGrpSpPr>
          <p:nvPr userDrawn="1"/>
        </p:nvGrpSpPr>
        <p:grpSpPr bwMode="auto">
          <a:xfrm>
            <a:off x="406401" y="6456892"/>
            <a:ext cx="901699" cy="192617"/>
            <a:chOff x="384" y="6101"/>
            <a:chExt cx="852" cy="182"/>
          </a:xfrm>
          <a:solidFill>
            <a:schemeClr val="bg1"/>
          </a:solidFill>
        </p:grpSpPr>
        <p:sp>
          <p:nvSpPr>
            <p:cNvPr id="14" name="Freeform 5">
              <a:extLst>
                <a:ext uri="{FF2B5EF4-FFF2-40B4-BE49-F238E27FC236}">
                  <a16:creationId xmlns:a16="http://schemas.microsoft.com/office/drawing/2014/main" id="{31E01C24-21D7-F9C3-B78B-9BC2D09F1910}"/>
                </a:ext>
              </a:extLst>
            </p:cNvPr>
            <p:cNvSpPr>
              <a:spLocks noEditPoints="1"/>
            </p:cNvSpPr>
            <p:nvPr/>
          </p:nvSpPr>
          <p:spPr bwMode="auto">
            <a:xfrm>
              <a:off x="621" y="6129"/>
              <a:ext cx="615" cy="11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82 w 1139"/>
                <a:gd name="T53" fmla="*/ 143 h 220"/>
                <a:gd name="T54" fmla="*/ 553 w 1139"/>
                <a:gd name="T55" fmla="*/ 200 h 220"/>
                <a:gd name="T56" fmla="*/ 610 w 1139"/>
                <a:gd name="T57" fmla="*/ 69 h 220"/>
                <a:gd name="T58" fmla="*/ 636 w 1139"/>
                <a:gd name="T59" fmla="*/ 109 h 220"/>
                <a:gd name="T60" fmla="*/ 568 w 1139"/>
                <a:gd name="T61" fmla="*/ 145 h 220"/>
                <a:gd name="T62" fmla="*/ 637 w 1139"/>
                <a:gd name="T63" fmla="*/ 180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885 w 1139"/>
                <a:gd name="T85" fmla="*/ 69 h 220"/>
                <a:gd name="T86" fmla="*/ 937 w 1139"/>
                <a:gd name="T87" fmla="*/ 199 h 220"/>
                <a:gd name="T88" fmla="*/ 809 w 1139"/>
                <a:gd name="T89" fmla="*/ 146 h 220"/>
                <a:gd name="T90" fmla="*/ 912 w 1139"/>
                <a:gd name="T91" fmla="*/ 180 h 220"/>
                <a:gd name="T92" fmla="*/ 884 w 1139"/>
                <a:gd name="T93" fmla="*/ 97 h 220"/>
                <a:gd name="T94" fmla="*/ 855 w 1139"/>
                <a:gd name="T95" fmla="*/ 180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171" y="15"/>
                    <a:pt x="171" y="15"/>
                    <a:pt x="218" y="15"/>
                  </a:cubicBezTo>
                  <a:cubicBezTo>
                    <a:pt x="218" y="15"/>
                    <a:pt x="218" y="15"/>
                    <a:pt x="218" y="217"/>
                  </a:cubicBezTo>
                  <a:cubicBezTo>
                    <a:pt x="218" y="217"/>
                    <a:pt x="218" y="217"/>
                    <a:pt x="184" y="217"/>
                  </a:cubicBezTo>
                  <a:cubicBezTo>
                    <a:pt x="184" y="217"/>
                    <a:pt x="184" y="217"/>
                    <a:pt x="184" y="89"/>
                  </a:cubicBezTo>
                  <a:cubicBezTo>
                    <a:pt x="184" y="80"/>
                    <a:pt x="184" y="67"/>
                    <a:pt x="185" y="52"/>
                  </a:cubicBezTo>
                  <a:cubicBezTo>
                    <a:pt x="185" y="52"/>
                    <a:pt x="185" y="52"/>
                    <a:pt x="185" y="52"/>
                  </a:cubicBezTo>
                  <a:cubicBezTo>
                    <a:pt x="183" y="58"/>
                    <a:pt x="182" y="65"/>
                    <a:pt x="180" y="68"/>
                  </a:cubicBezTo>
                  <a:cubicBezTo>
                    <a:pt x="180" y="68"/>
                    <a:pt x="180" y="68"/>
                    <a:pt x="120" y="217"/>
                  </a:cubicBezTo>
                  <a:cubicBezTo>
                    <a:pt x="120" y="217"/>
                    <a:pt x="120" y="217"/>
                    <a:pt x="97" y="217"/>
                  </a:cubicBezTo>
                  <a:cubicBezTo>
                    <a:pt x="97" y="217"/>
                    <a:pt x="97" y="217"/>
                    <a:pt x="37" y="70"/>
                  </a:cubicBezTo>
                  <a:cubicBezTo>
                    <a:pt x="36" y="66"/>
                    <a:pt x="34" y="60"/>
                    <a:pt x="32" y="52"/>
                  </a:cubicBezTo>
                  <a:cubicBezTo>
                    <a:pt x="32" y="52"/>
                    <a:pt x="32" y="52"/>
                    <a:pt x="31" y="52"/>
                  </a:cubicBezTo>
                  <a:cubicBezTo>
                    <a:pt x="32" y="56"/>
                    <a:pt x="32" y="60"/>
                    <a:pt x="32" y="65"/>
                  </a:cubicBezTo>
                  <a:cubicBezTo>
                    <a:pt x="33" y="76"/>
                    <a:pt x="33" y="85"/>
                    <a:pt x="33" y="93"/>
                  </a:cubicBezTo>
                  <a:cubicBezTo>
                    <a:pt x="33" y="93"/>
                    <a:pt x="33" y="93"/>
                    <a:pt x="33" y="217"/>
                  </a:cubicBezTo>
                  <a:cubicBezTo>
                    <a:pt x="33" y="217"/>
                    <a:pt x="33" y="217"/>
                    <a:pt x="0" y="217"/>
                  </a:cubicBezTo>
                  <a:cubicBezTo>
                    <a:pt x="0" y="217"/>
                    <a:pt x="0" y="217"/>
                    <a:pt x="0" y="15"/>
                  </a:cubicBezTo>
                  <a:cubicBezTo>
                    <a:pt x="0" y="15"/>
                    <a:pt x="0" y="15"/>
                    <a:pt x="50" y="15"/>
                  </a:cubicBezTo>
                  <a:cubicBezTo>
                    <a:pt x="50" y="15"/>
                    <a:pt x="50" y="15"/>
                    <a:pt x="100" y="142"/>
                  </a:cubicBezTo>
                  <a:cubicBezTo>
                    <a:pt x="105" y="153"/>
                    <a:pt x="108" y="162"/>
                    <a:pt x="109" y="168"/>
                  </a:cubicBezTo>
                  <a:cubicBezTo>
                    <a:pt x="109" y="168"/>
                    <a:pt x="109" y="168"/>
                    <a:pt x="110" y="168"/>
                  </a:cubicBezTo>
                  <a:cubicBezTo>
                    <a:pt x="110" y="168"/>
                    <a:pt x="110" y="168"/>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cubicBezTo>
                    <a:pt x="251" y="217"/>
                    <a:pt x="251" y="217"/>
                    <a:pt x="251" y="217"/>
                  </a:cubicBez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10" y="69"/>
                  </a:moveTo>
                  <a:cubicBezTo>
                    <a:pt x="632" y="69"/>
                    <a:pt x="650" y="75"/>
                    <a:pt x="663" y="89"/>
                  </a:cubicBez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lose/>
                  <a:moveTo>
                    <a:pt x="637" y="180"/>
                  </a:moveTo>
                  <a:cubicBezTo>
                    <a:pt x="643" y="172"/>
                    <a:pt x="646" y="160"/>
                    <a:pt x="646" y="144"/>
                  </a:cubicBez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885" y="69"/>
                  </a:moveTo>
                  <a:cubicBezTo>
                    <a:pt x="908" y="69"/>
                    <a:pt x="926" y="75"/>
                    <a:pt x="938" y="89"/>
                  </a:cubicBez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lose/>
                  <a:moveTo>
                    <a:pt x="912" y="180"/>
                  </a:moveTo>
                  <a:cubicBezTo>
                    <a:pt x="919" y="172"/>
                    <a:pt x="922" y="160"/>
                    <a:pt x="922" y="144"/>
                  </a:cubicBez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6">
              <a:extLst>
                <a:ext uri="{FF2B5EF4-FFF2-40B4-BE49-F238E27FC236}">
                  <a16:creationId xmlns:a16="http://schemas.microsoft.com/office/drawing/2014/main" id="{A8131CF9-A87C-14BD-0808-98E7C47EBFCD}"/>
                </a:ext>
              </a:extLst>
            </p:cNvPr>
            <p:cNvSpPr>
              <a:spLocks/>
            </p:cNvSpPr>
            <p:nvPr/>
          </p:nvSpPr>
          <p:spPr bwMode="auto">
            <a:xfrm>
              <a:off x="384" y="6101"/>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7">
              <a:extLst>
                <a:ext uri="{FF2B5EF4-FFF2-40B4-BE49-F238E27FC236}">
                  <a16:creationId xmlns:a16="http://schemas.microsoft.com/office/drawing/2014/main" id="{FF5A2207-1C6E-E06A-FAD2-7958EC8121E9}"/>
                </a:ext>
              </a:extLst>
            </p:cNvPr>
            <p:cNvSpPr>
              <a:spLocks/>
            </p:cNvSpPr>
            <p:nvPr/>
          </p:nvSpPr>
          <p:spPr bwMode="auto">
            <a:xfrm>
              <a:off x="480" y="6101"/>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8">
              <a:extLst>
                <a:ext uri="{FF2B5EF4-FFF2-40B4-BE49-F238E27FC236}">
                  <a16:creationId xmlns:a16="http://schemas.microsoft.com/office/drawing/2014/main" id="{BFE0B214-AEC2-44BC-5001-530BBEC78886}"/>
                </a:ext>
              </a:extLst>
            </p:cNvPr>
            <p:cNvSpPr>
              <a:spLocks/>
            </p:cNvSpPr>
            <p:nvPr/>
          </p:nvSpPr>
          <p:spPr bwMode="auto">
            <a:xfrm>
              <a:off x="384" y="6196"/>
              <a:ext cx="87" cy="87"/>
            </a:xfrm>
            <a:custGeom>
              <a:avLst/>
              <a:gdLst>
                <a:gd name="T0" fmla="*/ 87 w 87"/>
                <a:gd name="T1" fmla="*/ 87 h 87"/>
                <a:gd name="T2" fmla="*/ 0 w 87"/>
                <a:gd name="T3" fmla="*/ 87 h 87"/>
                <a:gd name="T4" fmla="*/ 0 w 87"/>
                <a:gd name="T5" fmla="*/ 0 h 87"/>
                <a:gd name="T6" fmla="*/ 87 w 87"/>
                <a:gd name="T7" fmla="*/ 0 h 87"/>
                <a:gd name="T8" fmla="*/ 87 w 87"/>
                <a:gd name="T9" fmla="*/ 87 h 87"/>
                <a:gd name="T10" fmla="*/ 87 w 87"/>
                <a:gd name="T11" fmla="*/ 87 h 87"/>
              </a:gdLst>
              <a:ahLst/>
              <a:cxnLst>
                <a:cxn ang="0">
                  <a:pos x="T0" y="T1"/>
                </a:cxn>
                <a:cxn ang="0">
                  <a:pos x="T2" y="T3"/>
                </a:cxn>
                <a:cxn ang="0">
                  <a:pos x="T4" y="T5"/>
                </a:cxn>
                <a:cxn ang="0">
                  <a:pos x="T6" y="T7"/>
                </a:cxn>
                <a:cxn ang="0">
                  <a:pos x="T8" y="T9"/>
                </a:cxn>
                <a:cxn ang="0">
                  <a:pos x="T10" y="T11"/>
                </a:cxn>
              </a:cxnLst>
              <a:rect l="0" t="0" r="r" b="b"/>
              <a:pathLst>
                <a:path w="87" h="87">
                  <a:moveTo>
                    <a:pt x="87" y="87"/>
                  </a:moveTo>
                  <a:lnTo>
                    <a:pt x="0" y="87"/>
                  </a:lnTo>
                  <a:lnTo>
                    <a:pt x="0" y="0"/>
                  </a:lnTo>
                  <a:lnTo>
                    <a:pt x="87" y="0"/>
                  </a:lnTo>
                  <a:lnTo>
                    <a:pt x="87" y="87"/>
                  </a:lnTo>
                  <a:lnTo>
                    <a:pt x="8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9">
              <a:extLst>
                <a:ext uri="{FF2B5EF4-FFF2-40B4-BE49-F238E27FC236}">
                  <a16:creationId xmlns:a16="http://schemas.microsoft.com/office/drawing/2014/main" id="{4E06E96C-12A6-D0E6-DCF7-A135CB87B7DB}"/>
                </a:ext>
              </a:extLst>
            </p:cNvPr>
            <p:cNvSpPr>
              <a:spLocks/>
            </p:cNvSpPr>
            <p:nvPr/>
          </p:nvSpPr>
          <p:spPr bwMode="auto">
            <a:xfrm>
              <a:off x="480" y="6196"/>
              <a:ext cx="86" cy="87"/>
            </a:xfrm>
            <a:custGeom>
              <a:avLst/>
              <a:gdLst>
                <a:gd name="T0" fmla="*/ 86 w 86"/>
                <a:gd name="T1" fmla="*/ 87 h 87"/>
                <a:gd name="T2" fmla="*/ 0 w 86"/>
                <a:gd name="T3" fmla="*/ 87 h 87"/>
                <a:gd name="T4" fmla="*/ 0 w 86"/>
                <a:gd name="T5" fmla="*/ 0 h 87"/>
                <a:gd name="T6" fmla="*/ 86 w 86"/>
                <a:gd name="T7" fmla="*/ 0 h 87"/>
                <a:gd name="T8" fmla="*/ 86 w 86"/>
                <a:gd name="T9" fmla="*/ 87 h 87"/>
                <a:gd name="T10" fmla="*/ 86 w 86"/>
                <a:gd name="T11" fmla="*/ 87 h 87"/>
              </a:gdLst>
              <a:ahLst/>
              <a:cxnLst>
                <a:cxn ang="0">
                  <a:pos x="T0" y="T1"/>
                </a:cxn>
                <a:cxn ang="0">
                  <a:pos x="T2" y="T3"/>
                </a:cxn>
                <a:cxn ang="0">
                  <a:pos x="T4" y="T5"/>
                </a:cxn>
                <a:cxn ang="0">
                  <a:pos x="T6" y="T7"/>
                </a:cxn>
                <a:cxn ang="0">
                  <a:pos x="T8" y="T9"/>
                </a:cxn>
                <a:cxn ang="0">
                  <a:pos x="T10" y="T11"/>
                </a:cxn>
              </a:cxnLst>
              <a:rect l="0" t="0" r="r" b="b"/>
              <a:pathLst>
                <a:path w="86" h="87">
                  <a:moveTo>
                    <a:pt x="86" y="87"/>
                  </a:moveTo>
                  <a:lnTo>
                    <a:pt x="0" y="87"/>
                  </a:lnTo>
                  <a:lnTo>
                    <a:pt x="0" y="0"/>
                  </a:lnTo>
                  <a:lnTo>
                    <a:pt x="86" y="0"/>
                  </a:lnTo>
                  <a:lnTo>
                    <a:pt x="86" y="87"/>
                  </a:lnTo>
                  <a:lnTo>
                    <a:pt x="8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1" name="Title 55">
            <a:extLst>
              <a:ext uri="{FF2B5EF4-FFF2-40B4-BE49-F238E27FC236}">
                <a16:creationId xmlns:a16="http://schemas.microsoft.com/office/drawing/2014/main" id="{3C91C269-477C-E886-070D-FB8934D94771}"/>
              </a:ext>
            </a:extLst>
          </p:cNvPr>
          <p:cNvSpPr>
            <a:spLocks noGrp="1"/>
          </p:cNvSpPr>
          <p:nvPr>
            <p:ph type="title"/>
          </p:nvPr>
        </p:nvSpPr>
        <p:spPr>
          <a:xfrm>
            <a:off x="2690650" y="1416351"/>
            <a:ext cx="6719683" cy="3568095"/>
          </a:xfrm>
        </p:spPr>
        <p:txBody>
          <a:bodyPr anchor="ctr">
            <a:normAutofit/>
          </a:bodyPr>
          <a:lstStyle>
            <a:lvl1pPr algn="ctr">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23E02C1A-10C6-BCA9-E6E7-9578F406BBC3}"/>
              </a:ext>
            </a:extLst>
          </p:cNvPr>
          <p:cNvSpPr/>
          <p:nvPr userDrawn="1"/>
        </p:nvSpPr>
        <p:spPr bwMode="auto">
          <a:xfrm>
            <a:off x="407459" y="381000"/>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77274BB7-7F03-99BD-8E08-6D344F89822F}"/>
              </a:ext>
            </a:extLst>
          </p:cNvPr>
          <p:cNvSpPr/>
          <p:nvPr userDrawn="1"/>
        </p:nvSpPr>
        <p:spPr bwMode="auto">
          <a:xfrm>
            <a:off x="10386485" y="4865159"/>
            <a:ext cx="1421341" cy="1421341"/>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lvl="0"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4" name="[T2O] TextBox 19">
            <a:extLst>
              <a:ext uri="{FF2B5EF4-FFF2-40B4-BE49-F238E27FC236}">
                <a16:creationId xmlns:a16="http://schemas.microsoft.com/office/drawing/2014/main" id="{92A71A68-CC54-00E2-7ECF-868F88C54848}"/>
              </a:ext>
            </a:extLst>
          </p:cNvPr>
          <p:cNvSpPr/>
          <p:nvPr userDrawn="1"/>
        </p:nvSpPr>
        <p:spPr bwMode="auto">
          <a:xfrm>
            <a:off x="837289" y="848395"/>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
        <p:nvSpPr>
          <p:cNvPr id="25" name="[T2O] TextBox 19">
            <a:extLst>
              <a:ext uri="{FF2B5EF4-FFF2-40B4-BE49-F238E27FC236}">
                <a16:creationId xmlns:a16="http://schemas.microsoft.com/office/drawing/2014/main" id="{C2CEE336-711E-7D99-CCA8-CB11BC3D288B}"/>
              </a:ext>
            </a:extLst>
          </p:cNvPr>
          <p:cNvSpPr/>
          <p:nvPr userDrawn="1"/>
        </p:nvSpPr>
        <p:spPr bwMode="auto">
          <a:xfrm rot="10800000">
            <a:off x="10816315" y="5332553"/>
            <a:ext cx="561680" cy="486552"/>
          </a:xfrm>
          <a:custGeom>
            <a:avLst/>
            <a:gdLst/>
            <a:ahLst/>
            <a:cxnLst/>
            <a:rect l="l" t="t" r="r" b="b"/>
            <a:pathLst>
              <a:path w="350490" h="303610">
                <a:moveTo>
                  <a:pt x="315516" y="0"/>
                </a:moveTo>
                <a:lnTo>
                  <a:pt x="350490" y="66229"/>
                </a:lnTo>
                <a:cubicBezTo>
                  <a:pt x="321965" y="79623"/>
                  <a:pt x="302245" y="92956"/>
                  <a:pt x="291331" y="106226"/>
                </a:cubicBezTo>
                <a:cubicBezTo>
                  <a:pt x="280417" y="119497"/>
                  <a:pt x="274340" y="135186"/>
                  <a:pt x="273100" y="153293"/>
                </a:cubicBezTo>
                <a:lnTo>
                  <a:pt x="350490" y="153293"/>
                </a:lnTo>
                <a:lnTo>
                  <a:pt x="350490" y="303610"/>
                </a:lnTo>
                <a:lnTo>
                  <a:pt x="188640" y="303610"/>
                </a:lnTo>
                <a:lnTo>
                  <a:pt x="188640" y="178966"/>
                </a:lnTo>
                <a:cubicBezTo>
                  <a:pt x="188640" y="133077"/>
                  <a:pt x="198189" y="96863"/>
                  <a:pt x="217289" y="70322"/>
                </a:cubicBezTo>
                <a:cubicBezTo>
                  <a:pt x="236389" y="43780"/>
                  <a:pt x="269131" y="20340"/>
                  <a:pt x="315516" y="0"/>
                </a:cubicBezTo>
                <a:close/>
                <a:moveTo>
                  <a:pt x="126876" y="0"/>
                </a:moveTo>
                <a:lnTo>
                  <a:pt x="161851" y="66229"/>
                </a:lnTo>
                <a:cubicBezTo>
                  <a:pt x="133325" y="79623"/>
                  <a:pt x="113606" y="92956"/>
                  <a:pt x="102691" y="106226"/>
                </a:cubicBezTo>
                <a:cubicBezTo>
                  <a:pt x="91777" y="119497"/>
                  <a:pt x="85700" y="135186"/>
                  <a:pt x="84460" y="153293"/>
                </a:cubicBezTo>
                <a:lnTo>
                  <a:pt x="161851" y="153293"/>
                </a:lnTo>
                <a:lnTo>
                  <a:pt x="161851" y="303610"/>
                </a:lnTo>
                <a:lnTo>
                  <a:pt x="0" y="303610"/>
                </a:lnTo>
                <a:lnTo>
                  <a:pt x="0" y="178966"/>
                </a:lnTo>
                <a:cubicBezTo>
                  <a:pt x="0" y="133077"/>
                  <a:pt x="9550" y="96863"/>
                  <a:pt x="28649" y="70322"/>
                </a:cubicBezTo>
                <a:cubicBezTo>
                  <a:pt x="47749" y="43780"/>
                  <a:pt x="80491" y="20340"/>
                  <a:pt x="1268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97536" rIns="121920" bIns="97536" numCol="1" spcCol="0" rtlCol="0" fromWordArt="0" anchor="t" anchorCtr="0" forceAA="0" compatLnSpc="1">
            <a:prstTxWarp prst="textNoShape">
              <a:avLst/>
            </a:prstTxWarp>
            <a:noAutofit/>
          </a:bodyPr>
          <a:lstStyle/>
          <a:p>
            <a:pPr algn="l" defTabSz="621679" fontAlgn="base">
              <a:spcBef>
                <a:spcPct val="0"/>
              </a:spcBef>
              <a:spcAft>
                <a:spcPct val="0"/>
              </a:spcAft>
            </a:pPr>
            <a:endParaRPr lang="en-GB" sz="1333"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4064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ll to A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43B5-B840-C703-DAE8-1E2B4905EF35}"/>
              </a:ext>
            </a:extLst>
          </p:cNvPr>
          <p:cNvSpPr>
            <a:spLocks noGrp="1"/>
          </p:cNvSpPr>
          <p:nvPr>
            <p:ph type="title"/>
          </p:nvPr>
        </p:nvSpPr>
        <p:spPr/>
        <p:txBody>
          <a:bodyPr/>
          <a:lstStyle>
            <a:lvl1pPr>
              <a:defRPr lang="en-GB" sz="3200" b="0" kern="1200" cap="none" spc="-21" baseline="0" dirty="0">
                <a:ln w="3175">
                  <a:noFill/>
                </a:ln>
                <a:gradFill>
                  <a:gsLst>
                    <a:gs pos="100000">
                      <a:srgbClr val="0078D4"/>
                    </a:gs>
                    <a:gs pos="0">
                      <a:srgbClr val="2A446F"/>
                    </a:gs>
                  </a:gsLst>
                  <a:lin ang="2700000" scaled="0"/>
                </a:gradFill>
                <a:effectLst/>
                <a:latin typeface="+mj-lt"/>
                <a:ea typeface="+mn-ea"/>
                <a:cs typeface="Segoe UI" panose="020B0502040204020203" pitchFamily="34" charset="0"/>
              </a:defRPr>
            </a:lvl1p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r>
              <a:rPr lang="en-US"/>
              <a:t>Click to edit Master title style</a:t>
            </a:r>
            <a:endParaRPr lang="en-GB"/>
          </a:p>
        </p:txBody>
      </p:sp>
      <p:sp>
        <p:nvSpPr>
          <p:cNvPr id="29" name="Text Placeholder 3">
            <a:extLst>
              <a:ext uri="{FF2B5EF4-FFF2-40B4-BE49-F238E27FC236}">
                <a16:creationId xmlns:a16="http://schemas.microsoft.com/office/drawing/2014/main" id="{1BCBA8E6-A852-9C0E-BDA8-C08F2E0C92F6}"/>
              </a:ext>
            </a:extLst>
          </p:cNvPr>
          <p:cNvSpPr>
            <a:spLocks noGrp="1"/>
          </p:cNvSpPr>
          <p:nvPr>
            <p:ph type="body" sz="quarter" idx="16"/>
          </p:nvPr>
        </p:nvSpPr>
        <p:spPr>
          <a:xfrm>
            <a:off x="382374"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0" name="Text Placeholder 3">
            <a:extLst>
              <a:ext uri="{FF2B5EF4-FFF2-40B4-BE49-F238E27FC236}">
                <a16:creationId xmlns:a16="http://schemas.microsoft.com/office/drawing/2014/main" id="{A8AD058C-13C4-9795-A5B4-23899462C308}"/>
              </a:ext>
            </a:extLst>
          </p:cNvPr>
          <p:cNvSpPr>
            <a:spLocks noGrp="1"/>
          </p:cNvSpPr>
          <p:nvPr>
            <p:ph type="body" sz="quarter" idx="17"/>
          </p:nvPr>
        </p:nvSpPr>
        <p:spPr>
          <a:xfrm>
            <a:off x="4221755"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1" name="Text Placeholder 3">
            <a:extLst>
              <a:ext uri="{FF2B5EF4-FFF2-40B4-BE49-F238E27FC236}">
                <a16:creationId xmlns:a16="http://schemas.microsoft.com/office/drawing/2014/main" id="{AD26571E-191F-3DCA-AE78-44A1B60FD144}"/>
              </a:ext>
            </a:extLst>
          </p:cNvPr>
          <p:cNvSpPr>
            <a:spLocks noGrp="1"/>
          </p:cNvSpPr>
          <p:nvPr>
            <p:ph type="body" sz="quarter" idx="18"/>
          </p:nvPr>
        </p:nvSpPr>
        <p:spPr>
          <a:xfrm>
            <a:off x="8061139" y="3657601"/>
            <a:ext cx="3746925"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sp>
        <p:nvSpPr>
          <p:cNvPr id="3" name="Text Placeholder 3">
            <a:extLst>
              <a:ext uri="{FF2B5EF4-FFF2-40B4-BE49-F238E27FC236}">
                <a16:creationId xmlns:a16="http://schemas.microsoft.com/office/drawing/2014/main" id="{287E6810-9F2C-498E-9E22-74F818EA118A}"/>
              </a:ext>
            </a:extLst>
          </p:cNvPr>
          <p:cNvSpPr>
            <a:spLocks noGrp="1"/>
          </p:cNvSpPr>
          <p:nvPr>
            <p:ph type="body" sz="quarter" idx="19"/>
          </p:nvPr>
        </p:nvSpPr>
        <p:spPr>
          <a:xfrm>
            <a:off x="383938" y="5558442"/>
            <a:ext cx="11424126" cy="492443"/>
          </a:xfrm>
          <a:prstGeom prst="rect">
            <a:avLst/>
          </a:prstGeom>
        </p:spPr>
        <p:txBody>
          <a:bodyPr lIns="0" tIns="0" rIns="0" bIns="0" anchor="t" anchorCtr="0"/>
          <a:lstStyle>
            <a:lvl1pPr marL="0" indent="0" algn="ctr">
              <a:buNone/>
              <a:defRPr sz="3200">
                <a:solidFill>
                  <a:srgbClr val="2A446F"/>
                </a:solidFill>
                <a:latin typeface="+mj-lt"/>
              </a:defRPr>
            </a:lvl1pPr>
            <a:lvl2pPr marL="361060" indent="0">
              <a:buNone/>
              <a:defRPr/>
            </a:lvl2pPr>
            <a:lvl3pPr marL="722119" indent="0">
              <a:buNone/>
              <a:defRPr/>
            </a:lvl3pPr>
            <a:lvl4pPr marL="1045570" indent="0">
              <a:buNone/>
              <a:defRPr/>
            </a:lvl4pPr>
            <a:lvl5pPr marL="1351468" indent="0">
              <a:buNone/>
              <a:defRPr/>
            </a:lvl5pPr>
          </a:lstStyle>
          <a:p>
            <a:pPr lvl="0"/>
            <a:r>
              <a:rPr lang="en-US"/>
              <a:t>Click to edit Master text styles</a:t>
            </a:r>
          </a:p>
        </p:txBody>
      </p:sp>
      <p:grpSp>
        <p:nvGrpSpPr>
          <p:cNvPr id="22" name="Group 21">
            <a:extLst>
              <a:ext uri="{FF2B5EF4-FFF2-40B4-BE49-F238E27FC236}">
                <a16:creationId xmlns:a16="http://schemas.microsoft.com/office/drawing/2014/main" id="{87F83D5E-03EF-4AFE-D233-65D4C101F0A7}"/>
              </a:ext>
            </a:extLst>
          </p:cNvPr>
          <p:cNvGrpSpPr>
            <a:grpSpLocks/>
          </p:cNvGrpSpPr>
          <p:nvPr userDrawn="1"/>
        </p:nvGrpSpPr>
        <p:grpSpPr>
          <a:xfrm>
            <a:off x="1539872" y="2009350"/>
            <a:ext cx="1431928" cy="1432347"/>
            <a:chOff x="8485195" y="4484505"/>
            <a:chExt cx="1317610" cy="1317990"/>
          </a:xfrm>
        </p:grpSpPr>
        <p:sp>
          <p:nvSpPr>
            <p:cNvPr id="23" name="Oval 22">
              <a:extLst>
                <a:ext uri="{FF2B5EF4-FFF2-40B4-BE49-F238E27FC236}">
                  <a16:creationId xmlns:a16="http://schemas.microsoft.com/office/drawing/2014/main" id="{CB4808A1-8FC7-8AC7-DAD2-290A22257C60}"/>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54E537A8-ADA9-8141-018D-E2035D4DB8FD}"/>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1</a:t>
              </a:r>
            </a:p>
          </p:txBody>
        </p:sp>
      </p:grpSp>
      <p:grpSp>
        <p:nvGrpSpPr>
          <p:cNvPr id="25" name="Group 24">
            <a:extLst>
              <a:ext uri="{FF2B5EF4-FFF2-40B4-BE49-F238E27FC236}">
                <a16:creationId xmlns:a16="http://schemas.microsoft.com/office/drawing/2014/main" id="{3D6FD52F-FF30-3B0E-18EE-AC24A7A75953}"/>
              </a:ext>
            </a:extLst>
          </p:cNvPr>
          <p:cNvGrpSpPr>
            <a:grpSpLocks/>
          </p:cNvGrpSpPr>
          <p:nvPr userDrawn="1"/>
        </p:nvGrpSpPr>
        <p:grpSpPr>
          <a:xfrm>
            <a:off x="5379253" y="2009350"/>
            <a:ext cx="1431928" cy="1432347"/>
            <a:chOff x="8485195" y="4484505"/>
            <a:chExt cx="1317610" cy="1317990"/>
          </a:xfrm>
        </p:grpSpPr>
        <p:sp>
          <p:nvSpPr>
            <p:cNvPr id="26" name="Oval 25">
              <a:extLst>
                <a:ext uri="{FF2B5EF4-FFF2-40B4-BE49-F238E27FC236}">
                  <a16:creationId xmlns:a16="http://schemas.microsoft.com/office/drawing/2014/main" id="{A83A0FF6-8C4C-6015-0323-D466641C6EAE}"/>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4AC288B0-4622-C443-FB89-BFB43786CCD6}"/>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2</a:t>
              </a:r>
            </a:p>
          </p:txBody>
        </p:sp>
      </p:grpSp>
      <p:grpSp>
        <p:nvGrpSpPr>
          <p:cNvPr id="28" name="Group 27">
            <a:extLst>
              <a:ext uri="{FF2B5EF4-FFF2-40B4-BE49-F238E27FC236}">
                <a16:creationId xmlns:a16="http://schemas.microsoft.com/office/drawing/2014/main" id="{A3755683-F6C8-D8BE-E9E2-9FD646D742E1}"/>
              </a:ext>
            </a:extLst>
          </p:cNvPr>
          <p:cNvGrpSpPr>
            <a:grpSpLocks/>
          </p:cNvGrpSpPr>
          <p:nvPr userDrawn="1"/>
        </p:nvGrpSpPr>
        <p:grpSpPr>
          <a:xfrm>
            <a:off x="9218639" y="2009350"/>
            <a:ext cx="1431928" cy="1432347"/>
            <a:chOff x="8485195" y="4484505"/>
            <a:chExt cx="1317610" cy="1317990"/>
          </a:xfrm>
        </p:grpSpPr>
        <p:sp>
          <p:nvSpPr>
            <p:cNvPr id="32" name="Oval 31">
              <a:extLst>
                <a:ext uri="{FF2B5EF4-FFF2-40B4-BE49-F238E27FC236}">
                  <a16:creationId xmlns:a16="http://schemas.microsoft.com/office/drawing/2014/main" id="{AC2BD5B6-B2A5-673B-69C6-A2CA7E4B4B66}"/>
                </a:ext>
              </a:extLst>
            </p:cNvPr>
            <p:cNvSpPr>
              <a:spLocks/>
            </p:cNvSpPr>
            <p:nvPr userDrawn="1"/>
          </p:nvSpPr>
          <p:spPr bwMode="auto">
            <a:xfrm>
              <a:off x="8485195" y="4484505"/>
              <a:ext cx="1317610" cy="1317990"/>
            </a:xfrm>
            <a:prstGeom prst="ellipse">
              <a:avLst/>
            </a:prstGeom>
            <a:gradFill>
              <a:gsLst>
                <a:gs pos="0">
                  <a:srgbClr val="0078D4"/>
                </a:gs>
                <a:gs pos="100000">
                  <a:srgbClr val="2A446F"/>
                </a:gs>
              </a:gsLst>
              <a:lin ang="1260000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621679" rtl="0" eaLnBrk="1" fontAlgn="base"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24E607C8-C3ED-F291-CBBD-F5E988EDED41}"/>
                </a:ext>
              </a:extLst>
            </p:cNvPr>
            <p:cNvSpPr/>
            <p:nvPr userDrawn="1"/>
          </p:nvSpPr>
          <p:spPr>
            <a:xfrm>
              <a:off x="8577185" y="4576085"/>
              <a:ext cx="1133630" cy="1134830"/>
            </a:xfrm>
            <a:prstGeom prst="ellipse">
              <a:avLst/>
            </a:prstGeom>
            <a:solidFill>
              <a:schemeClr val="bg1">
                <a:lumMod val="95000"/>
              </a:schemeClr>
            </a:solidFill>
            <a:ln>
              <a:noFill/>
            </a:ln>
            <a:effectLst>
              <a:innerShdw blurRad="241300">
                <a:prstClr val="black">
                  <a:alpha val="1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463668"/>
                  </a:solidFill>
                  <a:effectLst/>
                  <a:uLnTx/>
                  <a:uFillTx/>
                  <a:latin typeface="Segoe UI Semibold"/>
                  <a:ea typeface="+mn-ea"/>
                  <a:cs typeface="+mn-cs"/>
                </a:rPr>
                <a:t>3</a:t>
              </a:r>
            </a:p>
          </p:txBody>
        </p:sp>
      </p:grpSp>
      <p:grpSp>
        <p:nvGrpSpPr>
          <p:cNvPr id="4" name="Group 3">
            <a:extLst>
              <a:ext uri="{FF2B5EF4-FFF2-40B4-BE49-F238E27FC236}">
                <a16:creationId xmlns:a16="http://schemas.microsoft.com/office/drawing/2014/main" id="{4B4160EC-05BB-C50A-8EBF-E0B2AE280A65}"/>
              </a:ext>
            </a:extLst>
          </p:cNvPr>
          <p:cNvGrpSpPr/>
          <p:nvPr userDrawn="1"/>
        </p:nvGrpSpPr>
        <p:grpSpPr>
          <a:xfrm>
            <a:off x="407459" y="6457261"/>
            <a:ext cx="1498506" cy="192755"/>
            <a:chOff x="611188" y="9429750"/>
            <a:chExt cx="3412172" cy="438912"/>
          </a:xfrm>
        </p:grpSpPr>
        <p:pic>
          <p:nvPicPr>
            <p:cNvPr id="5" name="Graphic 4">
              <a:extLst>
                <a:ext uri="{FF2B5EF4-FFF2-40B4-BE49-F238E27FC236}">
                  <a16:creationId xmlns:a16="http://schemas.microsoft.com/office/drawing/2014/main" id="{405A36A3-B6C9-0D6E-7426-A09C001E89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6" name="MS logo gray - EMF" descr="Microsoft logo, gray text version">
              <a:extLst>
                <a:ext uri="{FF2B5EF4-FFF2-40B4-BE49-F238E27FC236}">
                  <a16:creationId xmlns:a16="http://schemas.microsoft.com/office/drawing/2014/main" id="{AAFCB9B6-D446-88F6-0222-8D7BA6301D7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235324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33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2D12A-B86B-F52F-BAC1-8A157EE8E50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FDF6E4-6838-801B-4FB2-49284828F7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A323304-A743-87D5-3280-CCC417CB80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E29C74B-8F0E-B8C1-2718-F9E2B7562DCD}"/>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6" name="Footer Placeholder 5">
            <a:extLst>
              <a:ext uri="{FF2B5EF4-FFF2-40B4-BE49-F238E27FC236}">
                <a16:creationId xmlns:a16="http://schemas.microsoft.com/office/drawing/2014/main" id="{8AE497BB-B797-9AFB-2899-2BDD98E8EAC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60B8C6E-5DDE-8CE5-7FF0-509E3F6B30E4}"/>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6229342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6D86FC34-76C9-46CC-AC6A-149F89703956}"/>
              </a:ext>
            </a:extLst>
          </p:cNvPr>
          <p:cNvSpPr>
            <a:spLocks noGrp="1"/>
          </p:cNvSpPr>
          <p:nvPr>
            <p:ph type="pic" sz="quarter" idx="10"/>
          </p:nvPr>
        </p:nvSpPr>
        <p:spPr>
          <a:xfrm>
            <a:off x="4223322" y="2556994"/>
            <a:ext cx="3745358" cy="1744014"/>
          </a:xfrm>
          <a:prstGeom prst="rect">
            <a:avLst/>
          </a:prstGeom>
        </p:spPr>
        <p:txBody>
          <a:bodyPr/>
          <a:lstStyle>
            <a:lvl1pPr>
              <a:defRPr>
                <a:solidFill>
                  <a:schemeClr val="bg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417B8217-57C5-52FF-7CB8-C2171B1FE1B8}"/>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F818E67-B426-EAA0-4CDD-973F744FD8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6DE3C2CD-3D62-5156-799B-7B9E9A747DD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29608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A62305-6B01-A071-D90F-2A2C06D2C7D6}"/>
              </a:ext>
            </a:extLst>
          </p:cNvPr>
          <p:cNvGrpSpPr/>
          <p:nvPr userDrawn="1"/>
        </p:nvGrpSpPr>
        <p:grpSpPr>
          <a:xfrm>
            <a:off x="3627703" y="3111500"/>
            <a:ext cx="4936595" cy="635000"/>
            <a:chOff x="611188" y="9429750"/>
            <a:chExt cx="3412172" cy="438912"/>
          </a:xfrm>
        </p:grpSpPr>
        <p:pic>
          <p:nvPicPr>
            <p:cNvPr id="3" name="Graphic 2">
              <a:extLst>
                <a:ext uri="{FF2B5EF4-FFF2-40B4-BE49-F238E27FC236}">
                  <a16:creationId xmlns:a16="http://schemas.microsoft.com/office/drawing/2014/main" id="{CB6B2246-7E90-010E-75CE-B8723847B1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4240" y="9463695"/>
              <a:ext cx="929120" cy="371022"/>
            </a:xfrm>
            <a:prstGeom prst="rect">
              <a:avLst/>
            </a:prstGeom>
          </p:spPr>
        </p:pic>
        <p:pic>
          <p:nvPicPr>
            <p:cNvPr id="5" name="MS logo gray - EMF" descr="Microsoft logo, gray text version">
              <a:extLst>
                <a:ext uri="{FF2B5EF4-FFF2-40B4-BE49-F238E27FC236}">
                  <a16:creationId xmlns:a16="http://schemas.microsoft.com/office/drawing/2014/main" id="{F79ECA7C-C96B-B546-5D74-72EF1FF0640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347085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4" pos="2997">
          <p15:clr>
            <a:srgbClr val="FBAE40"/>
          </p15:clr>
        </p15:guide>
        <p15:guide id="15" pos="3081">
          <p15:clr>
            <a:srgbClr val="FBAE40"/>
          </p15:clr>
        </p15:guide>
        <p15:guide id="16" pos="5717">
          <p15:clr>
            <a:srgbClr val="FBAE40"/>
          </p15:clr>
        </p15:guide>
        <p15:guide id="17" pos="5802">
          <p15:clr>
            <a:srgbClr val="FBAE40"/>
          </p15:clr>
        </p15:guide>
        <p15:guide id="18" pos="8438">
          <p15:clr>
            <a:srgbClr val="FBAE40"/>
          </p15:clr>
        </p15:guide>
        <p15:guide id="19" pos="8522">
          <p15:clr>
            <a:srgbClr val="FBAE40"/>
          </p15:clr>
        </p15:guide>
        <p15:guide id="20" orient="horz" pos="11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BF7E0-44A3-490B-D1B7-7BB106A2EC6E}"/>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04D21A90-3772-532B-E57D-C6F735E3FE4A}"/>
              </a:ext>
            </a:extLst>
          </p:cNvPr>
          <p:cNvSpPr>
            <a:spLocks noGrp="1"/>
          </p:cNvSpPr>
          <p:nvPr>
            <p:ph type="sldNum" sz="quarter" idx="12"/>
          </p:nvPr>
        </p:nvSpPr>
        <p:spPr/>
        <p:txBody>
          <a:bodyPr/>
          <a:lstStyle/>
          <a:p>
            <a:fld id="{233D4A36-D76C-44EA-9FDE-2894947B33B6}" type="slidenum">
              <a:rPr lang="en-GB" smtClean="0"/>
              <a:t>‹#›</a:t>
            </a:fld>
            <a:endParaRPr lang="en-GB"/>
          </a:p>
        </p:txBody>
      </p:sp>
      <p:pic>
        <p:nvPicPr>
          <p:cNvPr id="14" name="Picture 13" descr="A picture containing shape&#10;&#10;Description automatically generated">
            <a:extLst>
              <a:ext uri="{FF2B5EF4-FFF2-40B4-BE49-F238E27FC236}">
                <a16:creationId xmlns:a16="http://schemas.microsoft.com/office/drawing/2014/main" id="{96C65B6B-50B0-8CF7-DC3F-D3B9D04A09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64" t="42565" r="13659" b="30996"/>
          <a:stretch/>
        </p:blipFill>
        <p:spPr>
          <a:xfrm rot="10800000" flipH="1" flipV="1">
            <a:off x="3748672" y="5110096"/>
            <a:ext cx="8443329" cy="1747904"/>
          </a:xfrm>
          <a:prstGeom prst="rect">
            <a:avLst/>
          </a:prstGeom>
        </p:spPr>
      </p:pic>
    </p:spTree>
    <p:extLst>
      <p:ext uri="{BB962C8B-B14F-4D97-AF65-F5344CB8AC3E}">
        <p14:creationId xmlns:p14="http://schemas.microsoft.com/office/powerpoint/2010/main" val="237483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ull bleed vide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188760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Full bleed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A3CD2B91-8226-45DB-61A0-F133037AFFFB}"/>
              </a:ext>
            </a:extLst>
          </p:cNvPr>
          <p:cNvSpPr>
            <a:spLocks noGrp="1"/>
          </p:cNvSpPr>
          <p:nvPr>
            <p:ph type="media" sz="quarter" idx="13"/>
          </p:nvPr>
        </p:nvSpPr>
        <p:spPr>
          <a:xfrm>
            <a:off x="0" y="0"/>
            <a:ext cx="12192000" cy="6858000"/>
          </a:xfrm>
        </p:spPr>
        <p:txBody>
          <a:bodyPr/>
          <a:lstStyle/>
          <a:p>
            <a:endParaRPr lang="en-GB"/>
          </a:p>
        </p:txBody>
      </p:sp>
      <p:sp>
        <p:nvSpPr>
          <p:cNvPr id="6" name="Slide Number Placeholder 5">
            <a:extLst>
              <a:ext uri="{FF2B5EF4-FFF2-40B4-BE49-F238E27FC236}">
                <a16:creationId xmlns:a16="http://schemas.microsoft.com/office/drawing/2014/main" id="{85A5AC2F-965C-BAA7-FA32-3D6E91E31EF4}"/>
              </a:ext>
            </a:extLst>
          </p:cNvPr>
          <p:cNvSpPr>
            <a:spLocks noGrp="1"/>
          </p:cNvSpPr>
          <p:nvPr>
            <p:ph type="sldNum" sz="quarter" idx="12"/>
          </p:nvPr>
        </p:nvSpPr>
        <p:spPr/>
        <p:txBody>
          <a:bodyPr/>
          <a:lstStyle/>
          <a:p>
            <a:fld id="{2D558589-A89D-4A23-90A4-085F4AC5F527}" type="slidenum">
              <a:rPr lang="en-GB" smtClean="0"/>
              <a:t>‹#›</a:t>
            </a:fld>
            <a:endParaRPr lang="en-GB"/>
          </a:p>
        </p:txBody>
      </p:sp>
    </p:spTree>
    <p:extLst>
      <p:ext uri="{BB962C8B-B14F-4D97-AF65-F5344CB8AC3E}">
        <p14:creationId xmlns:p14="http://schemas.microsoft.com/office/powerpoint/2010/main" val="3740122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9441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91201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252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62256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124100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F41A1-B7D3-E955-2D76-FDDA6502011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B84F19A-DF36-E270-1AB9-4EF4219834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519E655-9799-6F13-B617-8244A51C58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10E4A10-B998-C4DC-A0FE-0914278317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EF42B4-FD42-58A5-54F7-E43D0106ED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67FE9EB-AE5D-720E-E3DE-25939C51E3EB}"/>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8" name="Footer Placeholder 7">
            <a:extLst>
              <a:ext uri="{FF2B5EF4-FFF2-40B4-BE49-F238E27FC236}">
                <a16:creationId xmlns:a16="http://schemas.microsoft.com/office/drawing/2014/main" id="{5EE24E88-9E51-A977-0494-215C499922D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9DDD550-71E3-A607-8AA9-59F9E9A9C93D}"/>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3665744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68978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87440" y="48744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085810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814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26797484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796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0/50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0FDF-E885-E751-27CC-38784F693844}"/>
              </a:ext>
            </a:extLst>
          </p:cNvPr>
          <p:cNvSpPr>
            <a:spLocks noGrp="1"/>
          </p:cNvSpPr>
          <p:nvPr>
            <p:ph type="title"/>
          </p:nvPr>
        </p:nvSpPr>
        <p:spPr>
          <a:xfrm>
            <a:off x="563879" y="802184"/>
            <a:ext cx="4899371" cy="2438843"/>
          </a:xfrm>
        </p:spPr>
        <p:txBody>
          <a:bodyPr/>
          <a:lstStyle>
            <a:lvl1pPr>
              <a:defRPr>
                <a:solidFill>
                  <a:schemeClr val="tx2"/>
                </a:solidFill>
              </a:defRPr>
            </a:lvl1pPr>
          </a:lstStyle>
          <a:p>
            <a:r>
              <a:rPr lang="en-US"/>
              <a:t>Click to edit Master title style</a:t>
            </a:r>
          </a:p>
        </p:txBody>
      </p:sp>
      <p:sp>
        <p:nvSpPr>
          <p:cNvPr id="5" name="Rectangle 4">
            <a:extLst>
              <a:ext uri="{FF2B5EF4-FFF2-40B4-BE49-F238E27FC236}">
                <a16:creationId xmlns:a16="http://schemas.microsoft.com/office/drawing/2014/main" id="{E4CEE93F-AF6D-6E35-86B1-82AD87B97B18}"/>
              </a:ext>
            </a:extLst>
          </p:cNvPr>
          <p:cNvSpPr/>
          <p:nvPr userDrawn="1"/>
        </p:nvSpPr>
        <p:spPr bwMode="auto">
          <a:xfrm>
            <a:off x="6095999" y="0"/>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Rectangle: Rounded Corners 27">
            <a:extLst>
              <a:ext uri="{FF2B5EF4-FFF2-40B4-BE49-F238E27FC236}">
                <a16:creationId xmlns:a16="http://schemas.microsoft.com/office/drawing/2014/main" id="{41141538-F799-AE55-832D-A2E4988EC35B}"/>
              </a:ext>
              <a:ext uri="{C183D7F6-B498-43B3-948B-1728B52AA6E4}">
                <adec:decorative xmlns:adec="http://schemas.microsoft.com/office/drawing/2017/decorative" val="1"/>
              </a:ext>
            </a:extLst>
          </p:cNvPr>
          <p:cNvSpPr>
            <a:spLocks/>
          </p:cNvSpPr>
          <p:nvPr userDrawn="1"/>
        </p:nvSpPr>
        <p:spPr bwMode="auto">
          <a:xfrm>
            <a:off x="6545482" y="533481"/>
            <a:ext cx="5197034" cy="5791039"/>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15" name="Rectangle: Rounded Corners 16">
            <a:extLst>
              <a:ext uri="{FF2B5EF4-FFF2-40B4-BE49-F238E27FC236}">
                <a16:creationId xmlns:a16="http://schemas.microsoft.com/office/drawing/2014/main" id="{C149070F-A66D-5E2E-3244-7C55BBC30870}"/>
              </a:ext>
              <a:ext uri="{C183D7F6-B498-43B3-948B-1728B52AA6E4}">
                <adec:decorative xmlns:adec="http://schemas.microsoft.com/office/drawing/2017/decorative" val="1"/>
              </a:ext>
            </a:extLst>
          </p:cNvPr>
          <p:cNvSpPr>
            <a:spLocks/>
          </p:cNvSpPr>
          <p:nvPr userDrawn="1"/>
        </p:nvSpPr>
        <p:spPr bwMode="auto">
          <a:xfrm>
            <a:off x="6709747" y="714737"/>
            <a:ext cx="4868505" cy="5428527"/>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9" name="Text Placeholder 8">
            <a:extLst>
              <a:ext uri="{FF2B5EF4-FFF2-40B4-BE49-F238E27FC236}">
                <a16:creationId xmlns:a16="http://schemas.microsoft.com/office/drawing/2014/main" id="{8F9C9932-B5B4-77E0-4A68-C00D19710860}"/>
              </a:ext>
            </a:extLst>
          </p:cNvPr>
          <p:cNvSpPr>
            <a:spLocks noGrp="1"/>
          </p:cNvSpPr>
          <p:nvPr>
            <p:ph type="body" sz="quarter" idx="12"/>
          </p:nvPr>
        </p:nvSpPr>
        <p:spPr>
          <a:xfrm>
            <a:off x="6944810" y="983848"/>
            <a:ext cx="4386805" cy="4923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6D5E03D-ADC2-B30D-77E9-A22875DE935A}"/>
              </a:ext>
            </a:extLst>
          </p:cNvPr>
          <p:cNvSpPr>
            <a:spLocks noGrp="1"/>
          </p:cNvSpPr>
          <p:nvPr>
            <p:ph type="body" sz="quarter" idx="13"/>
          </p:nvPr>
        </p:nvSpPr>
        <p:spPr>
          <a:xfrm>
            <a:off x="563562" y="3616972"/>
            <a:ext cx="489937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86BB629-9484-000A-5559-96655730EECE}"/>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F714C493-AD31-D319-4ED1-0B65DB3D79CC}"/>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7744116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roduct View Righ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08716877"/>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roduct View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7449820" y="1403746"/>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 name="Picture 1" descr="A black screen with a black background&#10;&#10;Description automatically generated">
            <a:extLst>
              <a:ext uri="{FF2B5EF4-FFF2-40B4-BE49-F238E27FC236}">
                <a16:creationId xmlns:a16="http://schemas.microsoft.com/office/drawing/2014/main" id="{3D4637E6-5CA1-DABE-E1BA-FD1476F443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055" y="1373144"/>
            <a:ext cx="7772400" cy="5272365"/>
          </a:xfrm>
          <a:prstGeom prst="rect">
            <a:avLst/>
          </a:prstGeom>
        </p:spPr>
      </p:pic>
      <p:sp>
        <p:nvSpPr>
          <p:cNvPr id="4" name="Picture Placeholder 16">
            <a:extLst>
              <a:ext uri="{FF2B5EF4-FFF2-40B4-BE49-F238E27FC236}">
                <a16:creationId xmlns:a16="http://schemas.microsoft.com/office/drawing/2014/main" id="{55C3C08B-B20C-BB15-F7C0-1304F0FD8B9B}"/>
              </a:ext>
            </a:extLst>
          </p:cNvPr>
          <p:cNvSpPr>
            <a:spLocks noGrp="1"/>
          </p:cNvSpPr>
          <p:nvPr>
            <p:ph type="pic" sz="quarter" idx="12"/>
          </p:nvPr>
        </p:nvSpPr>
        <p:spPr>
          <a:xfrm>
            <a:off x="-171981" y="1671872"/>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4228890349"/>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553411804"/>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up – Card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34561"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4" y="2089131"/>
            <a:ext cx="2274028" cy="889218"/>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3459715"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3605911" y="2089131"/>
            <a:ext cx="2274028" cy="889218"/>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3680735"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3680538"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6184869"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6330502" y="2089131"/>
            <a:ext cx="2274028" cy="889218"/>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6405326"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6405129"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ounded Rectangle 1">
            <a:extLst>
              <a:ext uri="{FF2B5EF4-FFF2-40B4-BE49-F238E27FC236}">
                <a16:creationId xmlns:a16="http://schemas.microsoft.com/office/drawing/2014/main" id="{57AA6CC5-6E18-7065-DE29-4BA8FA78CB4D}"/>
              </a:ext>
            </a:extLst>
          </p:cNvPr>
          <p:cNvSpPr/>
          <p:nvPr userDrawn="1"/>
        </p:nvSpPr>
        <p:spPr>
          <a:xfrm rot="10800000">
            <a:off x="8910023"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4D643D71-D0E4-8FA0-A3FF-20BCD32757DF}"/>
              </a:ext>
            </a:extLst>
          </p:cNvPr>
          <p:cNvSpPr/>
          <p:nvPr userDrawn="1"/>
        </p:nvSpPr>
        <p:spPr>
          <a:xfrm>
            <a:off x="9055169" y="2089131"/>
            <a:ext cx="2274028" cy="889218"/>
          </a:xfrm>
          <a:prstGeom prst="roundRect">
            <a:avLst/>
          </a:prstGeom>
          <a:solidFill>
            <a:schemeClr val="accent5"/>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E68632E6-9608-BF51-9F31-08004BEC9A02}"/>
              </a:ext>
            </a:extLst>
          </p:cNvPr>
          <p:cNvSpPr>
            <a:spLocks noGrp="1"/>
          </p:cNvSpPr>
          <p:nvPr>
            <p:ph type="body" sz="quarter" idx="20" hasCustomPrompt="1"/>
          </p:nvPr>
        </p:nvSpPr>
        <p:spPr>
          <a:xfrm>
            <a:off x="9129993"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4</a:t>
            </a:r>
          </a:p>
        </p:txBody>
      </p:sp>
      <p:sp>
        <p:nvSpPr>
          <p:cNvPr id="8" name="Text Placeholder 21">
            <a:extLst>
              <a:ext uri="{FF2B5EF4-FFF2-40B4-BE49-F238E27FC236}">
                <a16:creationId xmlns:a16="http://schemas.microsoft.com/office/drawing/2014/main" id="{7359F489-B01C-3902-2F61-1178E0906B69}"/>
              </a:ext>
            </a:extLst>
          </p:cNvPr>
          <p:cNvSpPr>
            <a:spLocks noGrp="1"/>
          </p:cNvSpPr>
          <p:nvPr>
            <p:ph type="body" sz="quarter" idx="21"/>
          </p:nvPr>
        </p:nvSpPr>
        <p:spPr>
          <a:xfrm>
            <a:off x="9129796"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83894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98DF-9646-5ACB-B784-F0975AB0C76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F3F2748-C2A9-A626-4A32-968337790DA0}"/>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4" name="Footer Placeholder 3">
            <a:extLst>
              <a:ext uri="{FF2B5EF4-FFF2-40B4-BE49-F238E27FC236}">
                <a16:creationId xmlns:a16="http://schemas.microsoft.com/office/drawing/2014/main" id="{34BE13D4-7E73-01DA-BA67-40C171897AE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6F6B44F-0586-FEA8-1941-E7182667932D}"/>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32633161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480124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b="1" i="0" spc="-50" baseline="0">
                <a:solidFill>
                  <a:schemeClr val="tx1"/>
                </a:solidFill>
                <a:latin typeface="Segoe Sans Display Semibold" pitchFamily="2" charset="0"/>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b="0" i="0" spc="0" baseline="0">
                <a:solidFill>
                  <a:schemeClr val="tx1"/>
                </a:solidFill>
                <a:latin typeface="Segoe Sans Display" pitchFamily="2" charset="0"/>
                <a:cs typeface="Segoe Sans Display" pitchFamily="2"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8747917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Section Title 01">
    <p:bg>
      <p:bgPr>
        <a:gradFill>
          <a:gsLst>
            <a:gs pos="99000">
              <a:schemeClr val="accent1">
                <a:lumMod val="20000"/>
                <a:lumOff val="80000"/>
              </a:schemeClr>
            </a:gs>
            <a:gs pos="0">
              <a:schemeClr val="bg1"/>
            </a:gs>
          </a:gsLst>
          <a:lin ang="1800000" scaled="0"/>
        </a:gra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5B056EE6-8FF4-ED3B-72AE-29D8484DD8DD}"/>
              </a:ext>
            </a:extLst>
          </p:cNvPr>
          <p:cNvSpPr>
            <a:spLocks noGrp="1"/>
          </p:cNvSpPr>
          <p:nvPr>
            <p:ph type="title" hasCustomPrompt="1"/>
          </p:nvPr>
        </p:nvSpPr>
        <p:spPr>
          <a:xfrm>
            <a:off x="5636121" y="4870058"/>
            <a:ext cx="5591321" cy="1276108"/>
          </a:xfrm>
        </p:spPr>
        <p:txBody>
          <a:bodyPr anchor="t">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7" name="Text Placeholder 7">
            <a:extLst>
              <a:ext uri="{FF2B5EF4-FFF2-40B4-BE49-F238E27FC236}">
                <a16:creationId xmlns:a16="http://schemas.microsoft.com/office/drawing/2014/main" id="{E3733436-4383-9F44-FE9E-7AB0F97BE752}"/>
              </a:ext>
            </a:extLst>
          </p:cNvPr>
          <p:cNvSpPr>
            <a:spLocks noGrp="1"/>
          </p:cNvSpPr>
          <p:nvPr>
            <p:ph type="body" sz="quarter" idx="10" hasCustomPrompt="1"/>
          </p:nvPr>
        </p:nvSpPr>
        <p:spPr>
          <a:xfrm>
            <a:off x="964557" y="1456893"/>
            <a:ext cx="4213935" cy="7017306"/>
          </a:xfrm>
        </p:spPr>
        <p:txBody>
          <a:bodyPr wrap="square" anchor="ctr" anchorCtr="0">
            <a:spAutoFit/>
          </a:bodyPr>
          <a:lstStyle>
            <a:lvl1pPr marL="0" indent="0" algn="r">
              <a:buNone/>
              <a:defRPr sz="50000" b="1">
                <a:solidFill>
                  <a:schemeClr val="tx2"/>
                </a:solidFill>
                <a:latin typeface="+mj-lt"/>
              </a:defRPr>
            </a:lvl1pPr>
          </a:lstStyle>
          <a:p>
            <a:pPr lvl="0"/>
            <a:r>
              <a:rPr lang="en-US"/>
              <a:t>0</a:t>
            </a:r>
          </a:p>
        </p:txBody>
      </p:sp>
    </p:spTree>
    <p:extLst>
      <p:ext uri="{BB962C8B-B14F-4D97-AF65-F5344CB8AC3E}">
        <p14:creationId xmlns:p14="http://schemas.microsoft.com/office/powerpoint/2010/main" val="11942041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Picture 18" hidden="1">
            <a:extLst>
              <a:ext uri="{FF2B5EF4-FFF2-40B4-BE49-F238E27FC236}">
                <a16:creationId xmlns:a16="http://schemas.microsoft.com/office/drawing/2014/main" id="{8465FA00-B550-B893-E18C-F6A577D61CDA}"/>
              </a:ext>
            </a:extLst>
          </p:cNvPr>
          <p:cNvPicPr>
            <a:picLocks noChangeAspect="1"/>
          </p:cNvPicPr>
          <p:nvPr userDrawn="1"/>
        </p:nvPicPr>
        <p:blipFill>
          <a:blip r:embed="rId3"/>
          <a:stretch>
            <a:fillRect/>
          </a:stretch>
        </p:blipFill>
        <p:spPr>
          <a:xfrm>
            <a:off x="6009741" y="0"/>
            <a:ext cx="6182259" cy="6858000"/>
          </a:xfrm>
          <a:prstGeom prst="rect">
            <a:avLst/>
          </a:prstGeom>
          <a:effectLst>
            <a:outerShdw blurRad="1270000" dist="596900" dir="10800000" algn="r" rotWithShape="0">
              <a:srgbClr val="665895">
                <a:alpha val="25000"/>
              </a:srgbClr>
            </a:outerShdw>
          </a:effectLst>
        </p:spPr>
      </p:pic>
      <p:grpSp>
        <p:nvGrpSpPr>
          <p:cNvPr id="2" name="Group 1">
            <a:extLst>
              <a:ext uri="{FF2B5EF4-FFF2-40B4-BE49-F238E27FC236}">
                <a16:creationId xmlns:a16="http://schemas.microsoft.com/office/drawing/2014/main" id="{BBF7DC75-A079-03F0-3239-7C682AB358CF}"/>
              </a:ext>
            </a:extLst>
          </p:cNvPr>
          <p:cNvGrpSpPr/>
          <p:nvPr userDrawn="1"/>
        </p:nvGrpSpPr>
        <p:grpSpPr>
          <a:xfrm>
            <a:off x="407459" y="6457261"/>
            <a:ext cx="1498506" cy="192755"/>
            <a:chOff x="611188" y="9429750"/>
            <a:chExt cx="3412172" cy="438912"/>
          </a:xfrm>
        </p:grpSpPr>
        <p:pic>
          <p:nvPicPr>
            <p:cNvPr id="3" name="Graphic 2">
              <a:extLst>
                <a:ext uri="{FF2B5EF4-FFF2-40B4-BE49-F238E27FC236}">
                  <a16:creationId xmlns:a16="http://schemas.microsoft.com/office/drawing/2014/main" id="{39D429D4-0F55-5054-83BA-1CD241D522D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94240" y="9463695"/>
              <a:ext cx="929120" cy="371022"/>
            </a:xfrm>
            <a:prstGeom prst="rect">
              <a:avLst/>
            </a:prstGeom>
          </p:spPr>
        </p:pic>
        <p:pic>
          <p:nvPicPr>
            <p:cNvPr id="4" name="MS logo gray - EMF" descr="Microsoft logo, gray text version">
              <a:extLst>
                <a:ext uri="{FF2B5EF4-FFF2-40B4-BE49-F238E27FC236}">
                  <a16:creationId xmlns:a16="http://schemas.microsoft.com/office/drawing/2014/main" id="{F1D61FA6-D4B8-5BFC-B18D-6079DA6C82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611188" y="9429750"/>
              <a:ext cx="2049661" cy="438912"/>
            </a:xfrm>
            <a:prstGeom prst="rect">
              <a:avLst/>
            </a:prstGeom>
          </p:spPr>
        </p:pic>
      </p:grpSp>
    </p:spTree>
    <p:extLst>
      <p:ext uri="{BB962C8B-B14F-4D97-AF65-F5344CB8AC3E}">
        <p14:creationId xmlns:p14="http://schemas.microsoft.com/office/powerpoint/2010/main" val="138601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BF7E0-44A3-490B-D1B7-7BB106A2EC6E}"/>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04D21A90-3772-532B-E57D-C6F735E3FE4A}"/>
              </a:ext>
            </a:extLst>
          </p:cNvPr>
          <p:cNvSpPr>
            <a:spLocks noGrp="1"/>
          </p:cNvSpPr>
          <p:nvPr>
            <p:ph type="sldNum" sz="quarter" idx="12"/>
          </p:nvPr>
        </p:nvSpPr>
        <p:spPr/>
        <p:txBody>
          <a:bodyPr/>
          <a:lstStyle/>
          <a:p>
            <a:fld id="{233D4A36-D76C-44EA-9FDE-2894947B33B6}" type="slidenum">
              <a:rPr lang="en-GB" smtClean="0"/>
              <a:t>‹#›</a:t>
            </a:fld>
            <a:endParaRPr lang="en-GB"/>
          </a:p>
        </p:txBody>
      </p:sp>
      <p:pic>
        <p:nvPicPr>
          <p:cNvPr id="14" name="Picture 13" descr="A picture containing shape&#10;&#10;Description automatically generated">
            <a:extLst>
              <a:ext uri="{FF2B5EF4-FFF2-40B4-BE49-F238E27FC236}">
                <a16:creationId xmlns:a16="http://schemas.microsoft.com/office/drawing/2014/main" id="{96C65B6B-50B0-8CF7-DC3F-D3B9D04A09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64" t="42565" r="13659" b="30996"/>
          <a:stretch/>
        </p:blipFill>
        <p:spPr>
          <a:xfrm rot="10800000" flipH="1" flipV="1">
            <a:off x="3748672" y="5110096"/>
            <a:ext cx="8443329" cy="1747904"/>
          </a:xfrm>
          <a:prstGeom prst="rect">
            <a:avLst/>
          </a:prstGeom>
        </p:spPr>
      </p:pic>
    </p:spTree>
    <p:extLst>
      <p:ext uri="{BB962C8B-B14F-4D97-AF65-F5344CB8AC3E}">
        <p14:creationId xmlns:p14="http://schemas.microsoft.com/office/powerpoint/2010/main" val="284693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01">
    <p:spTree>
      <p:nvGrpSpPr>
        <p:cNvPr id="1" name=""/>
        <p:cNvGrpSpPr/>
        <p:nvPr/>
      </p:nvGrpSpPr>
      <p:grpSpPr>
        <a:xfrm>
          <a:off x="0" y="0"/>
          <a:ext cx="0" cy="0"/>
          <a:chOff x="0" y="0"/>
          <a:chExt cx="0" cy="0"/>
        </a:xfrm>
      </p:grpSpPr>
      <p:pic>
        <p:nvPicPr>
          <p:cNvPr id="2" name="MS logo gray - EMF" descr="Microsoft logo, gray text version">
            <a:extLst>
              <a:ext uri="{FF2B5EF4-FFF2-40B4-BE49-F238E27FC236}">
                <a16:creationId xmlns:a16="http://schemas.microsoft.com/office/drawing/2014/main" id="{06C58DD8-E3B4-AB41-0F5B-4E6A327DC0DD}"/>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sp>
        <p:nvSpPr>
          <p:cNvPr id="13" name="Title 1">
            <a:extLst>
              <a:ext uri="{FF2B5EF4-FFF2-40B4-BE49-F238E27FC236}">
                <a16:creationId xmlns:a16="http://schemas.microsoft.com/office/drawing/2014/main" id="{52720A47-D84A-2526-0AE8-1959EB528E58}"/>
              </a:ext>
            </a:extLst>
          </p:cNvPr>
          <p:cNvSpPr>
            <a:spLocks noGrp="1"/>
          </p:cNvSpPr>
          <p:nvPr>
            <p:ph type="title" hasCustomPrompt="1"/>
          </p:nvPr>
        </p:nvSpPr>
        <p:spPr>
          <a:xfrm>
            <a:off x="5094514" y="2589149"/>
            <a:ext cx="6525986" cy="1446550"/>
          </a:xfrm>
          <a:prstGeom prst="rect">
            <a:avLst/>
          </a:prstGeo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1"/>
                </a:solidFill>
                <a:effectLst/>
                <a:latin typeface="Segoe Sans Display" pitchFamily="2" charset="0"/>
                <a:ea typeface="+mn-ea"/>
                <a:cs typeface="Segoe Sans Display" pitchFamily="2" charset="0"/>
              </a:defRPr>
            </a:lvl1pPr>
          </a:lstStyle>
          <a:p>
            <a:r>
              <a:rPr lang="en-US"/>
              <a:t>Event name or presentation title </a:t>
            </a:r>
          </a:p>
        </p:txBody>
      </p:sp>
      <p:sp>
        <p:nvSpPr>
          <p:cNvPr id="14" name="Subtitle 2">
            <a:extLst>
              <a:ext uri="{FF2B5EF4-FFF2-40B4-BE49-F238E27FC236}">
                <a16:creationId xmlns:a16="http://schemas.microsoft.com/office/drawing/2014/main" id="{F05DE4C8-8E68-D573-218A-E5B85D7FD016}"/>
              </a:ext>
            </a:extLst>
          </p:cNvPr>
          <p:cNvSpPr>
            <a:spLocks noGrp="1"/>
          </p:cNvSpPr>
          <p:nvPr>
            <p:ph type="subTitle" idx="1" hasCustomPrompt="1"/>
          </p:nvPr>
        </p:nvSpPr>
        <p:spPr>
          <a:xfrm>
            <a:off x="5094513" y="4220271"/>
            <a:ext cx="6525985" cy="817719"/>
          </a:xfrm>
          <a:prstGeom prst="rect">
            <a:avLst/>
          </a:prstGeom>
        </p:spPr>
        <p:txBody>
          <a:bodyPr>
            <a:noAutofit/>
          </a:bodyPr>
          <a:lstStyle>
            <a:lvl1pPr marL="0" indent="0" algn="l">
              <a:buNone/>
              <a:defRPr sz="2000" b="0" i="0">
                <a:solidFill>
                  <a:schemeClr val="accent5"/>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E77D85F9-50EE-E4F6-10A2-90A73D1D23C9}"/>
              </a:ext>
            </a:extLst>
          </p:cNvPr>
          <p:cNvPicPr>
            <a:picLocks noChangeAspect="1"/>
          </p:cNvPicPr>
          <p:nvPr userDrawn="1"/>
        </p:nvPicPr>
        <p:blipFill rotWithShape="1">
          <a:blip r:embed="rId3"/>
          <a:srcRect l="27070" t="-133" r="20426" b="36090"/>
          <a:stretch/>
        </p:blipFill>
        <p:spPr>
          <a:xfrm>
            <a:off x="1" y="756661"/>
            <a:ext cx="4994910" cy="6101339"/>
          </a:xfrm>
          <a:prstGeom prst="rect">
            <a:avLst/>
          </a:prstGeom>
        </p:spPr>
      </p:pic>
      <p:sp>
        <p:nvSpPr>
          <p:cNvPr id="17" name="Text Box 3" descr="This is a copyright notice that should be included on the final slide.">
            <a:extLst>
              <a:ext uri="{FF2B5EF4-FFF2-40B4-BE49-F238E27FC236}">
                <a16:creationId xmlns:a16="http://schemas.microsoft.com/office/drawing/2014/main" id="{FE5F0080-88AF-D36E-48F6-1BE256490DA3}"/>
              </a:ext>
            </a:extLst>
          </p:cNvPr>
          <p:cNvSpPr txBox="1">
            <a:spLocks noChangeArrowheads="1"/>
          </p:cNvSpPr>
          <p:nvPr userDrawn="1"/>
        </p:nvSpPr>
        <p:spPr bwMode="blackWhite">
          <a:xfrm>
            <a:off x="5094513" y="5222562"/>
            <a:ext cx="2286000"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Segoe Sans Text" panose="020F0502020204030204"/>
                <a:ea typeface="+mn-ea"/>
                <a:cs typeface="Segoe UI" pitchFamily="34" charset="0"/>
              </a:rPr>
              <a:t>© Copyright Microsoft Corporation. All rights reserved. </a:t>
            </a:r>
          </a:p>
        </p:txBody>
      </p:sp>
    </p:spTree>
    <p:extLst>
      <p:ext uri="{BB962C8B-B14F-4D97-AF65-F5344CB8AC3E}">
        <p14:creationId xmlns:p14="http://schemas.microsoft.com/office/powerpoint/2010/main" val="347295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02">
    <p:spTree>
      <p:nvGrpSpPr>
        <p:cNvPr id="1" name=""/>
        <p:cNvGrpSpPr/>
        <p:nvPr/>
      </p:nvGrpSpPr>
      <p:grpSpPr>
        <a:xfrm>
          <a:off x="0" y="0"/>
          <a:ext cx="0" cy="0"/>
          <a:chOff x="0" y="0"/>
          <a:chExt cx="0" cy="0"/>
        </a:xfrm>
      </p:grpSpPr>
      <p:pic>
        <p:nvPicPr>
          <p:cNvPr id="2" name="MS logo gray - EMF" descr="Microsoft logo, gray text version">
            <a:extLst>
              <a:ext uri="{FF2B5EF4-FFF2-40B4-BE49-F238E27FC236}">
                <a16:creationId xmlns:a16="http://schemas.microsoft.com/office/drawing/2014/main" id="{06C58DD8-E3B4-AB41-0F5B-4E6A327DC0DD}"/>
              </a:ext>
            </a:extLst>
          </p:cNvPr>
          <p:cNvPicPr>
            <a:picLocks noChangeAspect="1"/>
          </p:cNvPicPr>
          <p:nvPr userDrawn="1"/>
        </p:nvPicPr>
        <p:blipFill>
          <a:blip r:embed="rId2"/>
          <a:stretch>
            <a:fillRect/>
          </a:stretch>
        </p:blipFill>
        <p:spPr bwMode="black">
          <a:xfrm>
            <a:off x="563563" y="485375"/>
            <a:ext cx="1326124" cy="283975"/>
          </a:xfrm>
          <a:prstGeom prst="rect">
            <a:avLst/>
          </a:prstGeom>
        </p:spPr>
      </p:pic>
      <p:sp>
        <p:nvSpPr>
          <p:cNvPr id="13" name="Title 1">
            <a:extLst>
              <a:ext uri="{FF2B5EF4-FFF2-40B4-BE49-F238E27FC236}">
                <a16:creationId xmlns:a16="http://schemas.microsoft.com/office/drawing/2014/main" id="{52720A47-D84A-2526-0AE8-1959EB528E58}"/>
              </a:ext>
            </a:extLst>
          </p:cNvPr>
          <p:cNvSpPr>
            <a:spLocks noGrp="1"/>
          </p:cNvSpPr>
          <p:nvPr>
            <p:ph type="title" hasCustomPrompt="1"/>
          </p:nvPr>
        </p:nvSpPr>
        <p:spPr>
          <a:xfrm>
            <a:off x="563563" y="2705725"/>
            <a:ext cx="6873557" cy="1446550"/>
          </a:xfrm>
          <a:prstGeom prst="rect">
            <a:avLst/>
          </a:prstGeo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1"/>
                </a:solidFill>
                <a:effectLst/>
                <a:latin typeface="Segoe Sans Display" pitchFamily="2" charset="0"/>
                <a:ea typeface="+mn-ea"/>
                <a:cs typeface="Segoe Sans Display" pitchFamily="2" charset="0"/>
              </a:defRPr>
            </a:lvl1pPr>
          </a:lstStyle>
          <a:p>
            <a:r>
              <a:rPr lang="en-US"/>
              <a:t>Event name or presentation title </a:t>
            </a:r>
          </a:p>
        </p:txBody>
      </p:sp>
      <p:sp>
        <p:nvSpPr>
          <p:cNvPr id="14" name="Subtitle 2">
            <a:extLst>
              <a:ext uri="{FF2B5EF4-FFF2-40B4-BE49-F238E27FC236}">
                <a16:creationId xmlns:a16="http://schemas.microsoft.com/office/drawing/2014/main" id="{F05DE4C8-8E68-D573-218A-E5B85D7FD016}"/>
              </a:ext>
            </a:extLst>
          </p:cNvPr>
          <p:cNvSpPr>
            <a:spLocks noGrp="1"/>
          </p:cNvSpPr>
          <p:nvPr>
            <p:ph type="subTitle" idx="1" hasCustomPrompt="1"/>
          </p:nvPr>
        </p:nvSpPr>
        <p:spPr>
          <a:xfrm>
            <a:off x="563564" y="4535029"/>
            <a:ext cx="6873556" cy="817719"/>
          </a:xfrm>
          <a:prstGeom prst="rect">
            <a:avLst/>
          </a:prstGeom>
        </p:spPr>
        <p:txBody>
          <a:bodyPr>
            <a:noAutofit/>
          </a:bodyPr>
          <a:lstStyle>
            <a:lvl1pPr marL="0" indent="0" algn="l">
              <a:buNone/>
              <a:defRPr sz="2000" b="0" i="0">
                <a:solidFill>
                  <a:schemeClr val="accent5"/>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Box 3" descr="This is a copyright notice that should be included on the final slide.">
            <a:extLst>
              <a:ext uri="{FF2B5EF4-FFF2-40B4-BE49-F238E27FC236}">
                <a16:creationId xmlns:a16="http://schemas.microsoft.com/office/drawing/2014/main" id="{FE5F0080-88AF-D36E-48F6-1BE256490DA3}"/>
              </a:ext>
            </a:extLst>
          </p:cNvPr>
          <p:cNvSpPr txBox="1">
            <a:spLocks noChangeArrowheads="1"/>
          </p:cNvSpPr>
          <p:nvPr userDrawn="1"/>
        </p:nvSpPr>
        <p:spPr bwMode="blackWhite">
          <a:xfrm>
            <a:off x="567531" y="6553223"/>
            <a:ext cx="2286000"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r"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Segoe Sans Text" panose="020F0502020204030204"/>
                <a:ea typeface="+mn-ea"/>
                <a:cs typeface="Segoe UI" pitchFamily="34" charset="0"/>
              </a:rPr>
              <a:t>© Copyright Microsoft Corporation. All rights reserved. </a:t>
            </a:r>
          </a:p>
        </p:txBody>
      </p:sp>
      <p:sp>
        <p:nvSpPr>
          <p:cNvPr id="36" name="Picture Placeholder 35">
            <a:extLst>
              <a:ext uri="{FF2B5EF4-FFF2-40B4-BE49-F238E27FC236}">
                <a16:creationId xmlns:a16="http://schemas.microsoft.com/office/drawing/2014/main" id="{98A5C00C-82BE-DF33-D972-A0B61DDFFDCA}"/>
              </a:ext>
            </a:extLst>
          </p:cNvPr>
          <p:cNvSpPr>
            <a:spLocks noGrp="1"/>
          </p:cNvSpPr>
          <p:nvPr>
            <p:ph type="pic" sz="quarter" idx="10"/>
          </p:nvPr>
        </p:nvSpPr>
        <p:spPr>
          <a:xfrm>
            <a:off x="7974956" y="0"/>
            <a:ext cx="4217043" cy="6858000"/>
          </a:xfrm>
        </p:spPr>
        <p:txBody>
          <a:bodyPr/>
          <a:lstStyle/>
          <a:p>
            <a:endParaRPr lang="en-US"/>
          </a:p>
        </p:txBody>
      </p:sp>
      <p:cxnSp>
        <p:nvCxnSpPr>
          <p:cNvPr id="37" name="Straight Connector 36">
            <a:extLst>
              <a:ext uri="{FF2B5EF4-FFF2-40B4-BE49-F238E27FC236}">
                <a16:creationId xmlns:a16="http://schemas.microsoft.com/office/drawing/2014/main" id="{989BD950-30CF-1466-698A-547F6D2F3855}"/>
              </a:ext>
            </a:extLst>
          </p:cNvPr>
          <p:cNvCxnSpPr>
            <a:cxnSpLocks/>
          </p:cNvCxnSpPr>
          <p:nvPr userDrawn="1"/>
        </p:nvCxnSpPr>
        <p:spPr>
          <a:xfrm>
            <a:off x="649927" y="4328453"/>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61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C / Agenda">
    <p:spTree>
      <p:nvGrpSpPr>
        <p:cNvPr id="1" name=""/>
        <p:cNvGrpSpPr/>
        <p:nvPr/>
      </p:nvGrpSpPr>
      <p:grpSpPr>
        <a:xfrm>
          <a:off x="0" y="0"/>
          <a:ext cx="0" cy="0"/>
          <a:chOff x="0" y="0"/>
          <a:chExt cx="0" cy="0"/>
        </a:xfrm>
      </p:grpSpPr>
      <p:sp>
        <p:nvSpPr>
          <p:cNvPr id="34" name="Rectangle: Rounded Corners 133">
            <a:extLst>
              <a:ext uri="{FF2B5EF4-FFF2-40B4-BE49-F238E27FC236}">
                <a16:creationId xmlns:a16="http://schemas.microsoft.com/office/drawing/2014/main" id="{59067B09-4DD6-2CBC-7F5A-AA075F5814CF}"/>
              </a:ext>
              <a:ext uri="{C183D7F6-B498-43B3-948B-1728B52AA6E4}">
                <adec:decorative xmlns:adec="http://schemas.microsoft.com/office/drawing/2017/decorative" val="1"/>
              </a:ext>
            </a:extLst>
          </p:cNvPr>
          <p:cNvSpPr/>
          <p:nvPr userDrawn="1"/>
        </p:nvSpPr>
        <p:spPr bwMode="auto">
          <a:xfrm>
            <a:off x="3865945" y="451413"/>
            <a:ext cx="7442522" cy="6007260"/>
          </a:xfrm>
          <a:prstGeom prst="roundRect">
            <a:avLst>
              <a:gd name="adj" fmla="val 5229"/>
            </a:avLst>
          </a:prstGeom>
          <a:solidFill>
            <a:schemeClr val="bg1">
              <a:lumMod val="50000"/>
              <a:lumOff val="50000"/>
              <a:alpha val="9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5" name="Rectangle: Rounded Corners 16">
            <a:extLst>
              <a:ext uri="{FF2B5EF4-FFF2-40B4-BE49-F238E27FC236}">
                <a16:creationId xmlns:a16="http://schemas.microsoft.com/office/drawing/2014/main" id="{82CF1452-1039-F9DB-4423-AD434BDA7FD9}"/>
              </a:ext>
              <a:ext uri="{C183D7F6-B498-43B3-948B-1728B52AA6E4}">
                <adec:decorative xmlns:adec="http://schemas.microsoft.com/office/drawing/2017/decorative" val="1"/>
              </a:ext>
            </a:extLst>
          </p:cNvPr>
          <p:cNvSpPr>
            <a:spLocks/>
          </p:cNvSpPr>
          <p:nvPr userDrawn="1"/>
        </p:nvSpPr>
        <p:spPr bwMode="auto">
          <a:xfrm>
            <a:off x="4085864" y="669814"/>
            <a:ext cx="7002684" cy="5570459"/>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3" name="Text Placeholder 102">
            <a:extLst>
              <a:ext uri="{FF2B5EF4-FFF2-40B4-BE49-F238E27FC236}">
                <a16:creationId xmlns:a16="http://schemas.microsoft.com/office/drawing/2014/main" id="{CCA6DED0-E4E8-39F1-3DDC-520585B8247C}"/>
              </a:ext>
            </a:extLst>
          </p:cNvPr>
          <p:cNvSpPr>
            <a:spLocks noGrp="1"/>
          </p:cNvSpPr>
          <p:nvPr>
            <p:ph type="body" sz="quarter" idx="22" hasCustomPrompt="1"/>
          </p:nvPr>
        </p:nvSpPr>
        <p:spPr>
          <a:xfrm>
            <a:off x="7851102" y="2698367"/>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6</a:t>
            </a:r>
          </a:p>
        </p:txBody>
      </p:sp>
      <p:sp>
        <p:nvSpPr>
          <p:cNvPr id="5" name="Text Placeholder 102">
            <a:extLst>
              <a:ext uri="{FF2B5EF4-FFF2-40B4-BE49-F238E27FC236}">
                <a16:creationId xmlns:a16="http://schemas.microsoft.com/office/drawing/2014/main" id="{C407FF1F-2401-E955-68A6-0CFAE2AB1DD5}"/>
              </a:ext>
            </a:extLst>
          </p:cNvPr>
          <p:cNvSpPr>
            <a:spLocks noGrp="1"/>
          </p:cNvSpPr>
          <p:nvPr>
            <p:ph type="body" sz="quarter" idx="26" hasCustomPrompt="1"/>
          </p:nvPr>
        </p:nvSpPr>
        <p:spPr>
          <a:xfrm>
            <a:off x="7848283" y="1302059"/>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5</a:t>
            </a:r>
          </a:p>
        </p:txBody>
      </p:sp>
      <p:sp>
        <p:nvSpPr>
          <p:cNvPr id="7" name="Text Placeholder 102">
            <a:extLst>
              <a:ext uri="{FF2B5EF4-FFF2-40B4-BE49-F238E27FC236}">
                <a16:creationId xmlns:a16="http://schemas.microsoft.com/office/drawing/2014/main" id="{79BA467C-00FD-FFE5-B6B3-257AD807C32C}"/>
              </a:ext>
            </a:extLst>
          </p:cNvPr>
          <p:cNvSpPr>
            <a:spLocks noGrp="1"/>
          </p:cNvSpPr>
          <p:nvPr>
            <p:ph type="body" sz="quarter" idx="29" hasCustomPrompt="1"/>
          </p:nvPr>
        </p:nvSpPr>
        <p:spPr>
          <a:xfrm>
            <a:off x="4409669" y="1302059"/>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1</a:t>
            </a:r>
          </a:p>
        </p:txBody>
      </p:sp>
      <p:sp>
        <p:nvSpPr>
          <p:cNvPr id="9" name="Text Placeholder 102">
            <a:extLst>
              <a:ext uri="{FF2B5EF4-FFF2-40B4-BE49-F238E27FC236}">
                <a16:creationId xmlns:a16="http://schemas.microsoft.com/office/drawing/2014/main" id="{B07E0235-FC5D-C1A5-0D05-82C90DAE7154}"/>
              </a:ext>
            </a:extLst>
          </p:cNvPr>
          <p:cNvSpPr>
            <a:spLocks noGrp="1"/>
          </p:cNvSpPr>
          <p:nvPr>
            <p:ph type="body" sz="quarter" idx="32" hasCustomPrompt="1"/>
          </p:nvPr>
        </p:nvSpPr>
        <p:spPr>
          <a:xfrm>
            <a:off x="4409669" y="2698367"/>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2</a:t>
            </a:r>
          </a:p>
        </p:txBody>
      </p:sp>
      <p:sp>
        <p:nvSpPr>
          <p:cNvPr id="13" name="Text Placeholder 102">
            <a:extLst>
              <a:ext uri="{FF2B5EF4-FFF2-40B4-BE49-F238E27FC236}">
                <a16:creationId xmlns:a16="http://schemas.microsoft.com/office/drawing/2014/main" id="{15EC97A3-A696-A850-DAC3-9B7F156D6435}"/>
              </a:ext>
            </a:extLst>
          </p:cNvPr>
          <p:cNvSpPr>
            <a:spLocks noGrp="1"/>
          </p:cNvSpPr>
          <p:nvPr>
            <p:ph type="body" sz="quarter" idx="35" hasCustomPrompt="1"/>
          </p:nvPr>
        </p:nvSpPr>
        <p:spPr>
          <a:xfrm>
            <a:off x="4409669" y="4078384"/>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3</a:t>
            </a:r>
          </a:p>
        </p:txBody>
      </p:sp>
      <p:sp>
        <p:nvSpPr>
          <p:cNvPr id="15" name="Text Placeholder 102">
            <a:extLst>
              <a:ext uri="{FF2B5EF4-FFF2-40B4-BE49-F238E27FC236}">
                <a16:creationId xmlns:a16="http://schemas.microsoft.com/office/drawing/2014/main" id="{676A4AA1-3572-4723-1C95-164DF0BCD503}"/>
              </a:ext>
            </a:extLst>
          </p:cNvPr>
          <p:cNvSpPr>
            <a:spLocks noGrp="1"/>
          </p:cNvSpPr>
          <p:nvPr>
            <p:ph type="body" sz="quarter" idx="38" hasCustomPrompt="1"/>
          </p:nvPr>
        </p:nvSpPr>
        <p:spPr>
          <a:xfrm>
            <a:off x="4409669" y="5500330"/>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4</a:t>
            </a:r>
          </a:p>
        </p:txBody>
      </p:sp>
      <p:sp>
        <p:nvSpPr>
          <p:cNvPr id="17" name="Text Placeholder 102">
            <a:extLst>
              <a:ext uri="{FF2B5EF4-FFF2-40B4-BE49-F238E27FC236}">
                <a16:creationId xmlns:a16="http://schemas.microsoft.com/office/drawing/2014/main" id="{3C367C00-132C-8896-2D13-153A6C7925AD}"/>
              </a:ext>
            </a:extLst>
          </p:cNvPr>
          <p:cNvSpPr>
            <a:spLocks noGrp="1"/>
          </p:cNvSpPr>
          <p:nvPr>
            <p:ph type="body" sz="quarter" idx="41" hasCustomPrompt="1"/>
          </p:nvPr>
        </p:nvSpPr>
        <p:spPr>
          <a:xfrm>
            <a:off x="7845464" y="4078384"/>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7</a:t>
            </a:r>
          </a:p>
        </p:txBody>
      </p:sp>
      <p:sp>
        <p:nvSpPr>
          <p:cNvPr id="21" name="Text Placeholder 102">
            <a:extLst>
              <a:ext uri="{FF2B5EF4-FFF2-40B4-BE49-F238E27FC236}">
                <a16:creationId xmlns:a16="http://schemas.microsoft.com/office/drawing/2014/main" id="{0051C787-FE09-A6FD-658C-A2AA371B60A0}"/>
              </a:ext>
            </a:extLst>
          </p:cNvPr>
          <p:cNvSpPr>
            <a:spLocks noGrp="1"/>
          </p:cNvSpPr>
          <p:nvPr>
            <p:ph type="body" sz="quarter" idx="45" hasCustomPrompt="1"/>
          </p:nvPr>
        </p:nvSpPr>
        <p:spPr>
          <a:xfrm>
            <a:off x="7845464" y="5500330"/>
            <a:ext cx="2939336" cy="491539"/>
          </a:xfrm>
          <a:prstGeom prst="rect">
            <a:avLst/>
          </a:prstGeom>
        </p:spPr>
        <p:txBody>
          <a:bodyPr>
            <a:noAutofit/>
          </a:bodyPr>
          <a:lstStyle>
            <a:lvl1pPr marL="0" indent="0">
              <a:buNone/>
              <a:defRPr sz="1600" b="0" i="0">
                <a:solidFill>
                  <a:schemeClr val="tx1"/>
                </a:solidFill>
                <a:latin typeface="+mn-lt"/>
                <a:cs typeface="Segoe Sans Text Light" pitchFamily="2" charset="0"/>
              </a:defRPr>
            </a:lvl1pPr>
          </a:lstStyle>
          <a:p>
            <a:pPr lvl="0"/>
            <a:r>
              <a:rPr lang="en-US"/>
              <a:t>Agenda item 8</a:t>
            </a:r>
          </a:p>
        </p:txBody>
      </p:sp>
      <p:sp>
        <p:nvSpPr>
          <p:cNvPr id="12" name="Text Placeholder 11">
            <a:extLst>
              <a:ext uri="{FF2B5EF4-FFF2-40B4-BE49-F238E27FC236}">
                <a16:creationId xmlns:a16="http://schemas.microsoft.com/office/drawing/2014/main" id="{6C4FB0E4-7942-3FC2-407F-B9500F035E5D}"/>
              </a:ext>
            </a:extLst>
          </p:cNvPr>
          <p:cNvSpPr>
            <a:spLocks noGrp="1"/>
          </p:cNvSpPr>
          <p:nvPr>
            <p:ph type="body" sz="quarter" idx="46" hasCustomPrompt="1"/>
          </p:nvPr>
        </p:nvSpPr>
        <p:spPr>
          <a:xfrm>
            <a:off x="4409669" y="863473"/>
            <a:ext cx="560387" cy="400050"/>
          </a:xfrm>
          <a:prstGeom prst="rect">
            <a:avLst/>
          </a:prstGeom>
        </p:spPr>
        <p:txBody>
          <a:bodyPr>
            <a:no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1</a:t>
            </a:r>
          </a:p>
        </p:txBody>
      </p:sp>
      <p:sp>
        <p:nvSpPr>
          <p:cNvPr id="20" name="Text Placeholder 11">
            <a:extLst>
              <a:ext uri="{FF2B5EF4-FFF2-40B4-BE49-F238E27FC236}">
                <a16:creationId xmlns:a16="http://schemas.microsoft.com/office/drawing/2014/main" id="{D063535B-A7D0-15D4-B5A1-594D2F4162A5}"/>
              </a:ext>
            </a:extLst>
          </p:cNvPr>
          <p:cNvSpPr>
            <a:spLocks noGrp="1"/>
          </p:cNvSpPr>
          <p:nvPr>
            <p:ph type="body" sz="quarter" idx="47" hasCustomPrompt="1"/>
          </p:nvPr>
        </p:nvSpPr>
        <p:spPr>
          <a:xfrm>
            <a:off x="7848606" y="863473"/>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5</a:t>
            </a:r>
          </a:p>
        </p:txBody>
      </p:sp>
      <p:sp>
        <p:nvSpPr>
          <p:cNvPr id="22" name="Text Placeholder 11">
            <a:extLst>
              <a:ext uri="{FF2B5EF4-FFF2-40B4-BE49-F238E27FC236}">
                <a16:creationId xmlns:a16="http://schemas.microsoft.com/office/drawing/2014/main" id="{8D9099A6-3B0A-9464-367E-D5A8E455A408}"/>
              </a:ext>
            </a:extLst>
          </p:cNvPr>
          <p:cNvSpPr>
            <a:spLocks noGrp="1"/>
          </p:cNvSpPr>
          <p:nvPr>
            <p:ph type="body" sz="quarter" idx="48" hasCustomPrompt="1"/>
          </p:nvPr>
        </p:nvSpPr>
        <p:spPr>
          <a:xfrm>
            <a:off x="4409669" y="2252425"/>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2</a:t>
            </a:r>
          </a:p>
        </p:txBody>
      </p:sp>
      <p:sp>
        <p:nvSpPr>
          <p:cNvPr id="23" name="Text Placeholder 11">
            <a:extLst>
              <a:ext uri="{FF2B5EF4-FFF2-40B4-BE49-F238E27FC236}">
                <a16:creationId xmlns:a16="http://schemas.microsoft.com/office/drawing/2014/main" id="{07AC5969-ACBC-CD3B-958B-C4688327203B}"/>
              </a:ext>
            </a:extLst>
          </p:cNvPr>
          <p:cNvSpPr>
            <a:spLocks noGrp="1"/>
          </p:cNvSpPr>
          <p:nvPr>
            <p:ph type="body" sz="quarter" idx="49" hasCustomPrompt="1"/>
          </p:nvPr>
        </p:nvSpPr>
        <p:spPr>
          <a:xfrm>
            <a:off x="7848606" y="2252425"/>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6</a:t>
            </a:r>
          </a:p>
        </p:txBody>
      </p:sp>
      <p:sp>
        <p:nvSpPr>
          <p:cNvPr id="24" name="Text Placeholder 11">
            <a:extLst>
              <a:ext uri="{FF2B5EF4-FFF2-40B4-BE49-F238E27FC236}">
                <a16:creationId xmlns:a16="http://schemas.microsoft.com/office/drawing/2014/main" id="{AB03BDC5-976E-FC84-E7E5-F83B89DAEC42}"/>
              </a:ext>
            </a:extLst>
          </p:cNvPr>
          <p:cNvSpPr>
            <a:spLocks noGrp="1"/>
          </p:cNvSpPr>
          <p:nvPr>
            <p:ph type="body" sz="quarter" idx="50" hasCustomPrompt="1"/>
          </p:nvPr>
        </p:nvSpPr>
        <p:spPr>
          <a:xfrm>
            <a:off x="4409669" y="3635926"/>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3</a:t>
            </a:r>
          </a:p>
        </p:txBody>
      </p:sp>
      <p:sp>
        <p:nvSpPr>
          <p:cNvPr id="25" name="Text Placeholder 11">
            <a:extLst>
              <a:ext uri="{FF2B5EF4-FFF2-40B4-BE49-F238E27FC236}">
                <a16:creationId xmlns:a16="http://schemas.microsoft.com/office/drawing/2014/main" id="{DD404668-7BFF-9D81-116D-D664F55583DC}"/>
              </a:ext>
            </a:extLst>
          </p:cNvPr>
          <p:cNvSpPr>
            <a:spLocks noGrp="1"/>
          </p:cNvSpPr>
          <p:nvPr>
            <p:ph type="body" sz="quarter" idx="51" hasCustomPrompt="1"/>
          </p:nvPr>
        </p:nvSpPr>
        <p:spPr>
          <a:xfrm>
            <a:off x="7848606" y="3635926"/>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7</a:t>
            </a:r>
          </a:p>
        </p:txBody>
      </p:sp>
      <p:sp>
        <p:nvSpPr>
          <p:cNvPr id="26" name="Text Placeholder 11">
            <a:extLst>
              <a:ext uri="{FF2B5EF4-FFF2-40B4-BE49-F238E27FC236}">
                <a16:creationId xmlns:a16="http://schemas.microsoft.com/office/drawing/2014/main" id="{EF450C48-9DBC-7E11-76BF-521C525AD0C0}"/>
              </a:ext>
            </a:extLst>
          </p:cNvPr>
          <p:cNvSpPr>
            <a:spLocks noGrp="1"/>
          </p:cNvSpPr>
          <p:nvPr>
            <p:ph type="body" sz="quarter" idx="52" hasCustomPrompt="1"/>
          </p:nvPr>
        </p:nvSpPr>
        <p:spPr>
          <a:xfrm>
            <a:off x="4409669" y="5058351"/>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4</a:t>
            </a:r>
          </a:p>
        </p:txBody>
      </p:sp>
      <p:sp>
        <p:nvSpPr>
          <p:cNvPr id="27" name="Text Placeholder 11">
            <a:extLst>
              <a:ext uri="{FF2B5EF4-FFF2-40B4-BE49-F238E27FC236}">
                <a16:creationId xmlns:a16="http://schemas.microsoft.com/office/drawing/2014/main" id="{C59416B7-40A3-0E61-131F-614A2055DC63}"/>
              </a:ext>
            </a:extLst>
          </p:cNvPr>
          <p:cNvSpPr>
            <a:spLocks noGrp="1"/>
          </p:cNvSpPr>
          <p:nvPr>
            <p:ph type="body" sz="quarter" idx="53" hasCustomPrompt="1"/>
          </p:nvPr>
        </p:nvSpPr>
        <p:spPr>
          <a:xfrm>
            <a:off x="7848606" y="5058351"/>
            <a:ext cx="560387" cy="400050"/>
          </a:xfrm>
          <a:prstGeom prst="rect">
            <a:avLst/>
          </a:prstGeom>
        </p:spPr>
        <p:txBody>
          <a:bodyPr>
            <a:normAutofit/>
          </a:bodyPr>
          <a:lstStyle>
            <a:lvl1pPr marL="0" indent="0">
              <a:buNone/>
              <a:defRPr lang="en-US" sz="2000" b="0" i="0" kern="1200" dirty="0">
                <a:solidFill>
                  <a:schemeClr val="accent4"/>
                </a:solidFill>
                <a:latin typeface="Segoe Sans Display" pitchFamily="2" charset="0"/>
                <a:ea typeface="+mn-ea"/>
                <a:cs typeface="Segoe Sans Display"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8</a:t>
            </a:r>
          </a:p>
        </p:txBody>
      </p:sp>
      <p:sp>
        <p:nvSpPr>
          <p:cNvPr id="2" name="Title 1">
            <a:extLst>
              <a:ext uri="{FF2B5EF4-FFF2-40B4-BE49-F238E27FC236}">
                <a16:creationId xmlns:a16="http://schemas.microsoft.com/office/drawing/2014/main" id="{6D6DCF47-8263-D7FB-6D76-B06C445275B0}"/>
              </a:ext>
            </a:extLst>
          </p:cNvPr>
          <p:cNvSpPr>
            <a:spLocks noGrp="1"/>
          </p:cNvSpPr>
          <p:nvPr>
            <p:ph type="title" hasCustomPrompt="1"/>
          </p:nvPr>
        </p:nvSpPr>
        <p:spPr>
          <a:xfrm>
            <a:off x="706056" y="863474"/>
            <a:ext cx="2671830" cy="560212"/>
          </a:xfrm>
        </p:spPr>
        <p:txBody>
          <a:bodyPr/>
          <a:lstStyle>
            <a:lvl1pPr algn="r">
              <a:defRPr>
                <a:solidFill>
                  <a:schemeClr val="accent1"/>
                </a:solidFill>
              </a:defRPr>
            </a:lvl1pPr>
          </a:lstStyle>
          <a:p>
            <a:r>
              <a:rPr lang="en-US"/>
              <a:t>Agenda</a:t>
            </a:r>
          </a:p>
        </p:txBody>
      </p:sp>
      <p:cxnSp>
        <p:nvCxnSpPr>
          <p:cNvPr id="36" name="Straight Connector 35">
            <a:extLst>
              <a:ext uri="{FF2B5EF4-FFF2-40B4-BE49-F238E27FC236}">
                <a16:creationId xmlns:a16="http://schemas.microsoft.com/office/drawing/2014/main" id="{706CAB99-EBC5-DEBF-D135-B9586671BB1E}"/>
              </a:ext>
            </a:extLst>
          </p:cNvPr>
          <p:cNvCxnSpPr>
            <a:cxnSpLocks/>
          </p:cNvCxnSpPr>
          <p:nvPr userDrawn="1"/>
        </p:nvCxnSpPr>
        <p:spPr>
          <a:xfrm>
            <a:off x="1256678" y="1457930"/>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20341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 name="Rectangle: Rounded Corners 27">
            <a:extLst>
              <a:ext uri="{FF2B5EF4-FFF2-40B4-BE49-F238E27FC236}">
                <a16:creationId xmlns:a16="http://schemas.microsoft.com/office/drawing/2014/main" id="{BEFBAED5-F4AB-1340-2A07-D328BFDC039D}"/>
              </a:ext>
              <a:ext uri="{C183D7F6-B498-43B3-948B-1728B52AA6E4}">
                <adec:decorative xmlns:adec="http://schemas.microsoft.com/office/drawing/2017/decorative" val="1"/>
              </a:ext>
            </a:extLst>
          </p:cNvPr>
          <p:cNvSpPr>
            <a:spLocks/>
          </p:cNvSpPr>
          <p:nvPr userDrawn="1"/>
        </p:nvSpPr>
        <p:spPr bwMode="auto">
          <a:xfrm>
            <a:off x="682906" y="1168645"/>
            <a:ext cx="10810280" cy="3495951"/>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4" name="Rectangle: Rounded Corners 16">
            <a:extLst>
              <a:ext uri="{FF2B5EF4-FFF2-40B4-BE49-F238E27FC236}">
                <a16:creationId xmlns:a16="http://schemas.microsoft.com/office/drawing/2014/main" id="{09A377BC-7962-B722-3469-76EF4FD9017A}"/>
              </a:ext>
              <a:ext uri="{C183D7F6-B498-43B3-948B-1728B52AA6E4}">
                <adec:decorative xmlns:adec="http://schemas.microsoft.com/office/drawing/2017/decorative" val="1"/>
              </a:ext>
            </a:extLst>
          </p:cNvPr>
          <p:cNvSpPr>
            <a:spLocks/>
          </p:cNvSpPr>
          <p:nvPr userDrawn="1"/>
        </p:nvSpPr>
        <p:spPr bwMode="auto">
          <a:xfrm>
            <a:off x="1004015" y="1403964"/>
            <a:ext cx="10168060" cy="3027508"/>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10" name="Text Placeholder 9">
            <a:extLst>
              <a:ext uri="{FF2B5EF4-FFF2-40B4-BE49-F238E27FC236}">
                <a16:creationId xmlns:a16="http://schemas.microsoft.com/office/drawing/2014/main" id="{BECF1D9E-5EB4-CADD-4286-56B5F02D8D70}"/>
              </a:ext>
            </a:extLst>
          </p:cNvPr>
          <p:cNvSpPr>
            <a:spLocks noGrp="1"/>
          </p:cNvSpPr>
          <p:nvPr>
            <p:ph type="body" sz="quarter" idx="12" hasCustomPrompt="1"/>
          </p:nvPr>
        </p:nvSpPr>
        <p:spPr>
          <a:xfrm>
            <a:off x="1273215" y="1608882"/>
            <a:ext cx="9653286" cy="2617672"/>
          </a:xfrm>
        </p:spPr>
        <p:txBody>
          <a:bodyPr anchor="ctr" anchorCtr="0">
            <a:normAutofit/>
          </a:bodyPr>
          <a:lstStyle>
            <a:lvl1pPr marL="0" indent="0">
              <a:buNone/>
              <a:defRPr sz="4400">
                <a:solidFill>
                  <a:schemeClr val="tx2"/>
                </a:solidFill>
              </a:defRPr>
            </a:lvl1pPr>
            <a:lvl2pPr>
              <a:defRPr sz="4400"/>
            </a:lvl2pPr>
            <a:lvl3pPr>
              <a:defRPr sz="4400"/>
            </a:lvl3pPr>
            <a:lvl4pPr>
              <a:defRPr sz="4400"/>
            </a:lvl4pPr>
            <a:lvl5pPr>
              <a:defRPr sz="4400"/>
            </a:lvl5pPr>
          </a:lstStyle>
          <a:p>
            <a:pPr lvl="0"/>
            <a:r>
              <a:rPr lang="en-US"/>
              <a:t>“Lorem ipsum dolor sit </a:t>
            </a:r>
            <a:r>
              <a:rPr lang="en-US" err="1"/>
              <a:t>amet</a:t>
            </a:r>
            <a:r>
              <a:rPr lang="en-US"/>
              <a:t>…”</a:t>
            </a:r>
          </a:p>
        </p:txBody>
      </p:sp>
      <p:sp>
        <p:nvSpPr>
          <p:cNvPr id="12" name="Text Placeholder 11">
            <a:extLst>
              <a:ext uri="{FF2B5EF4-FFF2-40B4-BE49-F238E27FC236}">
                <a16:creationId xmlns:a16="http://schemas.microsoft.com/office/drawing/2014/main" id="{3C00092C-1ABE-252C-7104-59F0833D10D2}"/>
              </a:ext>
            </a:extLst>
          </p:cNvPr>
          <p:cNvSpPr>
            <a:spLocks noGrp="1"/>
          </p:cNvSpPr>
          <p:nvPr>
            <p:ph type="body" sz="quarter" idx="13" hasCustomPrompt="1"/>
          </p:nvPr>
        </p:nvSpPr>
        <p:spPr>
          <a:xfrm>
            <a:off x="6096000" y="4780739"/>
            <a:ext cx="4114800" cy="457200"/>
          </a:xfrm>
        </p:spPr>
        <p:txBody>
          <a:bodyPr>
            <a:normAutofit/>
          </a:bodyPr>
          <a:lstStyle>
            <a:lvl1pPr marL="0" indent="0" algn="l">
              <a:buNone/>
              <a:defRPr sz="2400">
                <a:solidFill>
                  <a:schemeClr val="bg1"/>
                </a:solidFill>
              </a:defRPr>
            </a:lvl1pPr>
            <a:lvl2pPr>
              <a:defRPr sz="3200"/>
            </a:lvl2pPr>
            <a:lvl3pPr>
              <a:defRPr sz="3200"/>
            </a:lvl3pPr>
            <a:lvl4pPr>
              <a:defRPr sz="3200"/>
            </a:lvl4pPr>
            <a:lvl5pPr>
              <a:defRPr sz="3200"/>
            </a:lvl5pPr>
          </a:lstStyle>
          <a:p>
            <a:pPr lvl="0"/>
            <a:r>
              <a:rPr lang="en-US"/>
              <a:t>— attribution</a:t>
            </a:r>
          </a:p>
        </p:txBody>
      </p:sp>
      <p:sp>
        <p:nvSpPr>
          <p:cNvPr id="13" name="Text Placeholder 11">
            <a:extLst>
              <a:ext uri="{FF2B5EF4-FFF2-40B4-BE49-F238E27FC236}">
                <a16:creationId xmlns:a16="http://schemas.microsoft.com/office/drawing/2014/main" id="{203A5941-1746-BF93-71B3-DCF628D71D42}"/>
              </a:ext>
            </a:extLst>
          </p:cNvPr>
          <p:cNvSpPr>
            <a:spLocks noGrp="1"/>
          </p:cNvSpPr>
          <p:nvPr>
            <p:ph type="body" sz="quarter" idx="14" hasCustomPrompt="1"/>
          </p:nvPr>
        </p:nvSpPr>
        <p:spPr>
          <a:xfrm>
            <a:off x="6518245" y="5336364"/>
            <a:ext cx="3692553" cy="457200"/>
          </a:xfrm>
        </p:spPr>
        <p:txBody>
          <a:bodyPr>
            <a:normAutofit/>
          </a:bodyPr>
          <a:lstStyle>
            <a:lvl1pPr marL="0" indent="0" algn="l">
              <a:buNone/>
              <a:defRPr sz="1800">
                <a:solidFill>
                  <a:schemeClr val="bg1"/>
                </a:solidFill>
              </a:defRPr>
            </a:lvl1pPr>
            <a:lvl2pPr>
              <a:defRPr sz="3200"/>
            </a:lvl2pPr>
            <a:lvl3pPr>
              <a:defRPr sz="3200"/>
            </a:lvl3pPr>
            <a:lvl4pPr>
              <a:defRPr sz="3200"/>
            </a:lvl4pPr>
            <a:lvl5pPr>
              <a:defRPr sz="3200"/>
            </a:lvl5pPr>
          </a:lstStyle>
          <a:p>
            <a:pPr lvl="0"/>
            <a:r>
              <a:rPr lang="en-US"/>
              <a:t>title, </a:t>
            </a:r>
            <a:r>
              <a:rPr lang="en-US" err="1"/>
              <a:t>etc</a:t>
            </a:r>
            <a:endParaRPr lang="en-US"/>
          </a:p>
        </p:txBody>
      </p:sp>
    </p:spTree>
    <p:extLst>
      <p:ext uri="{BB962C8B-B14F-4D97-AF65-F5344CB8AC3E}">
        <p14:creationId xmlns:p14="http://schemas.microsoft.com/office/powerpoint/2010/main" val="34025658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01">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D35D410-D3A3-F3A3-E064-298353FFD458}"/>
              </a:ext>
            </a:extLst>
          </p:cNvPr>
          <p:cNvSpPr>
            <a:spLocks noGrp="1" noChangeAspect="1"/>
          </p:cNvSpPr>
          <p:nvPr>
            <p:ph type="pic" sz="quarter" idx="12"/>
          </p:nvPr>
        </p:nvSpPr>
        <p:spPr>
          <a:xfrm>
            <a:off x="833561" y="685800"/>
            <a:ext cx="5486400" cy="5486400"/>
          </a:xfrm>
        </p:spPr>
        <p:txBody>
          <a:bodyPr/>
          <a:lstStyle/>
          <a:p>
            <a:endParaRPr lang="en-US"/>
          </a:p>
        </p:txBody>
      </p:sp>
      <p:sp>
        <p:nvSpPr>
          <p:cNvPr id="6" name="Title 2">
            <a:extLst>
              <a:ext uri="{FF2B5EF4-FFF2-40B4-BE49-F238E27FC236}">
                <a16:creationId xmlns:a16="http://schemas.microsoft.com/office/drawing/2014/main" id="{5B056EE6-8FF4-ED3B-72AE-29D8484DD8DD}"/>
              </a:ext>
            </a:extLst>
          </p:cNvPr>
          <p:cNvSpPr>
            <a:spLocks noGrp="1"/>
          </p:cNvSpPr>
          <p:nvPr>
            <p:ph type="title" hasCustomPrompt="1"/>
          </p:nvPr>
        </p:nvSpPr>
        <p:spPr>
          <a:xfrm>
            <a:off x="7013509" y="3608413"/>
            <a:ext cx="4344930" cy="1276108"/>
          </a:xfrm>
        </p:spPr>
        <p:txBody>
          <a:bodyPr anchor="t">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7" name="Text Placeholder 7">
            <a:extLst>
              <a:ext uri="{FF2B5EF4-FFF2-40B4-BE49-F238E27FC236}">
                <a16:creationId xmlns:a16="http://schemas.microsoft.com/office/drawing/2014/main" id="{E3733436-4383-9F44-FE9E-7AB0F97BE752}"/>
              </a:ext>
            </a:extLst>
          </p:cNvPr>
          <p:cNvSpPr>
            <a:spLocks noGrp="1"/>
          </p:cNvSpPr>
          <p:nvPr>
            <p:ph type="body" sz="quarter" idx="10" hasCustomPrompt="1"/>
          </p:nvPr>
        </p:nvSpPr>
        <p:spPr>
          <a:xfrm>
            <a:off x="7013509" y="2603543"/>
            <a:ext cx="917441" cy="672094"/>
          </a:xfrm>
        </p:spPr>
        <p:txBody>
          <a:bodyPr anchor="ctr" anchorCtr="0">
            <a:normAutofit/>
          </a:bodyPr>
          <a:lstStyle>
            <a:lvl1pPr marL="0" indent="0" algn="l">
              <a:buNone/>
              <a:defRPr sz="4800">
                <a:solidFill>
                  <a:schemeClr val="accent1"/>
                </a:solidFill>
              </a:defRPr>
            </a:lvl1pPr>
          </a:lstStyle>
          <a:p>
            <a:pPr lvl="0"/>
            <a:r>
              <a:rPr lang="en-US"/>
              <a:t>00</a:t>
            </a:r>
          </a:p>
        </p:txBody>
      </p:sp>
      <p:cxnSp>
        <p:nvCxnSpPr>
          <p:cNvPr id="8" name="Straight Connector 7">
            <a:extLst>
              <a:ext uri="{FF2B5EF4-FFF2-40B4-BE49-F238E27FC236}">
                <a16:creationId xmlns:a16="http://schemas.microsoft.com/office/drawing/2014/main" id="{F21B90F1-F0EB-EAD8-FEE3-AB8306259C1C}"/>
              </a:ext>
            </a:extLst>
          </p:cNvPr>
          <p:cNvCxnSpPr>
            <a:cxnSpLocks/>
          </p:cNvCxnSpPr>
          <p:nvPr userDrawn="1"/>
        </p:nvCxnSpPr>
        <p:spPr>
          <a:xfrm>
            <a:off x="7013509" y="3429000"/>
            <a:ext cx="2121208" cy="0"/>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7371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1D6ABA-18EB-8CE8-724D-8D620040AFBF}"/>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3" name="Footer Placeholder 2">
            <a:extLst>
              <a:ext uri="{FF2B5EF4-FFF2-40B4-BE49-F238E27FC236}">
                <a16:creationId xmlns:a16="http://schemas.microsoft.com/office/drawing/2014/main" id="{34A6C755-F6FB-3217-F9C9-928A12ED8B9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E0F9593-2ED4-6C0E-B907-923573F3B403}"/>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14061202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02">
    <p:bg>
      <p:bgPr>
        <a:solidFill>
          <a:schemeClr val="tx2"/>
        </a:solidFill>
        <a:effectLst/>
      </p:bgPr>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C240320A-5DED-60C7-28B9-AA3074F84EE7}"/>
              </a:ext>
            </a:extLst>
          </p:cNvPr>
          <p:cNvSpPr/>
          <p:nvPr userDrawn="1"/>
        </p:nvSpPr>
        <p:spPr>
          <a:xfrm>
            <a:off x="2787808" y="1828800"/>
            <a:ext cx="6996657" cy="3200400"/>
          </a:xfrm>
          <a:prstGeom prst="roundRect">
            <a:avLst>
              <a:gd name="adj" fmla="val 8817"/>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E726856B-9A6E-4CE4-CE8E-DD06613F38BB}"/>
              </a:ext>
            </a:extLst>
          </p:cNvPr>
          <p:cNvSpPr>
            <a:spLocks noGrp="1"/>
          </p:cNvSpPr>
          <p:nvPr>
            <p:ph type="title" hasCustomPrompt="1"/>
          </p:nvPr>
        </p:nvSpPr>
        <p:spPr>
          <a:xfrm>
            <a:off x="4930815" y="2190509"/>
            <a:ext cx="4473376" cy="2476981"/>
          </a:xfrm>
        </p:spPr>
        <p:txBody>
          <a:bodyPr anchor="ctr">
            <a:normAutofit/>
          </a:bodyPr>
          <a:lstStyle>
            <a:lvl1pPr marL="0" algn="l" defTabSz="932742" rtl="0" eaLnBrk="1" latinLnBrk="0" hangingPunct="1">
              <a:lnSpc>
                <a:spcPct val="100000"/>
              </a:lnSpc>
              <a:spcBef>
                <a:spcPct val="0"/>
              </a:spcBef>
              <a:buNone/>
              <a:defRPr lang="en-US" sz="3200" b="0" i="0" kern="1200" cap="none" spc="-50" baseline="0" dirty="0">
                <a:ln w="3175">
                  <a:noFill/>
                </a:ln>
                <a:solidFill>
                  <a:schemeClr val="tx2"/>
                </a:solidFill>
                <a:effectLst/>
                <a:latin typeface="Segoe Sans Display" pitchFamily="2" charset="0"/>
                <a:ea typeface="+mn-ea"/>
                <a:cs typeface="Segoe Sans Display" pitchFamily="2" charset="0"/>
              </a:defRPr>
            </a:lvl1pPr>
          </a:lstStyle>
          <a:p>
            <a:r>
              <a:rPr lang="en-US"/>
              <a:t>Section title</a:t>
            </a:r>
          </a:p>
        </p:txBody>
      </p:sp>
      <p:sp>
        <p:nvSpPr>
          <p:cNvPr id="8" name="Text Placeholder 7">
            <a:extLst>
              <a:ext uri="{FF2B5EF4-FFF2-40B4-BE49-F238E27FC236}">
                <a16:creationId xmlns:a16="http://schemas.microsoft.com/office/drawing/2014/main" id="{8A2D431C-7E9F-7B28-5C7C-50172F502459}"/>
              </a:ext>
            </a:extLst>
          </p:cNvPr>
          <p:cNvSpPr>
            <a:spLocks noGrp="1"/>
          </p:cNvSpPr>
          <p:nvPr>
            <p:ph type="body" sz="quarter" idx="10" hasCustomPrompt="1"/>
          </p:nvPr>
        </p:nvSpPr>
        <p:spPr>
          <a:xfrm>
            <a:off x="3159888" y="3051174"/>
            <a:ext cx="1082915" cy="755650"/>
          </a:xfrm>
        </p:spPr>
        <p:txBody>
          <a:bodyPr anchor="ctr" anchorCtr="0">
            <a:normAutofit/>
          </a:bodyPr>
          <a:lstStyle>
            <a:lvl1pPr marL="0" indent="0" algn="ctr">
              <a:buNone/>
              <a:defRPr sz="4800">
                <a:solidFill>
                  <a:schemeClr val="accent1"/>
                </a:solidFill>
              </a:defRPr>
            </a:lvl1pPr>
          </a:lstStyle>
          <a:p>
            <a:pPr lvl="0"/>
            <a:r>
              <a:rPr lang="en-US"/>
              <a:t>00</a:t>
            </a:r>
          </a:p>
        </p:txBody>
      </p:sp>
      <p:cxnSp>
        <p:nvCxnSpPr>
          <p:cNvPr id="5" name="Straight Connector 4">
            <a:extLst>
              <a:ext uri="{FF2B5EF4-FFF2-40B4-BE49-F238E27FC236}">
                <a16:creationId xmlns:a16="http://schemas.microsoft.com/office/drawing/2014/main" id="{D27927EA-D4E5-F99F-FC53-C2C7CE502FD9}"/>
              </a:ext>
            </a:extLst>
          </p:cNvPr>
          <p:cNvCxnSpPr>
            <a:cxnSpLocks/>
          </p:cNvCxnSpPr>
          <p:nvPr userDrawn="1"/>
        </p:nvCxnSpPr>
        <p:spPr>
          <a:xfrm>
            <a:off x="4586809" y="2190509"/>
            <a:ext cx="0" cy="2476981"/>
          </a:xfrm>
          <a:prstGeom prst="line">
            <a:avLst/>
          </a:prstGeom>
          <a:ln w="508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7618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324840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F800DD-8F1F-3331-35FB-EEA18801B1F2}"/>
              </a:ext>
            </a:extLst>
          </p:cNvPr>
          <p:cNvSpPr>
            <a:spLocks noGrp="1"/>
          </p:cNvSpPr>
          <p:nvPr>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5C0C56A3-063A-B656-5130-DFB2E1C43D4B}"/>
              </a:ext>
            </a:extLst>
          </p:cNvPr>
          <p:cNvSpPr>
            <a:spLocks noGrp="1"/>
          </p:cNvSpPr>
          <p:nvPr>
            <p:ph type="body" sz="quarter" idx="27"/>
          </p:nvPr>
        </p:nvSpPr>
        <p:spPr>
          <a:xfrm>
            <a:off x="563563" y="1447800"/>
            <a:ext cx="11064875"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FA9A0FF-90E2-5FF0-2EBE-9DAD62B4346B}"/>
              </a:ext>
            </a:extLst>
          </p:cNvPr>
          <p:cNvSpPr>
            <a:spLocks noGrp="1"/>
          </p:cNvSpPr>
          <p:nvPr>
            <p:ph type="ftr" sz="quarter" idx="28"/>
          </p:nvPr>
        </p:nvSpPr>
        <p:spPr/>
        <p:txBody>
          <a:bodyPr/>
          <a:lstStyle/>
          <a:p>
            <a:endParaRPr lang="en-US"/>
          </a:p>
        </p:txBody>
      </p:sp>
      <p:sp>
        <p:nvSpPr>
          <p:cNvPr id="5" name="Slide Number Placeholder 4">
            <a:extLst>
              <a:ext uri="{FF2B5EF4-FFF2-40B4-BE49-F238E27FC236}">
                <a16:creationId xmlns:a16="http://schemas.microsoft.com/office/drawing/2014/main" id="{104849C8-984A-DDEE-A4FA-7334BCB44213}"/>
              </a:ext>
            </a:extLst>
          </p:cNvPr>
          <p:cNvSpPr>
            <a:spLocks noGrp="1"/>
          </p:cNvSpPr>
          <p:nvPr>
            <p:ph type="sldNum" sz="quarter" idx="29"/>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1268460"/>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up Cards - Color">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446967" y="1501276"/>
            <a:ext cx="9298066"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763086"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890965"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978213"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977985"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250196"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378075"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465323"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465095"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6839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up Cards - Step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1"/>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06025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up Cards - Step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1"/>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42819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up Cards - Steps 03">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4"/>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6928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up Cards - Steps 04">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1076446" y="1501276"/>
            <a:ext cx="10039108" cy="4537279"/>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1346397" y="169419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1474276" y="1838007"/>
            <a:ext cx="3854053" cy="951711"/>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1561524" y="2012722"/>
            <a:ext cx="3677471" cy="646990"/>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1561296" y="291493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6724759" y="1695168"/>
            <a:ext cx="4112866" cy="4112862"/>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6852638" y="1838977"/>
            <a:ext cx="3854053" cy="951711"/>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6939886" y="2013692"/>
            <a:ext cx="3677471" cy="646990"/>
          </a:xfrm>
        </p:spPr>
        <p:txBody>
          <a:bodyPr anchor="ctr" anchorCtr="0">
            <a:noAutofit/>
          </a:bodyPr>
          <a:lstStyle>
            <a:lvl1pPr marL="0" indent="0">
              <a:buNone/>
              <a:defRPr sz="24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6939658" y="2915906"/>
            <a:ext cx="3677935" cy="2670724"/>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val 1" hidden="1">
            <a:extLst>
              <a:ext uri="{FF2B5EF4-FFF2-40B4-BE49-F238E27FC236}">
                <a16:creationId xmlns:a16="http://schemas.microsoft.com/office/drawing/2014/main" id="{046AEA64-207E-E26B-BD91-B83972C63723}"/>
              </a:ext>
            </a:extLst>
          </p:cNvPr>
          <p:cNvSpPr/>
          <p:nvPr userDrawn="1"/>
        </p:nvSpPr>
        <p:spPr>
          <a:xfrm>
            <a:off x="5575139" y="3287210"/>
            <a:ext cx="1041722" cy="1041722"/>
          </a:xfrm>
          <a:prstGeom prst="ellipse">
            <a:avLst/>
          </a:prstGeom>
          <a:solidFill>
            <a:schemeClr val="bg1"/>
          </a:solidFill>
          <a:ln w="19050">
            <a:solidFill>
              <a:schemeClr val="bg1">
                <a:lumMod val="95000"/>
              </a:schemeClr>
            </a:solid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a:extLst>
              <a:ext uri="{FF2B5EF4-FFF2-40B4-BE49-F238E27FC236}">
                <a16:creationId xmlns:a16="http://schemas.microsoft.com/office/drawing/2014/main" id="{F991BB53-9C59-6D81-0A32-07474E422148}"/>
              </a:ext>
            </a:extLst>
          </p:cNvPr>
          <p:cNvSpPr/>
          <p:nvPr userDrawn="1"/>
        </p:nvSpPr>
        <p:spPr>
          <a:xfrm>
            <a:off x="5615970" y="3467742"/>
            <a:ext cx="960061" cy="604346"/>
          </a:xfrm>
          <a:prstGeom prst="rightArrow">
            <a:avLst/>
          </a:prstGeom>
          <a:gradFill>
            <a:gsLst>
              <a:gs pos="99000">
                <a:schemeClr val="accent4"/>
              </a:gs>
              <a:gs pos="0">
                <a:schemeClr val="bg2"/>
              </a:gs>
            </a:gsLst>
            <a:lin ang="0" scaled="0"/>
          </a:gradFill>
          <a:ln>
            <a:noFill/>
          </a:ln>
          <a:effectLst>
            <a:outerShdw blurRad="50800" dist="38100" dir="2700000" algn="ctr" rotWithShape="0">
              <a:schemeClr val="tx1">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4365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up – Tex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76726F-98A2-3B2A-8513-9F5D25D63FDA}"/>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4305D88A-09EA-3B57-EB7C-B55B88ECDD71}"/>
              </a:ext>
            </a:extLst>
          </p:cNvPr>
          <p:cNvSpPr>
            <a:spLocks noGrp="1"/>
          </p:cNvSpPr>
          <p:nvPr>
            <p:ph sz="quarter" idx="27"/>
          </p:nvPr>
        </p:nvSpPr>
        <p:spPr>
          <a:xfrm>
            <a:off x="563564"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FBC8A560-6BB2-8E69-1177-186B4F67AA79}"/>
              </a:ext>
            </a:extLst>
          </p:cNvPr>
          <p:cNvSpPr>
            <a:spLocks noGrp="1"/>
          </p:cNvSpPr>
          <p:nvPr>
            <p:ph sz="quarter" idx="28"/>
          </p:nvPr>
        </p:nvSpPr>
        <p:spPr>
          <a:xfrm>
            <a:off x="6395340" y="1447800"/>
            <a:ext cx="52324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11473A-17B0-DC22-AF93-313A1AB1F62B}"/>
              </a:ext>
            </a:extLst>
          </p:cNvPr>
          <p:cNvSpPr>
            <a:spLocks noGrp="1"/>
          </p:cNvSpPr>
          <p:nvPr>
            <p:ph type="ftr" sz="quarter" idx="29"/>
          </p:nvPr>
        </p:nvSpPr>
        <p:spPr/>
        <p:txBody>
          <a:bodyPr/>
          <a:lstStyle/>
          <a:p>
            <a:endParaRPr lang="en-US"/>
          </a:p>
        </p:txBody>
      </p:sp>
      <p:sp>
        <p:nvSpPr>
          <p:cNvPr id="6" name="Slide Number Placeholder 5">
            <a:extLst>
              <a:ext uri="{FF2B5EF4-FFF2-40B4-BE49-F238E27FC236}">
                <a16:creationId xmlns:a16="http://schemas.microsoft.com/office/drawing/2014/main" id="{3768DCB6-7F43-BE1B-CA99-D130ED257F64}"/>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924897852"/>
      </p:ext>
    </p:extLst>
  </p:cSld>
  <p:clrMapOvr>
    <a:masterClrMapping/>
  </p:clrMapOvr>
  <p:transition>
    <p:fade/>
  </p:transition>
  <p:extLst>
    <p:ext uri="{DCECCB84-F9BA-43D5-87BE-67443E8EF086}">
      <p15:sldGuideLst xmlns:p15="http://schemas.microsoft.com/office/powerpoint/2012/main">
        <p15:guide id="4" pos="3660">
          <p15:clr>
            <a:srgbClr val="5ACBF0"/>
          </p15:clr>
        </p15:guide>
        <p15:guide id="5" pos="402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up – Card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6392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3" y="2089131"/>
            <a:ext cx="3266229" cy="889218"/>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436434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4474013" y="2089131"/>
            <a:ext cx="3266229" cy="889218"/>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4548838"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454864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7968612"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8078281" y="2089131"/>
            <a:ext cx="3266229" cy="889218"/>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8153106" y="2243836"/>
            <a:ext cx="3116578" cy="604506"/>
          </a:xfrm>
        </p:spPr>
        <p:txBody>
          <a:bodyPr anchor="ctr" anchorCtr="0">
            <a:noAutofit/>
          </a:bodyPr>
          <a:lstStyle>
            <a:lvl1pPr marL="0" indent="0">
              <a:buNone/>
              <a:defRPr sz="24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8152909"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7932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C138B-E0E0-2FE6-CE37-419B3B4DE3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87AAD9B-07AE-999D-2AE8-52D0DDAB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DD096EB-C6B7-5339-EE44-63897D3045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C006BF-9838-2E22-7201-249A6F20F679}"/>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6" name="Footer Placeholder 5">
            <a:extLst>
              <a:ext uri="{FF2B5EF4-FFF2-40B4-BE49-F238E27FC236}">
                <a16:creationId xmlns:a16="http://schemas.microsoft.com/office/drawing/2014/main" id="{D55AD0C9-3A14-4135-8A2B-94EB812D496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2A3369-D451-4A76-CA37-C4D3166344BB}"/>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34302476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up – Card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880"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6392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3" y="2089131"/>
            <a:ext cx="3266229" cy="889218"/>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3116578" cy="604506"/>
          </a:xfrm>
        </p:spPr>
        <p:txBody>
          <a:bodyPr anchor="ctr" anchorCtr="0">
            <a:noAutofit/>
          </a:bodyPr>
          <a:lstStyle>
            <a:lvl1pPr marL="0" indent="0">
              <a:buNone/>
              <a:defRPr sz="2400">
                <a:solidFill>
                  <a:schemeClr val="bg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4364344"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4474013" y="2089131"/>
            <a:ext cx="3266229" cy="889218"/>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4548838" y="2243836"/>
            <a:ext cx="3116578" cy="604506"/>
          </a:xfrm>
        </p:spPr>
        <p:txBody>
          <a:bodyPr anchor="ctr" anchorCtr="0">
            <a:noAutofit/>
          </a:bodyPr>
          <a:lstStyle>
            <a:lvl1pPr marL="0" indent="0">
              <a:buNone/>
              <a:defRPr sz="24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4548641"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7957037" y="1956124"/>
            <a:ext cx="3485567"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8066706" y="2089131"/>
            <a:ext cx="3266229" cy="889218"/>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8141531" y="2243836"/>
            <a:ext cx="3116578" cy="604506"/>
          </a:xfrm>
        </p:spPr>
        <p:txBody>
          <a:bodyPr anchor="ctr" anchorCtr="0">
            <a:noAutofit/>
          </a:bodyPr>
          <a:lstStyle>
            <a:lvl1pPr marL="0" indent="0">
              <a:buNone/>
              <a:defRPr sz="24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8141334" y="3082163"/>
            <a:ext cx="3116973"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2636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up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66993" y="1446821"/>
            <a:ext cx="329406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46821"/>
            <a:ext cx="329071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44509" y="1446821"/>
            <a:ext cx="3284519"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itle 8">
            <a:extLst>
              <a:ext uri="{FF2B5EF4-FFF2-40B4-BE49-F238E27FC236}">
                <a16:creationId xmlns:a16="http://schemas.microsoft.com/office/drawing/2014/main" id="{2E626CE3-F83B-3830-0273-991375D97E18}"/>
              </a:ext>
            </a:extLst>
          </p:cNvPr>
          <p:cNvSpPr>
            <a:spLocks noGrp="1"/>
          </p:cNvSpPr>
          <p:nvPr>
            <p:ph type="title"/>
          </p:nvPr>
        </p:nvSpPr>
        <p:spPr/>
        <p:txBody>
          <a:bodyPr/>
          <a:lstStyle/>
          <a:p>
            <a:r>
              <a:rPr lang="en-US"/>
              <a:t>Click to edit Master title style</a:t>
            </a:r>
          </a:p>
        </p:txBody>
      </p:sp>
      <p:sp>
        <p:nvSpPr>
          <p:cNvPr id="11" name="Text Placeholder 10">
            <a:extLst>
              <a:ext uri="{FF2B5EF4-FFF2-40B4-BE49-F238E27FC236}">
                <a16:creationId xmlns:a16="http://schemas.microsoft.com/office/drawing/2014/main" id="{7BAE9E32-8B40-CF6D-3825-5BAB68576309}"/>
              </a:ext>
            </a:extLst>
          </p:cNvPr>
          <p:cNvSpPr>
            <a:spLocks noGrp="1"/>
          </p:cNvSpPr>
          <p:nvPr>
            <p:ph type="body" sz="quarter" idx="27"/>
          </p:nvPr>
        </p:nvSpPr>
        <p:spPr>
          <a:xfrm>
            <a:off x="574993" y="2282825"/>
            <a:ext cx="329406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0C699655-E77D-B8E7-3A11-AEDDA75D9090}"/>
              </a:ext>
            </a:extLst>
          </p:cNvPr>
          <p:cNvSpPr>
            <a:spLocks noGrp="1"/>
          </p:cNvSpPr>
          <p:nvPr>
            <p:ph type="body" sz="quarter" idx="28"/>
          </p:nvPr>
        </p:nvSpPr>
        <p:spPr>
          <a:xfrm>
            <a:off x="4460446" y="2282825"/>
            <a:ext cx="329406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ADABAABF-23BF-DB0A-F245-8A52C4375FEB}"/>
              </a:ext>
            </a:extLst>
          </p:cNvPr>
          <p:cNvSpPr>
            <a:spLocks noGrp="1"/>
          </p:cNvSpPr>
          <p:nvPr>
            <p:ph type="body" sz="quarter" idx="29"/>
          </p:nvPr>
        </p:nvSpPr>
        <p:spPr>
          <a:xfrm>
            <a:off x="8348783" y="2282825"/>
            <a:ext cx="3280263"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221D05B-FD43-1763-AD00-68152AA4B0E6}"/>
              </a:ext>
            </a:extLst>
          </p:cNvPr>
          <p:cNvSpPr>
            <a:spLocks noGrp="1"/>
          </p:cNvSpPr>
          <p:nvPr>
            <p:ph type="ftr" sz="quarter" idx="30"/>
          </p:nvPr>
        </p:nvSpPr>
        <p:spPr/>
        <p:txBody>
          <a:bodyPr/>
          <a:lstStyle/>
          <a:p>
            <a:endParaRPr lang="en-US"/>
          </a:p>
        </p:txBody>
      </p:sp>
      <p:sp>
        <p:nvSpPr>
          <p:cNvPr id="7" name="Slide Number Placeholder 6">
            <a:extLst>
              <a:ext uri="{FF2B5EF4-FFF2-40B4-BE49-F238E27FC236}">
                <a16:creationId xmlns:a16="http://schemas.microsoft.com/office/drawing/2014/main" id="{810A525B-3B98-0BE4-4D56-28ADDF48A74B}"/>
              </a:ext>
            </a:extLst>
          </p:cNvPr>
          <p:cNvSpPr>
            <a:spLocks noGrp="1"/>
          </p:cNvSpPr>
          <p:nvPr>
            <p:ph type="sldNum" sz="quarter" idx="3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65567995"/>
      </p:ext>
    </p:extLst>
  </p:cSld>
  <p:clrMapOvr>
    <a:masterClrMapping/>
  </p:clrMapOvr>
  <p:transition>
    <p:fade/>
  </p:transition>
  <p:extLst>
    <p:ext uri="{DCECCB84-F9BA-43D5-87BE-67443E8EF086}">
      <p15:sldGuideLst xmlns:p15="http://schemas.microsoft.com/office/powerpoint/2012/main">
        <p15:guide id="6" pos="2430">
          <p15:clr>
            <a:srgbClr val="5ACBF0"/>
          </p15:clr>
        </p15:guide>
        <p15:guide id="7" pos="2797">
          <p15:clr>
            <a:srgbClr val="5ACBF0"/>
          </p15:clr>
        </p15:guide>
        <p15:guide id="8" pos="4883">
          <p15:clr>
            <a:srgbClr val="5ACBF0"/>
          </p15:clr>
        </p15:guide>
        <p15:guide id="9" pos="525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up – Imag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4CF0FD5-9233-8E1F-7590-C02C8F393872}"/>
              </a:ext>
            </a:extLst>
          </p:cNvPr>
          <p:cNvSpPr>
            <a:spLocks noGrp="1"/>
          </p:cNvSpPr>
          <p:nvPr>
            <p:ph type="pic" sz="quarter" idx="27"/>
          </p:nvPr>
        </p:nvSpPr>
        <p:spPr>
          <a:xfrm>
            <a:off x="563563" y="1447800"/>
            <a:ext cx="3494088"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4" name="Picture Placeholder 7">
            <a:extLst>
              <a:ext uri="{FF2B5EF4-FFF2-40B4-BE49-F238E27FC236}">
                <a16:creationId xmlns:a16="http://schemas.microsoft.com/office/drawing/2014/main" id="{CEEC04BC-256A-570B-9159-3039C869ABFD}"/>
              </a:ext>
            </a:extLst>
          </p:cNvPr>
          <p:cNvSpPr>
            <a:spLocks noGrp="1"/>
          </p:cNvSpPr>
          <p:nvPr>
            <p:ph type="pic" sz="quarter" idx="28"/>
          </p:nvPr>
        </p:nvSpPr>
        <p:spPr>
          <a:xfrm>
            <a:off x="4359854" y="1447800"/>
            <a:ext cx="3475037"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5" name="Picture Placeholder 7">
            <a:extLst>
              <a:ext uri="{FF2B5EF4-FFF2-40B4-BE49-F238E27FC236}">
                <a16:creationId xmlns:a16="http://schemas.microsoft.com/office/drawing/2014/main" id="{61AC744B-46B5-3894-DD14-2F41986E1673}"/>
              </a:ext>
            </a:extLst>
          </p:cNvPr>
          <p:cNvSpPr>
            <a:spLocks noGrp="1"/>
          </p:cNvSpPr>
          <p:nvPr>
            <p:ph type="pic" sz="quarter" idx="29"/>
          </p:nvPr>
        </p:nvSpPr>
        <p:spPr>
          <a:xfrm>
            <a:off x="8145641" y="1447800"/>
            <a:ext cx="3482479" cy="3475038"/>
          </a:xfrm>
          <a:solidFill>
            <a:schemeClr val="accent5"/>
          </a:solidFill>
        </p:spPr>
        <p:txBody>
          <a:bodyPr anchor="ctr">
            <a:normAutofit/>
          </a:bodyPr>
          <a:lstStyle>
            <a:lvl1pPr marL="0" indent="0" algn="ctr">
              <a:buNone/>
              <a:defRPr sz="1800">
                <a:solidFill>
                  <a:schemeClr val="bg1"/>
                </a:solidFill>
              </a:defRPr>
            </a:lvl1pPr>
          </a:lstStyle>
          <a:p>
            <a:r>
              <a:rPr lang="en-US"/>
              <a:t>Click icon to add picture</a:t>
            </a:r>
          </a:p>
        </p:txBody>
      </p:sp>
      <p:sp>
        <p:nvSpPr>
          <p:cNvPr id="16" name="Title 15">
            <a:extLst>
              <a:ext uri="{FF2B5EF4-FFF2-40B4-BE49-F238E27FC236}">
                <a16:creationId xmlns:a16="http://schemas.microsoft.com/office/drawing/2014/main" id="{3A0DF579-85C0-3013-A052-869DB46BEFE1}"/>
              </a:ext>
            </a:extLst>
          </p:cNvPr>
          <p:cNvSpPr>
            <a:spLocks noGrp="1"/>
          </p:cNvSpPr>
          <p:nvPr>
            <p:ph type="title"/>
          </p:nvPr>
        </p:nvSpPr>
        <p:spPr/>
        <p:txBody>
          <a:bodyPr/>
          <a:lstStyle/>
          <a:p>
            <a:r>
              <a:rPr lang="en-US"/>
              <a:t>Click to edit Master title style</a:t>
            </a:r>
          </a:p>
        </p:txBody>
      </p:sp>
      <p:sp>
        <p:nvSpPr>
          <p:cNvPr id="18" name="Text Placeholder 17">
            <a:extLst>
              <a:ext uri="{FF2B5EF4-FFF2-40B4-BE49-F238E27FC236}">
                <a16:creationId xmlns:a16="http://schemas.microsoft.com/office/drawing/2014/main" id="{425118C9-7BAF-DD16-77C1-EBF456E2F801}"/>
              </a:ext>
            </a:extLst>
          </p:cNvPr>
          <p:cNvSpPr>
            <a:spLocks noGrp="1"/>
          </p:cNvSpPr>
          <p:nvPr>
            <p:ph type="body" sz="quarter" idx="30"/>
          </p:nvPr>
        </p:nvSpPr>
        <p:spPr>
          <a:xfrm>
            <a:off x="563562" y="5059363"/>
            <a:ext cx="3494087" cy="1120775"/>
          </a:xfrm>
        </p:spPr>
        <p:txBody>
          <a:bodyPr/>
          <a:lstStyle>
            <a:lvl1pPr marL="0" indent="0">
              <a:buNone/>
              <a:defRPr/>
            </a:lvl1pPr>
            <a:lvl2pPr marL="271462" indent="0">
              <a:buNone/>
              <a:defRPr/>
            </a:lvl2pPr>
          </a:lstStyle>
          <a:p>
            <a:pPr lvl="0"/>
            <a:r>
              <a:rPr lang="en-US"/>
              <a:t>Click to edit Master text styles</a:t>
            </a:r>
          </a:p>
        </p:txBody>
      </p:sp>
      <p:sp>
        <p:nvSpPr>
          <p:cNvPr id="19" name="Text Placeholder 17">
            <a:extLst>
              <a:ext uri="{FF2B5EF4-FFF2-40B4-BE49-F238E27FC236}">
                <a16:creationId xmlns:a16="http://schemas.microsoft.com/office/drawing/2014/main" id="{A0FB9493-58D5-CA2A-7E73-C06EB2B1FCEC}"/>
              </a:ext>
            </a:extLst>
          </p:cNvPr>
          <p:cNvSpPr>
            <a:spLocks noGrp="1"/>
          </p:cNvSpPr>
          <p:nvPr>
            <p:ph type="body" sz="quarter" idx="31"/>
          </p:nvPr>
        </p:nvSpPr>
        <p:spPr>
          <a:xfrm>
            <a:off x="4366759" y="5059363"/>
            <a:ext cx="3468132" cy="1120775"/>
          </a:xfrm>
        </p:spPr>
        <p:txBody>
          <a:bodyPr/>
          <a:lstStyle>
            <a:lvl1pPr marL="0" indent="0">
              <a:buNone/>
              <a:defRPr/>
            </a:lvl1pPr>
            <a:lvl2pPr marL="271462" indent="0">
              <a:buNone/>
              <a:defRPr/>
            </a:lvl2pPr>
          </a:lstStyle>
          <a:p>
            <a:pPr lvl="0"/>
            <a:r>
              <a:rPr lang="en-US"/>
              <a:t>Click to edit Master text styles</a:t>
            </a:r>
          </a:p>
        </p:txBody>
      </p:sp>
      <p:sp>
        <p:nvSpPr>
          <p:cNvPr id="20" name="Text Placeholder 17">
            <a:extLst>
              <a:ext uri="{FF2B5EF4-FFF2-40B4-BE49-F238E27FC236}">
                <a16:creationId xmlns:a16="http://schemas.microsoft.com/office/drawing/2014/main" id="{9B19A2C9-A87F-A041-809B-F6C88B5890A1}"/>
              </a:ext>
            </a:extLst>
          </p:cNvPr>
          <p:cNvSpPr>
            <a:spLocks noGrp="1"/>
          </p:cNvSpPr>
          <p:nvPr>
            <p:ph type="body" sz="quarter" idx="32"/>
          </p:nvPr>
        </p:nvSpPr>
        <p:spPr>
          <a:xfrm>
            <a:off x="8144000" y="5059363"/>
            <a:ext cx="3485224" cy="1120775"/>
          </a:xfrm>
        </p:spPr>
        <p:txBody>
          <a:bodyPr/>
          <a:lstStyle>
            <a:lvl1pPr marL="0" indent="0">
              <a:buNone/>
              <a:defRPr/>
            </a:lvl1pPr>
            <a:lvl2pPr marL="271462"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3232E40F-C5FB-16B3-F247-3DD8A042101F}"/>
              </a:ext>
            </a:extLst>
          </p:cNvPr>
          <p:cNvSpPr>
            <a:spLocks noGrp="1"/>
          </p:cNvSpPr>
          <p:nvPr>
            <p:ph type="ftr" sz="quarter" idx="33"/>
          </p:nvPr>
        </p:nvSpPr>
        <p:spPr/>
        <p:txBody>
          <a:bodyPr/>
          <a:lstStyle/>
          <a:p>
            <a:endParaRPr lang="en-US"/>
          </a:p>
        </p:txBody>
      </p:sp>
      <p:sp>
        <p:nvSpPr>
          <p:cNvPr id="5" name="Slide Number Placeholder 4">
            <a:extLst>
              <a:ext uri="{FF2B5EF4-FFF2-40B4-BE49-F238E27FC236}">
                <a16:creationId xmlns:a16="http://schemas.microsoft.com/office/drawing/2014/main" id="{86DEE87D-E11B-30E6-C0EA-BC9CBD017455}"/>
              </a:ext>
            </a:extLst>
          </p:cNvPr>
          <p:cNvSpPr>
            <a:spLocks noGrp="1"/>
          </p:cNvSpPr>
          <p:nvPr>
            <p:ph type="sldNum" sz="quarter" idx="34"/>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9404326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up – Cards 01">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34561"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4" y="2089131"/>
            <a:ext cx="2274028" cy="889218"/>
          </a:xfrm>
          <a:prstGeom prst="roundRect">
            <a:avLst/>
          </a:prstGeom>
          <a:solidFill>
            <a:schemeClr val="accent2"/>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3459715"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3605911" y="2089131"/>
            <a:ext cx="2274028" cy="889218"/>
          </a:xfrm>
          <a:prstGeom prst="roundRect">
            <a:avLst/>
          </a:prstGeom>
          <a:solidFill>
            <a:schemeClr val="accent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3680735"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3680538"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6184869"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6330502" y="2089131"/>
            <a:ext cx="2274028" cy="889218"/>
          </a:xfrm>
          <a:prstGeom prst="roundRect">
            <a:avLst/>
          </a:prstGeom>
          <a:solidFill>
            <a:schemeClr val="accent4"/>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6405326"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6405129"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ounded Rectangle 1">
            <a:extLst>
              <a:ext uri="{FF2B5EF4-FFF2-40B4-BE49-F238E27FC236}">
                <a16:creationId xmlns:a16="http://schemas.microsoft.com/office/drawing/2014/main" id="{57AA6CC5-6E18-7065-DE29-4BA8FA78CB4D}"/>
              </a:ext>
            </a:extLst>
          </p:cNvPr>
          <p:cNvSpPr/>
          <p:nvPr userDrawn="1"/>
        </p:nvSpPr>
        <p:spPr>
          <a:xfrm rot="10800000">
            <a:off x="8910023"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4D643D71-D0E4-8FA0-A3FF-20BCD32757DF}"/>
              </a:ext>
            </a:extLst>
          </p:cNvPr>
          <p:cNvSpPr/>
          <p:nvPr userDrawn="1"/>
        </p:nvSpPr>
        <p:spPr>
          <a:xfrm>
            <a:off x="9055169" y="2089131"/>
            <a:ext cx="2274028" cy="889218"/>
          </a:xfrm>
          <a:prstGeom prst="roundRect">
            <a:avLst/>
          </a:prstGeom>
          <a:solidFill>
            <a:schemeClr val="accent5"/>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E68632E6-9608-BF51-9F31-08004BEC9A02}"/>
              </a:ext>
            </a:extLst>
          </p:cNvPr>
          <p:cNvSpPr>
            <a:spLocks noGrp="1"/>
          </p:cNvSpPr>
          <p:nvPr>
            <p:ph type="body" sz="quarter" idx="20" hasCustomPrompt="1"/>
          </p:nvPr>
        </p:nvSpPr>
        <p:spPr>
          <a:xfrm>
            <a:off x="9129993" y="2243836"/>
            <a:ext cx="2137483" cy="604506"/>
          </a:xfrm>
        </p:spPr>
        <p:txBody>
          <a:bodyPr anchor="ctr" anchorCtr="0">
            <a:noAutofit/>
          </a:bodyPr>
          <a:lstStyle>
            <a:lvl1pPr marL="0" indent="0">
              <a:buNone/>
              <a:defRPr sz="1800">
                <a:solidFill>
                  <a:schemeClr val="bg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4</a:t>
            </a:r>
          </a:p>
        </p:txBody>
      </p:sp>
      <p:sp>
        <p:nvSpPr>
          <p:cNvPr id="8" name="Text Placeholder 21">
            <a:extLst>
              <a:ext uri="{FF2B5EF4-FFF2-40B4-BE49-F238E27FC236}">
                <a16:creationId xmlns:a16="http://schemas.microsoft.com/office/drawing/2014/main" id="{7359F489-B01C-3902-2F61-1178E0906B69}"/>
              </a:ext>
            </a:extLst>
          </p:cNvPr>
          <p:cNvSpPr>
            <a:spLocks noGrp="1"/>
          </p:cNvSpPr>
          <p:nvPr>
            <p:ph type="body" sz="quarter" idx="21"/>
          </p:nvPr>
        </p:nvSpPr>
        <p:spPr>
          <a:xfrm>
            <a:off x="9129796"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603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up – Cards 02">
    <p:spTree>
      <p:nvGrpSpPr>
        <p:cNvPr id="1" name=""/>
        <p:cNvGrpSpPr/>
        <p:nvPr/>
      </p:nvGrpSpPr>
      <p:grpSpPr>
        <a:xfrm>
          <a:off x="0" y="0"/>
          <a:ext cx="0" cy="0"/>
          <a:chOff x="0" y="0"/>
          <a:chExt cx="0" cy="0"/>
        </a:xfrm>
      </p:grpSpPr>
      <p:sp>
        <p:nvSpPr>
          <p:cNvPr id="27" name="Rectangle: Rounded Corners 133">
            <a:extLst>
              <a:ext uri="{FF2B5EF4-FFF2-40B4-BE49-F238E27FC236}">
                <a16:creationId xmlns:a16="http://schemas.microsoft.com/office/drawing/2014/main" id="{FC2EA845-A38E-017C-2CEC-387479856F9B}"/>
              </a:ext>
              <a:ext uri="{C183D7F6-B498-43B3-948B-1728B52AA6E4}">
                <adec:decorative xmlns:adec="http://schemas.microsoft.com/office/drawing/2017/decorative" val="1"/>
              </a:ext>
            </a:extLst>
          </p:cNvPr>
          <p:cNvSpPr/>
          <p:nvPr userDrawn="1"/>
        </p:nvSpPr>
        <p:spPr bwMode="auto">
          <a:xfrm>
            <a:off x="563564" y="1782504"/>
            <a:ext cx="11064240" cy="4224760"/>
          </a:xfrm>
          <a:prstGeom prst="roundRect">
            <a:avLst>
              <a:gd name="adj" fmla="val 5229"/>
            </a:avLst>
          </a:prstGeom>
          <a:solidFill>
            <a:schemeClr val="bg1">
              <a:lumMod val="95000"/>
              <a:alpha val="10000"/>
            </a:schemeClr>
          </a:solidFill>
          <a:ln w="19050">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7" rtl="0" eaLnBrk="1" fontAlgn="auto" latinLnBrk="0" hangingPunct="1">
              <a:lnSpc>
                <a:spcPct val="100000"/>
              </a:lnSpc>
              <a:spcBef>
                <a:spcPct val="20000"/>
              </a:spcBef>
              <a:spcAft>
                <a:spcPts val="0"/>
              </a:spcAft>
              <a:buClrTx/>
              <a:buSzPct val="90000"/>
              <a:buFontTx/>
              <a:buNone/>
              <a:tabLst/>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9" name="Rounded Rectangle 8">
            <a:extLst>
              <a:ext uri="{FF2B5EF4-FFF2-40B4-BE49-F238E27FC236}">
                <a16:creationId xmlns:a16="http://schemas.microsoft.com/office/drawing/2014/main" id="{6D4F47BB-F179-A6E8-BFFE-D6E25C315827}"/>
              </a:ext>
            </a:extLst>
          </p:cNvPr>
          <p:cNvSpPr/>
          <p:nvPr userDrawn="1"/>
        </p:nvSpPr>
        <p:spPr>
          <a:xfrm rot="10800000">
            <a:off x="734561"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a:extLst>
              <a:ext uri="{FF2B5EF4-FFF2-40B4-BE49-F238E27FC236}">
                <a16:creationId xmlns:a16="http://schemas.microsoft.com/office/drawing/2014/main" id="{16071094-B97E-A2B8-8E5A-4743176E5F73}"/>
              </a:ext>
            </a:extLst>
          </p:cNvPr>
          <p:cNvSpPr/>
          <p:nvPr userDrawn="1"/>
        </p:nvSpPr>
        <p:spPr>
          <a:xfrm>
            <a:off x="873594" y="2089131"/>
            <a:ext cx="2274028" cy="889218"/>
          </a:xfrm>
          <a:prstGeom prst="roundRect">
            <a:avLst/>
          </a:prstGeom>
          <a:solidFill>
            <a:schemeClr val="bg1"/>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6FD48F45-D8D1-AA1A-4CAA-FD53864A0316}"/>
              </a:ext>
            </a:extLst>
          </p:cNvPr>
          <p:cNvSpPr>
            <a:spLocks noGrp="1"/>
          </p:cNvSpPr>
          <p:nvPr>
            <p:ph type="title"/>
          </p:nvPr>
        </p:nvSpPr>
        <p:spPr/>
        <p:txBody>
          <a:bodyPr lIns="0" tIns="0" rIns="0" bIns="0"/>
          <a:lstStyle>
            <a:lvl1pPr>
              <a:defRPr>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85DE2D5-BD26-9A50-8AEC-BEA2660BC7F9}"/>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7B1B955B-9B45-7A23-CD58-DA357F3E1C27}"/>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7" name="Text Placeholder 16">
            <a:extLst>
              <a:ext uri="{FF2B5EF4-FFF2-40B4-BE49-F238E27FC236}">
                <a16:creationId xmlns:a16="http://schemas.microsoft.com/office/drawing/2014/main" id="{1847DF52-0319-FC17-B2D5-D9A7D0F9B264}"/>
              </a:ext>
            </a:extLst>
          </p:cNvPr>
          <p:cNvSpPr>
            <a:spLocks noGrp="1"/>
          </p:cNvSpPr>
          <p:nvPr>
            <p:ph type="body" sz="quarter" idx="12" hasCustomPrompt="1"/>
          </p:nvPr>
        </p:nvSpPr>
        <p:spPr>
          <a:xfrm>
            <a:off x="948418" y="2243836"/>
            <a:ext cx="2137483" cy="604506"/>
          </a:xfrm>
        </p:spPr>
        <p:txBody>
          <a:bodyPr anchor="ctr" anchorCtr="0">
            <a:noAutofit/>
          </a:bodyPr>
          <a:lstStyle>
            <a:lvl1pPr marL="0" indent="0">
              <a:buNone/>
              <a:defRPr sz="1800">
                <a:solidFill>
                  <a:schemeClr val="accent2"/>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1</a:t>
            </a:r>
          </a:p>
        </p:txBody>
      </p:sp>
      <p:sp>
        <p:nvSpPr>
          <p:cNvPr id="22" name="Text Placeholder 21">
            <a:extLst>
              <a:ext uri="{FF2B5EF4-FFF2-40B4-BE49-F238E27FC236}">
                <a16:creationId xmlns:a16="http://schemas.microsoft.com/office/drawing/2014/main" id="{EA80BD07-7469-4F6A-2E82-4D9216F0B61C}"/>
              </a:ext>
            </a:extLst>
          </p:cNvPr>
          <p:cNvSpPr>
            <a:spLocks noGrp="1"/>
          </p:cNvSpPr>
          <p:nvPr>
            <p:ph type="body" sz="quarter" idx="15"/>
          </p:nvPr>
        </p:nvSpPr>
        <p:spPr>
          <a:xfrm>
            <a:off x="948221"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ounded Rectangle 31">
            <a:extLst>
              <a:ext uri="{FF2B5EF4-FFF2-40B4-BE49-F238E27FC236}">
                <a16:creationId xmlns:a16="http://schemas.microsoft.com/office/drawing/2014/main" id="{CF6B98FA-CD33-19A7-9EFF-CE0E9C62E2FA}"/>
              </a:ext>
            </a:extLst>
          </p:cNvPr>
          <p:cNvSpPr/>
          <p:nvPr userDrawn="1"/>
        </p:nvSpPr>
        <p:spPr>
          <a:xfrm rot="10800000">
            <a:off x="3459715"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a:extLst>
              <a:ext uri="{FF2B5EF4-FFF2-40B4-BE49-F238E27FC236}">
                <a16:creationId xmlns:a16="http://schemas.microsoft.com/office/drawing/2014/main" id="{C2F31FE1-FA80-18FD-5A6A-D3A2DFFD9B64}"/>
              </a:ext>
            </a:extLst>
          </p:cNvPr>
          <p:cNvSpPr/>
          <p:nvPr userDrawn="1"/>
        </p:nvSpPr>
        <p:spPr>
          <a:xfrm>
            <a:off x="3605911" y="2089131"/>
            <a:ext cx="2274028" cy="889218"/>
          </a:xfrm>
          <a:prstGeom prst="roundRect">
            <a:avLst/>
          </a:prstGeom>
          <a:solidFill>
            <a:schemeClr val="bg1"/>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6">
            <a:extLst>
              <a:ext uri="{FF2B5EF4-FFF2-40B4-BE49-F238E27FC236}">
                <a16:creationId xmlns:a16="http://schemas.microsoft.com/office/drawing/2014/main" id="{347D6EF6-B8C1-3BC0-EBA4-EFF81077E93B}"/>
              </a:ext>
            </a:extLst>
          </p:cNvPr>
          <p:cNvSpPr>
            <a:spLocks noGrp="1"/>
          </p:cNvSpPr>
          <p:nvPr>
            <p:ph type="body" sz="quarter" idx="16" hasCustomPrompt="1"/>
          </p:nvPr>
        </p:nvSpPr>
        <p:spPr>
          <a:xfrm>
            <a:off x="3680735" y="2243836"/>
            <a:ext cx="2137483" cy="604506"/>
          </a:xfrm>
        </p:spPr>
        <p:txBody>
          <a:bodyPr anchor="ctr" anchorCtr="0">
            <a:noAutofit/>
          </a:bodyPr>
          <a:lstStyle>
            <a:lvl1pPr marL="0" indent="0">
              <a:buNone/>
              <a:defRPr sz="1800">
                <a:solidFill>
                  <a:schemeClr val="accent1"/>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2</a:t>
            </a:r>
          </a:p>
        </p:txBody>
      </p:sp>
      <p:sp>
        <p:nvSpPr>
          <p:cNvPr id="35" name="Text Placeholder 21">
            <a:extLst>
              <a:ext uri="{FF2B5EF4-FFF2-40B4-BE49-F238E27FC236}">
                <a16:creationId xmlns:a16="http://schemas.microsoft.com/office/drawing/2014/main" id="{43179454-588D-81FC-2A55-FF68ED37C829}"/>
              </a:ext>
            </a:extLst>
          </p:cNvPr>
          <p:cNvSpPr>
            <a:spLocks noGrp="1"/>
          </p:cNvSpPr>
          <p:nvPr>
            <p:ph type="body" sz="quarter" idx="17"/>
          </p:nvPr>
        </p:nvSpPr>
        <p:spPr>
          <a:xfrm>
            <a:off x="3680538"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Rounded Rectangle 35">
            <a:extLst>
              <a:ext uri="{FF2B5EF4-FFF2-40B4-BE49-F238E27FC236}">
                <a16:creationId xmlns:a16="http://schemas.microsoft.com/office/drawing/2014/main" id="{03EB2AAD-F743-A261-CB94-FC446EBBD471}"/>
              </a:ext>
            </a:extLst>
          </p:cNvPr>
          <p:cNvSpPr/>
          <p:nvPr userDrawn="1"/>
        </p:nvSpPr>
        <p:spPr>
          <a:xfrm rot="10800000">
            <a:off x="6184869"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a:extLst>
              <a:ext uri="{FF2B5EF4-FFF2-40B4-BE49-F238E27FC236}">
                <a16:creationId xmlns:a16="http://schemas.microsoft.com/office/drawing/2014/main" id="{0C72B28E-F5C8-73A9-0299-7CEA64A719CA}"/>
              </a:ext>
            </a:extLst>
          </p:cNvPr>
          <p:cNvSpPr/>
          <p:nvPr userDrawn="1"/>
        </p:nvSpPr>
        <p:spPr>
          <a:xfrm>
            <a:off x="6330502" y="2089131"/>
            <a:ext cx="2274028" cy="889218"/>
          </a:xfrm>
          <a:prstGeom prst="roundRect">
            <a:avLst/>
          </a:prstGeom>
          <a:solidFill>
            <a:schemeClr val="bg1"/>
          </a:solid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16">
            <a:extLst>
              <a:ext uri="{FF2B5EF4-FFF2-40B4-BE49-F238E27FC236}">
                <a16:creationId xmlns:a16="http://schemas.microsoft.com/office/drawing/2014/main" id="{8EAA2A1E-BE37-5A1E-136B-BAB95D455401}"/>
              </a:ext>
            </a:extLst>
          </p:cNvPr>
          <p:cNvSpPr>
            <a:spLocks noGrp="1"/>
          </p:cNvSpPr>
          <p:nvPr>
            <p:ph type="body" sz="quarter" idx="18" hasCustomPrompt="1"/>
          </p:nvPr>
        </p:nvSpPr>
        <p:spPr>
          <a:xfrm>
            <a:off x="6405326" y="2243836"/>
            <a:ext cx="2137483" cy="604506"/>
          </a:xfrm>
        </p:spPr>
        <p:txBody>
          <a:bodyPr anchor="ctr" anchorCtr="0">
            <a:noAutofit/>
          </a:bodyPr>
          <a:lstStyle>
            <a:lvl1pPr marL="0" indent="0">
              <a:buNone/>
              <a:defRPr sz="1800">
                <a:solidFill>
                  <a:schemeClr val="accent4"/>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3</a:t>
            </a:r>
          </a:p>
        </p:txBody>
      </p:sp>
      <p:sp>
        <p:nvSpPr>
          <p:cNvPr id="39" name="Text Placeholder 21">
            <a:extLst>
              <a:ext uri="{FF2B5EF4-FFF2-40B4-BE49-F238E27FC236}">
                <a16:creationId xmlns:a16="http://schemas.microsoft.com/office/drawing/2014/main" id="{52DFA572-5195-BCC7-6243-744B01BDC38B}"/>
              </a:ext>
            </a:extLst>
          </p:cNvPr>
          <p:cNvSpPr>
            <a:spLocks noGrp="1"/>
          </p:cNvSpPr>
          <p:nvPr>
            <p:ph type="body" sz="quarter" idx="19"/>
          </p:nvPr>
        </p:nvSpPr>
        <p:spPr>
          <a:xfrm>
            <a:off x="6405129"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ounded Rectangle 1">
            <a:extLst>
              <a:ext uri="{FF2B5EF4-FFF2-40B4-BE49-F238E27FC236}">
                <a16:creationId xmlns:a16="http://schemas.microsoft.com/office/drawing/2014/main" id="{57AA6CC5-6E18-7065-DE29-4BA8FA78CB4D}"/>
              </a:ext>
            </a:extLst>
          </p:cNvPr>
          <p:cNvSpPr/>
          <p:nvPr userDrawn="1"/>
        </p:nvSpPr>
        <p:spPr>
          <a:xfrm rot="10800000">
            <a:off x="8910023" y="1956124"/>
            <a:ext cx="2547418" cy="3842796"/>
          </a:xfrm>
          <a:prstGeom prst="roundRect">
            <a:avLst>
              <a:gd name="adj" fmla="val 6373"/>
            </a:avLst>
          </a:prstGeom>
          <a:solidFill>
            <a:schemeClr val="bg1"/>
          </a:solidFill>
          <a:ln w="19050" cap="rnd">
            <a:solidFill>
              <a:schemeClr val="bg1">
                <a:lumMod val="9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4D643D71-D0E4-8FA0-A3FF-20BCD32757DF}"/>
              </a:ext>
            </a:extLst>
          </p:cNvPr>
          <p:cNvSpPr/>
          <p:nvPr userDrawn="1"/>
        </p:nvSpPr>
        <p:spPr>
          <a:xfrm>
            <a:off x="9055169" y="2089131"/>
            <a:ext cx="2274028" cy="889218"/>
          </a:xfrm>
          <a:prstGeom prst="roundRect">
            <a:avLst/>
          </a:prstGeom>
          <a:solidFill>
            <a:schemeClr val="bg1"/>
          </a:solid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E68632E6-9608-BF51-9F31-08004BEC9A02}"/>
              </a:ext>
            </a:extLst>
          </p:cNvPr>
          <p:cNvSpPr>
            <a:spLocks noGrp="1"/>
          </p:cNvSpPr>
          <p:nvPr>
            <p:ph type="body" sz="quarter" idx="20" hasCustomPrompt="1"/>
          </p:nvPr>
        </p:nvSpPr>
        <p:spPr>
          <a:xfrm>
            <a:off x="9129993" y="2243836"/>
            <a:ext cx="2137483" cy="604506"/>
          </a:xfrm>
        </p:spPr>
        <p:txBody>
          <a:bodyPr anchor="ctr" anchorCtr="0">
            <a:noAutofit/>
          </a:bodyPr>
          <a:lstStyle>
            <a:lvl1pPr marL="0" indent="0">
              <a:buNone/>
              <a:defRPr sz="1800">
                <a:solidFill>
                  <a:schemeClr val="accent5"/>
                </a:solidFill>
                <a:latin typeface="+mj-lt"/>
              </a:defRPr>
            </a:lvl1pPr>
            <a:lvl2pPr marL="271462" indent="0">
              <a:buNone/>
              <a:defRPr sz="1600"/>
            </a:lvl2pPr>
            <a:lvl3pPr marL="493712" indent="0">
              <a:buNone/>
              <a:defRPr sz="1600"/>
            </a:lvl3pPr>
            <a:lvl4pPr marL="715963" indent="0">
              <a:buNone/>
              <a:defRPr sz="1600"/>
            </a:lvl4pPr>
            <a:lvl5pPr marL="936625" indent="0">
              <a:buNone/>
              <a:defRPr sz="1600"/>
            </a:lvl5pPr>
          </a:lstStyle>
          <a:p>
            <a:pPr lvl="0"/>
            <a:r>
              <a:rPr lang="en-US"/>
              <a:t>Item 4</a:t>
            </a:r>
          </a:p>
        </p:txBody>
      </p:sp>
      <p:sp>
        <p:nvSpPr>
          <p:cNvPr id="8" name="Text Placeholder 21">
            <a:extLst>
              <a:ext uri="{FF2B5EF4-FFF2-40B4-BE49-F238E27FC236}">
                <a16:creationId xmlns:a16="http://schemas.microsoft.com/office/drawing/2014/main" id="{7359F489-B01C-3902-2F61-1178E0906B69}"/>
              </a:ext>
            </a:extLst>
          </p:cNvPr>
          <p:cNvSpPr>
            <a:spLocks noGrp="1"/>
          </p:cNvSpPr>
          <p:nvPr>
            <p:ph type="body" sz="quarter" idx="21"/>
          </p:nvPr>
        </p:nvSpPr>
        <p:spPr>
          <a:xfrm>
            <a:off x="9129796" y="3082163"/>
            <a:ext cx="2137679" cy="2495355"/>
          </a:xfrm>
        </p:spPr>
        <p:txBody>
          <a:bodyPr>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5374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up – Text">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1243C703-78B9-06C4-F3ED-44D632DB7B34}"/>
              </a:ext>
            </a:extLst>
          </p:cNvPr>
          <p:cNvSpPr>
            <a:spLocks noGrp="1"/>
          </p:cNvSpPr>
          <p:nvPr>
            <p:ph type="body" sz="quarter" idx="27"/>
          </p:nvPr>
        </p:nvSpPr>
        <p:spPr>
          <a:xfrm>
            <a:off x="562257" y="1446821"/>
            <a:ext cx="2550542"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10">
            <a:extLst>
              <a:ext uri="{FF2B5EF4-FFF2-40B4-BE49-F238E27FC236}">
                <a16:creationId xmlns:a16="http://schemas.microsoft.com/office/drawing/2014/main" id="{FE38F48C-80FE-5AFD-8E54-402A008BC2D5}"/>
              </a:ext>
            </a:extLst>
          </p:cNvPr>
          <p:cNvSpPr>
            <a:spLocks noGrp="1"/>
          </p:cNvSpPr>
          <p:nvPr>
            <p:ph type="body" sz="quarter" idx="28"/>
          </p:nvPr>
        </p:nvSpPr>
        <p:spPr>
          <a:xfrm>
            <a:off x="563563" y="2282825"/>
            <a:ext cx="2550542"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B6B3F605-6068-C5EC-E199-296BA16A65F3}"/>
              </a:ext>
            </a:extLst>
          </p:cNvPr>
          <p:cNvSpPr>
            <a:spLocks noGrp="1"/>
          </p:cNvSpPr>
          <p:nvPr>
            <p:ph type="body" sz="quarter" idx="29"/>
          </p:nvPr>
        </p:nvSpPr>
        <p:spPr>
          <a:xfrm>
            <a:off x="3413875" y="1446821"/>
            <a:ext cx="2527581"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1" name="Text Placeholder 10">
            <a:extLst>
              <a:ext uri="{FF2B5EF4-FFF2-40B4-BE49-F238E27FC236}">
                <a16:creationId xmlns:a16="http://schemas.microsoft.com/office/drawing/2014/main" id="{3D05DEA1-2F93-3214-204E-1E6081CA43D3}"/>
              </a:ext>
            </a:extLst>
          </p:cNvPr>
          <p:cNvSpPr>
            <a:spLocks noGrp="1"/>
          </p:cNvSpPr>
          <p:nvPr>
            <p:ph type="body" sz="quarter" idx="30"/>
          </p:nvPr>
        </p:nvSpPr>
        <p:spPr>
          <a:xfrm>
            <a:off x="3413875" y="2282825"/>
            <a:ext cx="2528888"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AEA10BE5-BA92-45E1-3EF8-B87E9562C0DE}"/>
              </a:ext>
            </a:extLst>
          </p:cNvPr>
          <p:cNvSpPr>
            <a:spLocks noGrp="1"/>
          </p:cNvSpPr>
          <p:nvPr>
            <p:ph type="body" sz="quarter" idx="31"/>
          </p:nvPr>
        </p:nvSpPr>
        <p:spPr>
          <a:xfrm>
            <a:off x="6259624" y="1446821"/>
            <a:ext cx="2527581"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3" name="Text Placeholder 10">
            <a:extLst>
              <a:ext uri="{FF2B5EF4-FFF2-40B4-BE49-F238E27FC236}">
                <a16:creationId xmlns:a16="http://schemas.microsoft.com/office/drawing/2014/main" id="{B17389F2-5FE2-94C1-9426-476787C28B07}"/>
              </a:ext>
            </a:extLst>
          </p:cNvPr>
          <p:cNvSpPr>
            <a:spLocks noGrp="1"/>
          </p:cNvSpPr>
          <p:nvPr>
            <p:ph type="body" sz="quarter" idx="32"/>
          </p:nvPr>
        </p:nvSpPr>
        <p:spPr>
          <a:xfrm>
            <a:off x="6259624" y="2282825"/>
            <a:ext cx="2528888"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DA6DEC2-11DB-9464-72A0-9E0A33B082EC}"/>
              </a:ext>
            </a:extLst>
          </p:cNvPr>
          <p:cNvSpPr>
            <a:spLocks noGrp="1"/>
          </p:cNvSpPr>
          <p:nvPr>
            <p:ph type="body" sz="quarter" idx="33"/>
          </p:nvPr>
        </p:nvSpPr>
        <p:spPr>
          <a:xfrm>
            <a:off x="9088282" y="1446821"/>
            <a:ext cx="2538526" cy="724535"/>
          </a:xfrm>
          <a:prstGeom prst="rect">
            <a:avLst/>
          </a:prstGeom>
        </p:spPr>
        <p:txBody>
          <a:bodyPr>
            <a:noAutofit/>
          </a:bodyPr>
          <a:lstStyle>
            <a:lvl1pPr marL="0" indent="0">
              <a:buNone/>
              <a:defRPr sz="2400" b="0" i="0">
                <a:solidFill>
                  <a:schemeClr val="tx2"/>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15" name="Text Placeholder 10">
            <a:extLst>
              <a:ext uri="{FF2B5EF4-FFF2-40B4-BE49-F238E27FC236}">
                <a16:creationId xmlns:a16="http://schemas.microsoft.com/office/drawing/2014/main" id="{BB801C5F-E8CC-662A-B118-FB25B4E4A3F8}"/>
              </a:ext>
            </a:extLst>
          </p:cNvPr>
          <p:cNvSpPr>
            <a:spLocks noGrp="1"/>
          </p:cNvSpPr>
          <p:nvPr>
            <p:ph type="body" sz="quarter" idx="34"/>
          </p:nvPr>
        </p:nvSpPr>
        <p:spPr>
          <a:xfrm>
            <a:off x="9088280" y="2282825"/>
            <a:ext cx="2539840" cy="3897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5">
            <a:extLst>
              <a:ext uri="{FF2B5EF4-FFF2-40B4-BE49-F238E27FC236}">
                <a16:creationId xmlns:a16="http://schemas.microsoft.com/office/drawing/2014/main" id="{1D2BDB62-F348-E3D6-C88D-6E8EDC7E7642}"/>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3EC7334-A47C-3251-DF3A-4913BCB5805B}"/>
              </a:ext>
            </a:extLst>
          </p:cNvPr>
          <p:cNvSpPr>
            <a:spLocks noGrp="1"/>
          </p:cNvSpPr>
          <p:nvPr>
            <p:ph type="ftr" sz="quarter" idx="35"/>
          </p:nvPr>
        </p:nvSpPr>
        <p:spPr/>
        <p:txBody>
          <a:bodyPr/>
          <a:lstStyle/>
          <a:p>
            <a:endParaRPr lang="en-US"/>
          </a:p>
        </p:txBody>
      </p:sp>
      <p:sp>
        <p:nvSpPr>
          <p:cNvPr id="6" name="Slide Number Placeholder 5">
            <a:extLst>
              <a:ext uri="{FF2B5EF4-FFF2-40B4-BE49-F238E27FC236}">
                <a16:creationId xmlns:a16="http://schemas.microsoft.com/office/drawing/2014/main" id="{3EACF21A-A3F6-4777-24B6-074F470BC305}"/>
              </a:ext>
            </a:extLst>
          </p:cNvPr>
          <p:cNvSpPr>
            <a:spLocks noGrp="1"/>
          </p:cNvSpPr>
          <p:nvPr>
            <p:ph type="sldNum" sz="quarter" idx="36"/>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42009040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0/50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0FDF-E885-E751-27CC-38784F693844}"/>
              </a:ext>
            </a:extLst>
          </p:cNvPr>
          <p:cNvSpPr>
            <a:spLocks noGrp="1"/>
          </p:cNvSpPr>
          <p:nvPr>
            <p:ph type="title"/>
          </p:nvPr>
        </p:nvSpPr>
        <p:spPr>
          <a:xfrm>
            <a:off x="563879" y="802184"/>
            <a:ext cx="4899371" cy="2438843"/>
          </a:xfrm>
        </p:spPr>
        <p:txBody>
          <a:bodyPr/>
          <a:lstStyle>
            <a:lvl1pPr>
              <a:defRPr>
                <a:solidFill>
                  <a:schemeClr val="tx2"/>
                </a:solidFill>
              </a:defRPr>
            </a:lvl1pPr>
          </a:lstStyle>
          <a:p>
            <a:r>
              <a:rPr lang="en-US"/>
              <a:t>Click to edit Master title style</a:t>
            </a:r>
          </a:p>
        </p:txBody>
      </p:sp>
      <p:sp>
        <p:nvSpPr>
          <p:cNvPr id="5" name="Rectangle 4">
            <a:extLst>
              <a:ext uri="{FF2B5EF4-FFF2-40B4-BE49-F238E27FC236}">
                <a16:creationId xmlns:a16="http://schemas.microsoft.com/office/drawing/2014/main" id="{E4CEE93F-AF6D-6E35-86B1-82AD87B97B18}"/>
              </a:ext>
            </a:extLst>
          </p:cNvPr>
          <p:cNvSpPr/>
          <p:nvPr userDrawn="1"/>
        </p:nvSpPr>
        <p:spPr bwMode="auto">
          <a:xfrm>
            <a:off x="6095999" y="0"/>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Rectangle: Rounded Corners 27">
            <a:extLst>
              <a:ext uri="{FF2B5EF4-FFF2-40B4-BE49-F238E27FC236}">
                <a16:creationId xmlns:a16="http://schemas.microsoft.com/office/drawing/2014/main" id="{41141538-F799-AE55-832D-A2E4988EC35B}"/>
              </a:ext>
              <a:ext uri="{C183D7F6-B498-43B3-948B-1728B52AA6E4}">
                <adec:decorative xmlns:adec="http://schemas.microsoft.com/office/drawing/2017/decorative" val="1"/>
              </a:ext>
            </a:extLst>
          </p:cNvPr>
          <p:cNvSpPr>
            <a:spLocks/>
          </p:cNvSpPr>
          <p:nvPr userDrawn="1"/>
        </p:nvSpPr>
        <p:spPr bwMode="auto">
          <a:xfrm>
            <a:off x="6545482" y="533481"/>
            <a:ext cx="5197034" cy="5791039"/>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15" name="Rectangle: Rounded Corners 16">
            <a:extLst>
              <a:ext uri="{FF2B5EF4-FFF2-40B4-BE49-F238E27FC236}">
                <a16:creationId xmlns:a16="http://schemas.microsoft.com/office/drawing/2014/main" id="{C149070F-A66D-5E2E-3244-7C55BBC30870}"/>
              </a:ext>
              <a:ext uri="{C183D7F6-B498-43B3-948B-1728B52AA6E4}">
                <adec:decorative xmlns:adec="http://schemas.microsoft.com/office/drawing/2017/decorative" val="1"/>
              </a:ext>
            </a:extLst>
          </p:cNvPr>
          <p:cNvSpPr>
            <a:spLocks/>
          </p:cNvSpPr>
          <p:nvPr userDrawn="1"/>
        </p:nvSpPr>
        <p:spPr bwMode="auto">
          <a:xfrm>
            <a:off x="6709747" y="714737"/>
            <a:ext cx="4868505" cy="5428527"/>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9" name="Text Placeholder 8">
            <a:extLst>
              <a:ext uri="{FF2B5EF4-FFF2-40B4-BE49-F238E27FC236}">
                <a16:creationId xmlns:a16="http://schemas.microsoft.com/office/drawing/2014/main" id="{8F9C9932-B5B4-77E0-4A68-C00D19710860}"/>
              </a:ext>
            </a:extLst>
          </p:cNvPr>
          <p:cNvSpPr>
            <a:spLocks noGrp="1"/>
          </p:cNvSpPr>
          <p:nvPr>
            <p:ph type="body" sz="quarter" idx="12"/>
          </p:nvPr>
        </p:nvSpPr>
        <p:spPr>
          <a:xfrm>
            <a:off x="6944810" y="983848"/>
            <a:ext cx="4386805" cy="4923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6D5E03D-ADC2-B30D-77E9-A22875DE935A}"/>
              </a:ext>
            </a:extLst>
          </p:cNvPr>
          <p:cNvSpPr>
            <a:spLocks noGrp="1"/>
          </p:cNvSpPr>
          <p:nvPr>
            <p:ph type="body" sz="quarter" idx="13"/>
          </p:nvPr>
        </p:nvSpPr>
        <p:spPr>
          <a:xfrm>
            <a:off x="563562" y="3616972"/>
            <a:ext cx="489937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86BB629-9484-000A-5559-96655730EECE}"/>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F714C493-AD31-D319-4ED1-0B65DB3D79CC}"/>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9756974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0/50 Lef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98CCE0D-919B-04EB-24FF-E7497364C7CC}"/>
              </a:ext>
            </a:extLst>
          </p:cNvPr>
          <p:cNvSpPr/>
          <p:nvPr userDrawn="1"/>
        </p:nvSpPr>
        <p:spPr bwMode="auto">
          <a:xfrm>
            <a:off x="2833" y="-1"/>
            <a:ext cx="609600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Rectangle: Rounded Corners 27">
            <a:extLst>
              <a:ext uri="{FF2B5EF4-FFF2-40B4-BE49-F238E27FC236}">
                <a16:creationId xmlns:a16="http://schemas.microsoft.com/office/drawing/2014/main" id="{20C67932-7B43-4EAB-C81F-BCD7A729D65F}"/>
              </a:ext>
              <a:ext uri="{C183D7F6-B498-43B3-948B-1728B52AA6E4}">
                <adec:decorative xmlns:adec="http://schemas.microsoft.com/office/drawing/2017/decorative" val="1"/>
              </a:ext>
            </a:extLst>
          </p:cNvPr>
          <p:cNvSpPr>
            <a:spLocks/>
          </p:cNvSpPr>
          <p:nvPr userDrawn="1"/>
        </p:nvSpPr>
        <p:spPr bwMode="auto">
          <a:xfrm>
            <a:off x="452316" y="533480"/>
            <a:ext cx="5197034" cy="5791039"/>
          </a:xfrm>
          <a:prstGeom prst="roundRect">
            <a:avLst>
              <a:gd name="adj" fmla="val 2547"/>
            </a:avLst>
          </a:prstGeom>
          <a:solidFill>
            <a:srgbClr val="FFFFFF">
              <a:alpha val="7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32472" fontAlgn="base">
              <a:spcBef>
                <a:spcPct val="0"/>
              </a:spcBef>
            </a:pPr>
            <a:endParaRPr lang="en-US" sz="1400">
              <a:solidFill>
                <a:schemeClr val="tx1"/>
              </a:solidFill>
              <a:latin typeface="Segoe Sans Display Semibold" pitchFamily="2" charset="0"/>
              <a:cs typeface="Segoe Sans Display Semibold" pitchFamily="2" charset="0"/>
            </a:endParaRPr>
          </a:p>
        </p:txBody>
      </p:sp>
      <p:sp>
        <p:nvSpPr>
          <p:cNvPr id="15" name="Rectangle: Rounded Corners 16">
            <a:extLst>
              <a:ext uri="{FF2B5EF4-FFF2-40B4-BE49-F238E27FC236}">
                <a16:creationId xmlns:a16="http://schemas.microsoft.com/office/drawing/2014/main" id="{E0EE0EE7-0EF6-0C19-77E4-E97851565C48}"/>
              </a:ext>
              <a:ext uri="{C183D7F6-B498-43B3-948B-1728B52AA6E4}">
                <adec:decorative xmlns:adec="http://schemas.microsoft.com/office/drawing/2017/decorative" val="1"/>
              </a:ext>
            </a:extLst>
          </p:cNvPr>
          <p:cNvSpPr>
            <a:spLocks/>
          </p:cNvSpPr>
          <p:nvPr userDrawn="1"/>
        </p:nvSpPr>
        <p:spPr bwMode="auto">
          <a:xfrm>
            <a:off x="616581" y="714736"/>
            <a:ext cx="4868505" cy="5428527"/>
          </a:xfrm>
          <a:prstGeom prst="roundRect">
            <a:avLst>
              <a:gd name="adj" fmla="val 2547"/>
            </a:avLst>
          </a:prstGeom>
          <a:solidFill>
            <a:srgbClr val="FFFFFF">
              <a:alpha val="94098"/>
            </a:srgbClr>
          </a:solidFill>
          <a:ln>
            <a:noFill/>
            <a:headEnd type="none" w="med" len="med"/>
            <a:tailEnd type="none" w="med" len="med"/>
          </a:ln>
          <a:effectLst>
            <a:outerShdw blurRad="508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400">
              <a:spcAft>
                <a:spcPts val="800"/>
              </a:spcAft>
            </a:pPr>
            <a:endParaRPr lang="en-US" sz="1400">
              <a:solidFill>
                <a:schemeClr val="bg2"/>
              </a:solidFill>
              <a:cs typeface="Segoe UI" pitchFamily="34" charset="0"/>
            </a:endParaRPr>
          </a:p>
        </p:txBody>
      </p:sp>
      <p:sp>
        <p:nvSpPr>
          <p:cNvPr id="9" name="Text Placeholder 8">
            <a:extLst>
              <a:ext uri="{FF2B5EF4-FFF2-40B4-BE49-F238E27FC236}">
                <a16:creationId xmlns:a16="http://schemas.microsoft.com/office/drawing/2014/main" id="{8F9C9932-B5B4-77E0-4A68-C00D19710860}"/>
              </a:ext>
            </a:extLst>
          </p:cNvPr>
          <p:cNvSpPr>
            <a:spLocks noGrp="1"/>
          </p:cNvSpPr>
          <p:nvPr>
            <p:ph type="body" sz="quarter" idx="12"/>
          </p:nvPr>
        </p:nvSpPr>
        <p:spPr>
          <a:xfrm>
            <a:off x="833377" y="960699"/>
            <a:ext cx="4409955" cy="49519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547391" y="807201"/>
            <a:ext cx="5028028"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547074" y="3621989"/>
            <a:ext cx="5028028"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965ACFE-0409-52E6-D94E-C9EA16698B7F}"/>
              </a:ext>
            </a:extLst>
          </p:cNvPr>
          <p:cNvSpPr>
            <a:spLocks noGrp="1"/>
          </p:cNvSpPr>
          <p:nvPr>
            <p:ph type="ftr" sz="quarter" idx="14"/>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FFCE2BD-122B-6CB9-F2E1-F953C6B5560F}"/>
              </a:ext>
            </a:extLst>
          </p:cNvPr>
          <p:cNvSpPr>
            <a:spLocks noGrp="1"/>
          </p:cNvSpPr>
          <p:nvPr>
            <p:ph type="sldNum" sz="quarter" idx="15"/>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8598923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lor Block Left Blu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13174789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or Block Left Nav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2"/>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37741316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3B422-5174-2832-29E6-47BC09785D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616935B-5D46-82CC-5D00-82DC7DAEC0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CED17D3-5AE5-D7A4-9F88-2498DB160F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57B199-BEF3-63EF-17A8-1CBC24DA9844}"/>
              </a:ext>
            </a:extLst>
          </p:cNvPr>
          <p:cNvSpPr>
            <a:spLocks noGrp="1"/>
          </p:cNvSpPr>
          <p:nvPr>
            <p:ph type="dt" sz="half" idx="10"/>
          </p:nvPr>
        </p:nvSpPr>
        <p:spPr/>
        <p:txBody>
          <a:bodyPr/>
          <a:lstStyle/>
          <a:p>
            <a:fld id="{3EDA956F-EA79-4FAE-B437-0F4D948D2A4B}" type="datetimeFigureOut">
              <a:rPr lang="en-GB" smtClean="0"/>
              <a:t>15/05/2025</a:t>
            </a:fld>
            <a:endParaRPr lang="en-GB"/>
          </a:p>
        </p:txBody>
      </p:sp>
      <p:sp>
        <p:nvSpPr>
          <p:cNvPr id="6" name="Footer Placeholder 5">
            <a:extLst>
              <a:ext uri="{FF2B5EF4-FFF2-40B4-BE49-F238E27FC236}">
                <a16:creationId xmlns:a16="http://schemas.microsoft.com/office/drawing/2014/main" id="{E44FD5DD-1552-2787-FD41-BD9F97D7AE8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3394288-A843-1610-6F1C-CCD045EE78CE}"/>
              </a:ext>
            </a:extLst>
          </p:cNvPr>
          <p:cNvSpPr>
            <a:spLocks noGrp="1"/>
          </p:cNvSpPr>
          <p:nvPr>
            <p:ph type="sldNum" sz="quarter" idx="12"/>
          </p:nvPr>
        </p:nvSpPr>
        <p:spPr/>
        <p:txBody>
          <a:bodyPr/>
          <a:lstStyle/>
          <a:p>
            <a:fld id="{585A852D-A172-41E5-8E01-8859095A36DF}" type="slidenum">
              <a:rPr lang="en-GB" smtClean="0"/>
              <a:t>‹#›</a:t>
            </a:fld>
            <a:endParaRPr lang="en-GB"/>
          </a:p>
        </p:txBody>
      </p:sp>
    </p:spTree>
    <p:extLst>
      <p:ext uri="{BB962C8B-B14F-4D97-AF65-F5344CB8AC3E}">
        <p14:creationId xmlns:p14="http://schemas.microsoft.com/office/powerpoint/2010/main" val="28216643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lor Block Left Gree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4"/>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30049697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lor Block Left Gre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5359078" y="807201"/>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5358761" y="3621989"/>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5"/>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25333809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lor Block Right Blu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5201969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lor Block Right Nav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2"/>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9021751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lor Block Right Gree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4"/>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4830372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lor Block Right Gre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5B4D387-6766-02A6-1E9E-7555880F4E99}"/>
              </a:ext>
            </a:extLst>
          </p:cNvPr>
          <p:cNvSpPr>
            <a:spLocks noGrp="1"/>
          </p:cNvSpPr>
          <p:nvPr>
            <p:ph type="title"/>
          </p:nvPr>
        </p:nvSpPr>
        <p:spPr>
          <a:xfrm>
            <a:off x="682910" y="830350"/>
            <a:ext cx="6216341" cy="2438843"/>
          </a:xfrm>
        </p:spPr>
        <p:txBody>
          <a:bodyPr/>
          <a:lstStyle/>
          <a:p>
            <a:r>
              <a:rPr lang="en-US"/>
              <a:t>Click to edit Master title style</a:t>
            </a:r>
          </a:p>
        </p:txBody>
      </p:sp>
      <p:sp>
        <p:nvSpPr>
          <p:cNvPr id="4" name="Text Placeholder 10">
            <a:extLst>
              <a:ext uri="{FF2B5EF4-FFF2-40B4-BE49-F238E27FC236}">
                <a16:creationId xmlns:a16="http://schemas.microsoft.com/office/drawing/2014/main" id="{A9D7E396-2A19-AC73-C944-C5AFA5D2DA84}"/>
              </a:ext>
            </a:extLst>
          </p:cNvPr>
          <p:cNvSpPr>
            <a:spLocks noGrp="1"/>
          </p:cNvSpPr>
          <p:nvPr>
            <p:ph type="body" sz="quarter" idx="13"/>
          </p:nvPr>
        </p:nvSpPr>
        <p:spPr>
          <a:xfrm>
            <a:off x="682593" y="3645138"/>
            <a:ext cx="6216341" cy="22906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E18AE4AB-EB1A-F2BA-4DB0-BBAB14D3F24E}"/>
              </a:ext>
            </a:extLst>
          </p:cNvPr>
          <p:cNvSpPr/>
          <p:nvPr userDrawn="1"/>
        </p:nvSpPr>
        <p:spPr>
          <a:xfrm flipV="1">
            <a:off x="7597698" y="0"/>
            <a:ext cx="4594302" cy="6858004"/>
          </a:xfrm>
          <a:prstGeom prst="rect">
            <a:avLst/>
          </a:prstGeom>
          <a:solidFill>
            <a:schemeClr val="accent5"/>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6" name="Text Placeholder 10">
            <a:extLst>
              <a:ext uri="{FF2B5EF4-FFF2-40B4-BE49-F238E27FC236}">
                <a16:creationId xmlns:a16="http://schemas.microsoft.com/office/drawing/2014/main" id="{943B972E-5B0B-66E6-065D-3F47097A5810}"/>
              </a:ext>
            </a:extLst>
          </p:cNvPr>
          <p:cNvSpPr>
            <a:spLocks noGrp="1"/>
          </p:cNvSpPr>
          <p:nvPr>
            <p:ph type="body" sz="quarter" idx="14"/>
          </p:nvPr>
        </p:nvSpPr>
        <p:spPr>
          <a:xfrm>
            <a:off x="8037436" y="807206"/>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7" name="Text Placeholder 10">
            <a:extLst>
              <a:ext uri="{FF2B5EF4-FFF2-40B4-BE49-F238E27FC236}">
                <a16:creationId xmlns:a16="http://schemas.microsoft.com/office/drawing/2014/main" id="{55A83EFA-0A75-6D8D-0B62-2B7711EAFFBD}"/>
              </a:ext>
            </a:extLst>
          </p:cNvPr>
          <p:cNvSpPr>
            <a:spLocks noGrp="1"/>
          </p:cNvSpPr>
          <p:nvPr>
            <p:ph type="body" sz="quarter" idx="15"/>
          </p:nvPr>
        </p:nvSpPr>
        <p:spPr>
          <a:xfrm>
            <a:off x="8037436" y="2905251"/>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8" name="Footer Placeholder 7">
            <a:extLst>
              <a:ext uri="{FF2B5EF4-FFF2-40B4-BE49-F238E27FC236}">
                <a16:creationId xmlns:a16="http://schemas.microsoft.com/office/drawing/2014/main" id="{49AEE9FC-9492-097B-2CA6-A8A821D19789}"/>
              </a:ext>
            </a:extLst>
          </p:cNvPr>
          <p:cNvSpPr>
            <a:spLocks noGrp="1"/>
          </p:cNvSpPr>
          <p:nvPr>
            <p:ph type="ftr" sz="quarter" idx="16"/>
          </p:nvPr>
        </p:nvSpPr>
        <p:spPr/>
        <p:txBody>
          <a:bodyPr/>
          <a:lstStyle/>
          <a:p>
            <a:endParaRPr lang="en-US"/>
          </a:p>
        </p:txBody>
      </p:sp>
      <p:sp>
        <p:nvSpPr>
          <p:cNvPr id="9" name="Slide Number Placeholder 8">
            <a:extLst>
              <a:ext uri="{FF2B5EF4-FFF2-40B4-BE49-F238E27FC236}">
                <a16:creationId xmlns:a16="http://schemas.microsoft.com/office/drawing/2014/main" id="{7872FD48-54FF-42D5-EE75-ABDC6FCF4B49}"/>
              </a:ext>
            </a:extLst>
          </p:cNvPr>
          <p:cNvSpPr>
            <a:spLocks noGrp="1"/>
          </p:cNvSpPr>
          <p:nvPr>
            <p:ph type="sldNum" sz="quarter" idx="17"/>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2219402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oduct View Righ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endParaRPr lang="en-US"/>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577147695"/>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oduct View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7449820" y="1403746"/>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5F63A2F-5523-CAA4-2CC0-315D02F79FCB}"/>
              </a:ext>
            </a:extLst>
          </p:cNvPr>
          <p:cNvSpPr>
            <a:spLocks noGrp="1"/>
          </p:cNvSpPr>
          <p:nvPr>
            <p:ph type="ftr" sz="quarter" idx="27"/>
          </p:nvPr>
        </p:nvSpPr>
        <p:spPr/>
        <p:txBody>
          <a:bodyPr/>
          <a:lstStyle/>
          <a:p>
            <a:endParaRPr lang="en-US"/>
          </a:p>
        </p:txBody>
      </p:sp>
      <p:sp>
        <p:nvSpPr>
          <p:cNvPr id="7" name="Slide Number Placeholder 6">
            <a:extLst>
              <a:ext uri="{FF2B5EF4-FFF2-40B4-BE49-F238E27FC236}">
                <a16:creationId xmlns:a16="http://schemas.microsoft.com/office/drawing/2014/main" id="{26664097-0F62-E65A-F7B5-4B090045E015}"/>
              </a:ext>
            </a:extLst>
          </p:cNvPr>
          <p:cNvSpPr>
            <a:spLocks noGrp="1"/>
          </p:cNvSpPr>
          <p:nvPr>
            <p:ph type="sldNum" sz="quarter" idx="28"/>
          </p:nvPr>
        </p:nvSpPr>
        <p:spPr/>
        <p:txBody>
          <a:bodyPr/>
          <a:lstStyle/>
          <a:p>
            <a:fld id="{B1356FBF-028C-F74E-A7B4-9B8ED246DD1B}" type="slidenum">
              <a:rPr lang="en-US" smtClean="0"/>
              <a:pPr/>
              <a:t>‹#›</a:t>
            </a:fld>
            <a:endParaRPr lang="en-US"/>
          </a:p>
        </p:txBody>
      </p:sp>
      <p:pic>
        <p:nvPicPr>
          <p:cNvPr id="2" name="Picture 1" descr="A black screen with a black background&#10;&#10;Description automatically generated">
            <a:extLst>
              <a:ext uri="{FF2B5EF4-FFF2-40B4-BE49-F238E27FC236}">
                <a16:creationId xmlns:a16="http://schemas.microsoft.com/office/drawing/2014/main" id="{3D4637E6-5CA1-DABE-E1BA-FD1476F443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055" y="1373144"/>
            <a:ext cx="7772400" cy="5272365"/>
          </a:xfrm>
          <a:prstGeom prst="rect">
            <a:avLst/>
          </a:prstGeom>
        </p:spPr>
      </p:pic>
      <p:sp>
        <p:nvSpPr>
          <p:cNvPr id="4" name="Picture Placeholder 16">
            <a:extLst>
              <a:ext uri="{FF2B5EF4-FFF2-40B4-BE49-F238E27FC236}">
                <a16:creationId xmlns:a16="http://schemas.microsoft.com/office/drawing/2014/main" id="{55C3C08B-B20C-BB15-F7C0-1304F0FD8B9B}"/>
              </a:ext>
            </a:extLst>
          </p:cNvPr>
          <p:cNvSpPr>
            <a:spLocks noGrp="1"/>
          </p:cNvSpPr>
          <p:nvPr>
            <p:ph type="pic" sz="quarter" idx="12"/>
          </p:nvPr>
        </p:nvSpPr>
        <p:spPr>
          <a:xfrm>
            <a:off x="-171981" y="1671872"/>
            <a:ext cx="7175500" cy="4032250"/>
          </a:xfrm>
          <a:prstGeom prst="rect">
            <a:avLst/>
          </a:prstGeom>
          <a:solidFill>
            <a:schemeClr val="accent5"/>
          </a:solidFill>
        </p:spPr>
        <p:txBody>
          <a:bodyPr anchor="ct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2090395495"/>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CF9DC3-A7B1-081E-87CD-FD3C6985298D}"/>
              </a:ext>
            </a:extLst>
          </p:cNvPr>
          <p:cNvSpPr/>
          <p:nvPr userDrawn="1"/>
        </p:nvSpPr>
        <p:spPr>
          <a:xfrm flipV="1">
            <a:off x="0" y="-5"/>
            <a:ext cx="4594302" cy="6858004"/>
          </a:xfrm>
          <a:prstGeom prst="rect">
            <a:avLst/>
          </a:prstGeom>
          <a:solidFill>
            <a:schemeClr val="accent1"/>
          </a:solidFill>
          <a:ln w="3175">
            <a:noFill/>
          </a:ln>
          <a:effectLst>
            <a:outerShdw blurRad="127000" dist="38100" dir="270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1" name="Text Placeholder 10">
            <a:extLst>
              <a:ext uri="{FF2B5EF4-FFF2-40B4-BE49-F238E27FC236}">
                <a16:creationId xmlns:a16="http://schemas.microsoft.com/office/drawing/2014/main" id="{FE51C997-B199-0C3F-FF10-25373E4DE01E}"/>
              </a:ext>
            </a:extLst>
          </p:cNvPr>
          <p:cNvSpPr>
            <a:spLocks noGrp="1"/>
          </p:cNvSpPr>
          <p:nvPr>
            <p:ph type="body" sz="quarter" idx="14"/>
          </p:nvPr>
        </p:nvSpPr>
        <p:spPr>
          <a:xfrm>
            <a:off x="439738" y="807201"/>
            <a:ext cx="3657600" cy="1721270"/>
          </a:xfrm>
        </p:spPr>
        <p:txBody>
          <a:bodyPr>
            <a:noAutofit/>
          </a:bodyPr>
          <a:lstStyle>
            <a:lvl1pPr marL="0" indent="0">
              <a:buNone/>
              <a:defRPr sz="3600">
                <a:solidFill>
                  <a:schemeClr val="bg1"/>
                </a:solidFill>
                <a:latin typeface="+mj-lt"/>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936FCC2F-6089-5A2A-9307-11B0CFAFC53E}"/>
              </a:ext>
            </a:extLst>
          </p:cNvPr>
          <p:cNvSpPr>
            <a:spLocks noGrp="1"/>
          </p:cNvSpPr>
          <p:nvPr>
            <p:ph type="body" sz="quarter" idx="15"/>
          </p:nvPr>
        </p:nvSpPr>
        <p:spPr>
          <a:xfrm>
            <a:off x="439738" y="2905246"/>
            <a:ext cx="3657600" cy="3007411"/>
          </a:xfrm>
        </p:spPr>
        <p:txBody>
          <a:bodyPr>
            <a:noAutofit/>
          </a:bodyPr>
          <a:lstStyle>
            <a:lvl1pPr marL="0" indent="0">
              <a:buNone/>
              <a:defRPr sz="2400">
                <a:solidFill>
                  <a:schemeClr val="bg1"/>
                </a:solidFill>
              </a:defRPr>
            </a:lvl1pPr>
            <a:lvl2pPr marL="271462" indent="0">
              <a:buNone/>
              <a:defRPr sz="3600">
                <a:solidFill>
                  <a:schemeClr val="bg1"/>
                </a:solidFill>
              </a:defRPr>
            </a:lvl2pPr>
            <a:lvl3pPr marL="493712" indent="0">
              <a:buNone/>
              <a:defRPr sz="3600">
                <a:solidFill>
                  <a:schemeClr val="bg1"/>
                </a:solidFill>
              </a:defRPr>
            </a:lvl3pPr>
            <a:lvl4pPr marL="715963" indent="0">
              <a:buNone/>
              <a:defRPr sz="3600">
                <a:solidFill>
                  <a:schemeClr val="bg1"/>
                </a:solidFill>
              </a:defRPr>
            </a:lvl4pPr>
            <a:lvl5pPr marL="936625" indent="0">
              <a:buNone/>
              <a:defRPr sz="3600">
                <a:solidFill>
                  <a:schemeClr val="bg1"/>
                </a:solidFill>
              </a:defRPr>
            </a:lvl5pPr>
          </a:lstStyle>
          <a:p>
            <a:pPr lvl="0"/>
            <a:r>
              <a:rPr lang="en-US"/>
              <a:t>Click to edit Master text styles</a:t>
            </a:r>
          </a:p>
        </p:txBody>
      </p:sp>
      <p:sp>
        <p:nvSpPr>
          <p:cNvPr id="13" name="Footer Placeholder 12">
            <a:extLst>
              <a:ext uri="{FF2B5EF4-FFF2-40B4-BE49-F238E27FC236}">
                <a16:creationId xmlns:a16="http://schemas.microsoft.com/office/drawing/2014/main" id="{CBBEF228-3E8D-1A86-390C-1FF47DED035F}"/>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4" name="Slide Number Placeholder 13">
            <a:extLst>
              <a:ext uri="{FF2B5EF4-FFF2-40B4-BE49-F238E27FC236}">
                <a16:creationId xmlns:a16="http://schemas.microsoft.com/office/drawing/2014/main" id="{2C1755A1-8017-C6B0-E590-1BAF58610912}"/>
              </a:ext>
            </a:extLst>
          </p:cNvPr>
          <p:cNvSpPr>
            <a:spLocks noGrp="1"/>
          </p:cNvSpPr>
          <p:nvPr>
            <p:ph type="sldNum" sz="quarter" idx="17"/>
          </p:nvPr>
        </p:nvSpPr>
        <p:spPr/>
        <p:txBody>
          <a:bodyPr/>
          <a:lstStyle>
            <a:lvl1pPr>
              <a:defRPr>
                <a:solidFill>
                  <a:schemeClr val="bg1"/>
                </a:solidFill>
              </a:defRPr>
            </a:lvl1pPr>
          </a:lstStyle>
          <a:p>
            <a:fld id="{B1356FBF-028C-F74E-A7B4-9B8ED246DD1B}" type="slidenum">
              <a:rPr lang="en-US" smtClean="0"/>
              <a:pPr/>
              <a:t>‹#›</a:t>
            </a:fld>
            <a:endParaRPr lang="en-US"/>
          </a:p>
        </p:txBody>
      </p:sp>
      <p:sp>
        <p:nvSpPr>
          <p:cNvPr id="39" name="Text Placeholder 24">
            <a:extLst>
              <a:ext uri="{FF2B5EF4-FFF2-40B4-BE49-F238E27FC236}">
                <a16:creationId xmlns:a16="http://schemas.microsoft.com/office/drawing/2014/main" id="{3E081657-9BA8-E53E-A9DF-F0B7F0620298}"/>
              </a:ext>
            </a:extLst>
          </p:cNvPr>
          <p:cNvSpPr>
            <a:spLocks noGrp="1"/>
          </p:cNvSpPr>
          <p:nvPr>
            <p:ph type="body" sz="quarter" idx="24" hasCustomPrompt="1"/>
          </p:nvPr>
        </p:nvSpPr>
        <p:spPr>
          <a:xfrm>
            <a:off x="6630771" y="3027318"/>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0" name="Text Placeholder 24">
            <a:extLst>
              <a:ext uri="{FF2B5EF4-FFF2-40B4-BE49-F238E27FC236}">
                <a16:creationId xmlns:a16="http://schemas.microsoft.com/office/drawing/2014/main" id="{A7F715FE-D0C8-EF45-1543-34BC9A0858BF}"/>
              </a:ext>
            </a:extLst>
          </p:cNvPr>
          <p:cNvSpPr>
            <a:spLocks noGrp="1"/>
          </p:cNvSpPr>
          <p:nvPr>
            <p:ph type="body" sz="quarter" idx="27" hasCustomPrompt="1"/>
          </p:nvPr>
        </p:nvSpPr>
        <p:spPr>
          <a:xfrm>
            <a:off x="6630771" y="3672826"/>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1" name="Oval 40">
            <a:extLst>
              <a:ext uri="{FF2B5EF4-FFF2-40B4-BE49-F238E27FC236}">
                <a16:creationId xmlns:a16="http://schemas.microsoft.com/office/drawing/2014/main" id="{A4E42707-8138-4329-15EC-E6552F75FD91}"/>
              </a:ext>
            </a:extLst>
          </p:cNvPr>
          <p:cNvSpPr/>
          <p:nvPr userDrawn="1"/>
        </p:nvSpPr>
        <p:spPr>
          <a:xfrm>
            <a:off x="5462471" y="3012759"/>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24">
            <a:extLst>
              <a:ext uri="{FF2B5EF4-FFF2-40B4-BE49-F238E27FC236}">
                <a16:creationId xmlns:a16="http://schemas.microsoft.com/office/drawing/2014/main" id="{624EC0AF-8A43-77A1-831E-AAF512D9C571}"/>
              </a:ext>
            </a:extLst>
          </p:cNvPr>
          <p:cNvSpPr>
            <a:spLocks noGrp="1"/>
          </p:cNvSpPr>
          <p:nvPr>
            <p:ph type="body" sz="quarter" idx="29" hasCustomPrompt="1"/>
          </p:nvPr>
        </p:nvSpPr>
        <p:spPr>
          <a:xfrm>
            <a:off x="6630771" y="4262074"/>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3" name="Text Placeholder 24">
            <a:extLst>
              <a:ext uri="{FF2B5EF4-FFF2-40B4-BE49-F238E27FC236}">
                <a16:creationId xmlns:a16="http://schemas.microsoft.com/office/drawing/2014/main" id="{7D7B75D3-0CC4-DFF5-3E7B-870921517D6F}"/>
              </a:ext>
            </a:extLst>
          </p:cNvPr>
          <p:cNvSpPr>
            <a:spLocks noGrp="1"/>
          </p:cNvSpPr>
          <p:nvPr>
            <p:ph type="body" sz="quarter" idx="30" hasCustomPrompt="1"/>
          </p:nvPr>
        </p:nvSpPr>
        <p:spPr>
          <a:xfrm>
            <a:off x="6630771" y="4879916"/>
            <a:ext cx="4218852" cy="282230"/>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4" name="Oval 43">
            <a:extLst>
              <a:ext uri="{FF2B5EF4-FFF2-40B4-BE49-F238E27FC236}">
                <a16:creationId xmlns:a16="http://schemas.microsoft.com/office/drawing/2014/main" id="{FC65B837-8879-337F-4C05-F952E6E978CB}"/>
              </a:ext>
            </a:extLst>
          </p:cNvPr>
          <p:cNvSpPr/>
          <p:nvPr userDrawn="1"/>
        </p:nvSpPr>
        <p:spPr>
          <a:xfrm>
            <a:off x="5462471" y="4287463"/>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24">
            <a:extLst>
              <a:ext uri="{FF2B5EF4-FFF2-40B4-BE49-F238E27FC236}">
                <a16:creationId xmlns:a16="http://schemas.microsoft.com/office/drawing/2014/main" id="{BF192180-6720-E1CC-C58B-2C6DFFEEB669}"/>
              </a:ext>
            </a:extLst>
          </p:cNvPr>
          <p:cNvSpPr>
            <a:spLocks noGrp="1"/>
          </p:cNvSpPr>
          <p:nvPr>
            <p:ph type="body" sz="quarter" idx="31" hasCustomPrompt="1"/>
          </p:nvPr>
        </p:nvSpPr>
        <p:spPr>
          <a:xfrm>
            <a:off x="6630771" y="428264"/>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6" name="Text Placeholder 24">
            <a:extLst>
              <a:ext uri="{FF2B5EF4-FFF2-40B4-BE49-F238E27FC236}">
                <a16:creationId xmlns:a16="http://schemas.microsoft.com/office/drawing/2014/main" id="{CA763EA7-D260-1BFD-2A19-2DA14BD0D744}"/>
              </a:ext>
            </a:extLst>
          </p:cNvPr>
          <p:cNvSpPr>
            <a:spLocks noGrp="1"/>
          </p:cNvSpPr>
          <p:nvPr>
            <p:ph type="body" sz="quarter" idx="32" hasCustomPrompt="1"/>
          </p:nvPr>
        </p:nvSpPr>
        <p:spPr>
          <a:xfrm>
            <a:off x="6630771" y="1073772"/>
            <a:ext cx="4218852" cy="280432"/>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47" name="Oval 46">
            <a:extLst>
              <a:ext uri="{FF2B5EF4-FFF2-40B4-BE49-F238E27FC236}">
                <a16:creationId xmlns:a16="http://schemas.microsoft.com/office/drawing/2014/main" id="{97969CA3-64E9-2681-73FC-2B0EBA37F951}"/>
              </a:ext>
            </a:extLst>
          </p:cNvPr>
          <p:cNvSpPr/>
          <p:nvPr userDrawn="1"/>
        </p:nvSpPr>
        <p:spPr>
          <a:xfrm>
            <a:off x="5471374" y="463351"/>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 Placeholder 24">
            <a:extLst>
              <a:ext uri="{FF2B5EF4-FFF2-40B4-BE49-F238E27FC236}">
                <a16:creationId xmlns:a16="http://schemas.microsoft.com/office/drawing/2014/main" id="{19391E68-A4C0-EFE6-5571-6117C387880C}"/>
              </a:ext>
            </a:extLst>
          </p:cNvPr>
          <p:cNvSpPr>
            <a:spLocks noGrp="1"/>
          </p:cNvSpPr>
          <p:nvPr>
            <p:ph type="body" sz="quarter" idx="33" hasCustomPrompt="1"/>
          </p:nvPr>
        </p:nvSpPr>
        <p:spPr>
          <a:xfrm>
            <a:off x="6630771" y="1717576"/>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49" name="Text Placeholder 24">
            <a:extLst>
              <a:ext uri="{FF2B5EF4-FFF2-40B4-BE49-F238E27FC236}">
                <a16:creationId xmlns:a16="http://schemas.microsoft.com/office/drawing/2014/main" id="{9C77F54A-22D4-6C6C-8053-18C846FF5491}"/>
              </a:ext>
            </a:extLst>
          </p:cNvPr>
          <p:cNvSpPr>
            <a:spLocks noGrp="1"/>
          </p:cNvSpPr>
          <p:nvPr>
            <p:ph type="body" sz="quarter" idx="34" hasCustomPrompt="1"/>
          </p:nvPr>
        </p:nvSpPr>
        <p:spPr>
          <a:xfrm>
            <a:off x="6630771" y="2363084"/>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50" name="Oval 49">
            <a:extLst>
              <a:ext uri="{FF2B5EF4-FFF2-40B4-BE49-F238E27FC236}">
                <a16:creationId xmlns:a16="http://schemas.microsoft.com/office/drawing/2014/main" id="{5BE1D953-870A-936D-3B37-674CCB2F5439}"/>
              </a:ext>
            </a:extLst>
          </p:cNvPr>
          <p:cNvSpPr/>
          <p:nvPr userDrawn="1"/>
        </p:nvSpPr>
        <p:spPr>
          <a:xfrm>
            <a:off x="5471374" y="1738055"/>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 Placeholder 24">
            <a:extLst>
              <a:ext uri="{FF2B5EF4-FFF2-40B4-BE49-F238E27FC236}">
                <a16:creationId xmlns:a16="http://schemas.microsoft.com/office/drawing/2014/main" id="{C0FCF0D2-B421-F5C9-5D38-4FA435C3A89C}"/>
              </a:ext>
            </a:extLst>
          </p:cNvPr>
          <p:cNvSpPr>
            <a:spLocks noGrp="1"/>
          </p:cNvSpPr>
          <p:nvPr>
            <p:ph type="body" sz="quarter" idx="35" hasCustomPrompt="1"/>
          </p:nvPr>
        </p:nvSpPr>
        <p:spPr>
          <a:xfrm>
            <a:off x="6639674" y="5540875"/>
            <a:ext cx="4218852" cy="520384"/>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a:t>
            </a:r>
          </a:p>
        </p:txBody>
      </p:sp>
      <p:sp>
        <p:nvSpPr>
          <p:cNvPr id="52" name="Text Placeholder 24">
            <a:extLst>
              <a:ext uri="{FF2B5EF4-FFF2-40B4-BE49-F238E27FC236}">
                <a16:creationId xmlns:a16="http://schemas.microsoft.com/office/drawing/2014/main" id="{513467B0-29BB-3CCC-E7E2-028061C19FEB}"/>
              </a:ext>
            </a:extLst>
          </p:cNvPr>
          <p:cNvSpPr>
            <a:spLocks noGrp="1"/>
          </p:cNvSpPr>
          <p:nvPr>
            <p:ph type="body" sz="quarter" idx="36" hasCustomPrompt="1"/>
          </p:nvPr>
        </p:nvSpPr>
        <p:spPr>
          <a:xfrm>
            <a:off x="6639674" y="6158717"/>
            <a:ext cx="4218852" cy="282230"/>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53" name="Oval 52">
            <a:extLst>
              <a:ext uri="{FF2B5EF4-FFF2-40B4-BE49-F238E27FC236}">
                <a16:creationId xmlns:a16="http://schemas.microsoft.com/office/drawing/2014/main" id="{407C03F8-38F0-DAC1-C64D-6B4AC72C4F88}"/>
              </a:ext>
            </a:extLst>
          </p:cNvPr>
          <p:cNvSpPr/>
          <p:nvPr userDrawn="1"/>
        </p:nvSpPr>
        <p:spPr>
          <a:xfrm>
            <a:off x="5471374" y="5562166"/>
            <a:ext cx="816470" cy="81647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35290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C66EA4E-E3A5-ACC6-B2DC-68BF63F336B7}"/>
              </a:ext>
            </a:extLst>
          </p:cNvPr>
          <p:cNvSpPr>
            <a:spLocks noGrp="1"/>
          </p:cNvSpPr>
          <p:nvPr>
            <p:ph type="ftr" sz="quarter" idx="10"/>
          </p:nvPr>
        </p:nvSpPr>
        <p:spPr/>
        <p:txBody>
          <a:bodyPr/>
          <a:lstStyle/>
          <a:p>
            <a:endParaRPr lang="en-US"/>
          </a:p>
        </p:txBody>
      </p:sp>
      <p:sp>
        <p:nvSpPr>
          <p:cNvPr id="3" name="Slide Number Placeholder 2">
            <a:extLst>
              <a:ext uri="{FF2B5EF4-FFF2-40B4-BE49-F238E27FC236}">
                <a16:creationId xmlns:a16="http://schemas.microsoft.com/office/drawing/2014/main" id="{A6FB2B87-FEB5-658C-7141-B83573CC29E0}"/>
              </a:ext>
            </a:extLst>
          </p:cNvPr>
          <p:cNvSpPr>
            <a:spLocks noGrp="1"/>
          </p:cNvSpPr>
          <p:nvPr>
            <p:ph type="sldNum" sz="quarter" idx="11"/>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452634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image" Target="../media/image3.png"/><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51" Type="http://schemas.openxmlformats.org/officeDocument/2006/relationships/image" Target="../media/image4.png"/><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slideLayout" Target="../slideLayouts/slideLayout63.xml"/><Relationship Id="rId7" Type="http://schemas.openxmlformats.org/officeDocument/2006/relationships/oleObject" Target="../embeddings/oleObject1.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ags" Target="../tags/tag1.xml"/><Relationship Id="rId5" Type="http://schemas.openxmlformats.org/officeDocument/2006/relationships/theme" Target="../theme/theme3.xml"/><Relationship Id="rId10" Type="http://schemas.openxmlformats.org/officeDocument/2006/relationships/image" Target="../media/image32.svg"/><Relationship Id="rId4" Type="http://schemas.openxmlformats.org/officeDocument/2006/relationships/slideLayout" Target="../slideLayouts/slideLayout64.xml"/><Relationship Id="rId9" Type="http://schemas.openxmlformats.org/officeDocument/2006/relationships/image" Target="../media/image3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image" Target="../media/image31.png"/><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41" Type="http://schemas.openxmlformats.org/officeDocument/2006/relationships/theme" Target="../theme/theme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image" Target="../media/image32.svg"/><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51496E-093D-E3BE-960A-9491C769D5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D57A8CB-4B29-B846-2613-DB6532231F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37E0244-6AC4-3893-B3AC-3C1F30880D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DA956F-EA79-4FAE-B437-0F4D948D2A4B}" type="datetimeFigureOut">
              <a:rPr lang="en-GB" smtClean="0"/>
              <a:t>15/05/2025</a:t>
            </a:fld>
            <a:endParaRPr lang="en-GB"/>
          </a:p>
        </p:txBody>
      </p:sp>
      <p:sp>
        <p:nvSpPr>
          <p:cNvPr id="5" name="Footer Placeholder 4">
            <a:extLst>
              <a:ext uri="{FF2B5EF4-FFF2-40B4-BE49-F238E27FC236}">
                <a16:creationId xmlns:a16="http://schemas.microsoft.com/office/drawing/2014/main" id="{F8C5113A-99C6-0097-7EDE-52F3755F7A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495F0C01-01FB-6648-C8AE-6819D26FE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85A852D-A172-41E5-8E01-8859095A36DF}" type="slidenum">
              <a:rPr lang="en-GB" smtClean="0"/>
              <a:t>‹#›</a:t>
            </a:fld>
            <a:endParaRPr lang="en-GB"/>
          </a:p>
        </p:txBody>
      </p:sp>
    </p:spTree>
    <p:extLst>
      <p:ext uri="{BB962C8B-B14F-4D97-AF65-F5344CB8AC3E}">
        <p14:creationId xmlns:p14="http://schemas.microsoft.com/office/powerpoint/2010/main" val="7404741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50">
            <a:lum/>
          </a:blip>
          <a:srcRect/>
          <a:stretch>
            <a:fillRect/>
          </a:stretch>
        </a:blipFill>
        <a:effectLst/>
      </p:bgPr>
    </p:bg>
    <p:spTree>
      <p:nvGrpSpPr>
        <p:cNvPr id="1" name=""/>
        <p:cNvGrpSpPr/>
        <p:nvPr/>
      </p:nvGrpSpPr>
      <p:grpSpPr>
        <a:xfrm>
          <a:off x="0" y="0"/>
          <a:ext cx="0" cy="0"/>
          <a:chOff x="0" y="0"/>
          <a:chExt cx="0" cy="0"/>
        </a:xfrm>
      </p:grpSpPr>
      <p:sp>
        <p:nvSpPr>
          <p:cNvPr id="48" name="Title Placeholder 1">
            <a:extLst>
              <a:ext uri="{FF2B5EF4-FFF2-40B4-BE49-F238E27FC236}">
                <a16:creationId xmlns:a16="http://schemas.microsoft.com/office/drawing/2014/main" id="{487C9856-BACC-AD78-816C-81CEAC671A73}"/>
              </a:ext>
            </a:extLst>
          </p:cNvPr>
          <p:cNvSpPr>
            <a:spLocks noGrp="1"/>
          </p:cNvSpPr>
          <p:nvPr>
            <p:ph type="title"/>
          </p:nvPr>
        </p:nvSpPr>
        <p:spPr>
          <a:xfrm>
            <a:off x="407458" y="381001"/>
            <a:ext cx="11425690" cy="492443"/>
          </a:xfrm>
          <a:prstGeom prst="rect">
            <a:avLst/>
          </a:prstGeom>
        </p:spPr>
        <p:txBody>
          <a:bodyPr vert="horz" wrap="square" lIns="0" tIns="0" rIns="0" bIns="0" rtlCol="0" anchor="t">
            <a:spAutoFit/>
          </a:bodyPr>
          <a:lstStyle/>
          <a:p>
            <a:pPr marL="0" marR="0" lvl="0" indent="0" algn="l" defTabSz="373183" rtl="0" eaLnBrk="1" fontAlgn="auto" latinLnBrk="0" hangingPunct="1">
              <a:lnSpc>
                <a:spcPct val="100000"/>
              </a:lnSpc>
              <a:spcBef>
                <a:spcPct val="0"/>
              </a:spcBef>
              <a:spcAft>
                <a:spcPts val="0"/>
              </a:spcAft>
              <a:buClrTx/>
              <a:buSzPct val="90000"/>
              <a:buFont typeface="Wingdings" panose="05000000000000000000" pitchFamily="2" charset="2"/>
              <a:buNone/>
              <a:tabLst/>
            </a:pPr>
            <a:endParaRPr lang="en-US"/>
          </a:p>
        </p:txBody>
      </p:sp>
      <p:sp>
        <p:nvSpPr>
          <p:cNvPr id="87" name="Rectangle 86">
            <a:extLst>
              <a:ext uri="{FF2B5EF4-FFF2-40B4-BE49-F238E27FC236}">
                <a16:creationId xmlns:a16="http://schemas.microsoft.com/office/drawing/2014/main" id="{77AAF263-E53D-30A0-CF27-DFACA9CA8E2D}"/>
              </a:ext>
            </a:extLst>
          </p:cNvPr>
          <p:cNvSpPr>
            <a:spLocks/>
          </p:cNvSpPr>
          <p:nvPr/>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79FCC80A-B290-950D-AC6F-6F937B76A017}"/>
              </a:ext>
            </a:extLst>
          </p:cNvPr>
          <p:cNvSpPr>
            <a:spLocks/>
          </p:cNvSpPr>
          <p:nvPr userDrawn="1"/>
        </p:nvSpPr>
        <p:spPr bwMode="auto">
          <a:xfrm>
            <a:off x="-13834314" y="-8382000"/>
            <a:ext cx="39860629" cy="23622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58521" rIns="73152" bIns="58521" numCol="1" spcCol="0" rtlCol="0" fromWordArt="0" anchor="t" anchorCtr="0" forceAA="0" compatLnSpc="1">
            <a:prstTxWarp prst="textNoShape">
              <a:avLst/>
            </a:prstTxWarp>
            <a:noAutofit/>
          </a:bodyPr>
          <a:lstStyle/>
          <a:p>
            <a:pPr algn="l" defTabSz="373076" fontAlgn="base">
              <a:spcBef>
                <a:spcPct val="0"/>
              </a:spcBef>
              <a:spcAft>
                <a:spcPct val="0"/>
              </a:spcAft>
            </a:pPr>
            <a:endParaRPr lang="en-GB" sz="801">
              <a:solidFill>
                <a:srgbClr val="FFFFFF"/>
              </a:solidFill>
              <a:ea typeface="Segoe UI" pitchFamily="34" charset="0"/>
              <a:cs typeface="Segoe UI" pitchFamily="34" charset="0"/>
            </a:endParaRPr>
          </a:p>
        </p:txBody>
      </p:sp>
      <p:pic>
        <p:nvPicPr>
          <p:cNvPr id="88" name="Picture 87" descr="A blue and white gradient&#10;&#10;Description automatically generated" hidden="1">
            <a:extLst>
              <a:ext uri="{FF2B5EF4-FFF2-40B4-BE49-F238E27FC236}">
                <a16:creationId xmlns:a16="http://schemas.microsoft.com/office/drawing/2014/main" id="{184255ED-A5FC-0393-B0B3-097DF502165A}"/>
              </a:ext>
            </a:extLst>
          </p:cNvPr>
          <p:cNvPicPr>
            <a:picLocks noChangeAspect="1"/>
          </p:cNvPicPr>
          <p:nvPr userDrawn="1"/>
        </p:nvPicPr>
        <p:blipFill>
          <a:blip r:embed="rId51">
            <a:extLst>
              <a:ext uri="{28A0092B-C50C-407E-A947-70E740481C1C}">
                <a14:useLocalDpi xmlns:a14="http://schemas.microsoft.com/office/drawing/2010/main" val="0"/>
              </a:ext>
            </a:extLst>
          </a:blip>
          <a:srcRect/>
          <a:stretch>
            <a:fillRect/>
          </a:stretch>
        </p:blipFill>
        <p:spPr>
          <a:xfrm>
            <a:off x="0" y="0"/>
            <a:ext cx="12192000" cy="6858001"/>
          </a:xfrm>
          <a:prstGeom prst="rect">
            <a:avLst/>
          </a:prstGeom>
        </p:spPr>
      </p:pic>
    </p:spTree>
    <p:extLst>
      <p:ext uri="{BB962C8B-B14F-4D97-AF65-F5344CB8AC3E}">
        <p14:creationId xmlns:p14="http://schemas.microsoft.com/office/powerpoint/2010/main" val="28569454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p:titleStyle>
    <p:bodyStyle>
      <a:lvl1pPr marL="91463"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120" kern="1200" spc="0" baseline="0" smtClean="0">
          <a:solidFill>
            <a:schemeClr val="tx1"/>
          </a:solidFill>
          <a:latin typeface="+mn-lt"/>
          <a:ea typeface="+mn-ea"/>
          <a:cs typeface="Segoe UI" panose="020B0502040204020203" pitchFamily="34" charset="0"/>
        </a:defRPr>
      </a:lvl1pPr>
      <a:lvl2pPr marL="182922" marR="0" indent="-91463"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801" kern="1200" spc="0" baseline="0" smtClean="0">
          <a:solidFill>
            <a:schemeClr val="tx1"/>
          </a:solidFill>
          <a:latin typeface="+mn-lt"/>
          <a:ea typeface="+mn-ea"/>
          <a:cs typeface="+mn-cs"/>
        </a:defRPr>
      </a:lvl2pPr>
      <a:lvl3pPr marL="262952" marR="0" indent="-8002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641" kern="1200" spc="0" baseline="0" smtClean="0">
          <a:solidFill>
            <a:schemeClr val="tx1"/>
          </a:solidFill>
          <a:latin typeface="+mn-lt"/>
          <a:ea typeface="+mn-ea"/>
          <a:cs typeface="+mn-cs"/>
        </a:defRPr>
      </a:lvl3pPr>
      <a:lvl4pPr marL="337264" marR="0" indent="-72408"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smtClean="0">
          <a:solidFill>
            <a:schemeClr val="tx1"/>
          </a:solidFill>
          <a:latin typeface="+mn-lt"/>
          <a:ea typeface="+mn-ea"/>
          <a:cs typeface="+mn-cs"/>
        </a:defRPr>
      </a:lvl4pPr>
      <a:lvl5pPr marL="409670" marR="0" indent="-67325" algn="l" defTabSz="37318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560" kern="1200" spc="0" baseline="0" dirty="0">
          <a:solidFill>
            <a:schemeClr val="tx1"/>
          </a:solidFill>
          <a:latin typeface="+mn-lt"/>
          <a:ea typeface="+mn-ea"/>
          <a:cs typeface="+mn-cs"/>
        </a:defRPr>
      </a:lvl5pPr>
      <a:lvl6pPr marL="1026255"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6pPr>
      <a:lvl7pPr marL="121284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7pPr>
      <a:lvl8pPr marL="1399438"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8pPr>
      <a:lvl9pPr marL="1586031" indent="-93296" algn="l" defTabSz="373183" rtl="0" eaLnBrk="1" latinLnBrk="0" hangingPunct="1">
        <a:spcBef>
          <a:spcPct val="20000"/>
        </a:spcBef>
        <a:buFont typeface="Arial" pitchFamily="34" charset="0"/>
        <a:buChar char="•"/>
        <a:defRPr sz="801" kern="1200">
          <a:solidFill>
            <a:schemeClr val="tx1"/>
          </a:solidFill>
          <a:latin typeface="+mn-lt"/>
          <a:ea typeface="+mn-ea"/>
          <a:cs typeface="+mn-cs"/>
        </a:defRPr>
      </a:lvl9pPr>
    </p:bodyStyle>
    <p:otherStyle>
      <a:defPPr>
        <a:defRPr lang="en-US"/>
      </a:defPPr>
      <a:lvl1pPr marL="0" algn="l" defTabSz="373183" rtl="0" eaLnBrk="1" latinLnBrk="0" hangingPunct="1">
        <a:defRPr sz="721" kern="1200">
          <a:solidFill>
            <a:schemeClr val="tx1"/>
          </a:solidFill>
          <a:latin typeface="+mn-lt"/>
          <a:ea typeface="+mn-ea"/>
          <a:cs typeface="+mn-cs"/>
        </a:defRPr>
      </a:lvl1pPr>
      <a:lvl2pPr marL="186593" algn="l" defTabSz="373183" rtl="0" eaLnBrk="1" latinLnBrk="0" hangingPunct="1">
        <a:defRPr sz="721" kern="1200">
          <a:solidFill>
            <a:schemeClr val="tx1"/>
          </a:solidFill>
          <a:latin typeface="+mn-lt"/>
          <a:ea typeface="+mn-ea"/>
          <a:cs typeface="+mn-cs"/>
        </a:defRPr>
      </a:lvl2pPr>
      <a:lvl3pPr marL="373183" algn="l" defTabSz="373183" rtl="0" eaLnBrk="1" latinLnBrk="0" hangingPunct="1">
        <a:defRPr sz="721" kern="1200">
          <a:solidFill>
            <a:schemeClr val="tx1"/>
          </a:solidFill>
          <a:latin typeface="+mn-lt"/>
          <a:ea typeface="+mn-ea"/>
          <a:cs typeface="+mn-cs"/>
        </a:defRPr>
      </a:lvl3pPr>
      <a:lvl4pPr marL="559775" algn="l" defTabSz="373183" rtl="0" eaLnBrk="1" latinLnBrk="0" hangingPunct="1">
        <a:defRPr sz="721" kern="1200">
          <a:solidFill>
            <a:schemeClr val="tx1"/>
          </a:solidFill>
          <a:latin typeface="+mn-lt"/>
          <a:ea typeface="+mn-ea"/>
          <a:cs typeface="+mn-cs"/>
        </a:defRPr>
      </a:lvl4pPr>
      <a:lvl5pPr marL="746367" algn="l" defTabSz="373183" rtl="0" eaLnBrk="1" latinLnBrk="0" hangingPunct="1">
        <a:defRPr sz="721" kern="1200">
          <a:solidFill>
            <a:schemeClr val="tx1"/>
          </a:solidFill>
          <a:latin typeface="+mn-lt"/>
          <a:ea typeface="+mn-ea"/>
          <a:cs typeface="+mn-cs"/>
        </a:defRPr>
      </a:lvl5pPr>
      <a:lvl6pPr marL="932960" algn="l" defTabSz="373183" rtl="0" eaLnBrk="1" latinLnBrk="0" hangingPunct="1">
        <a:defRPr sz="721" kern="1200">
          <a:solidFill>
            <a:schemeClr val="tx1"/>
          </a:solidFill>
          <a:latin typeface="+mn-lt"/>
          <a:ea typeface="+mn-ea"/>
          <a:cs typeface="+mn-cs"/>
        </a:defRPr>
      </a:lvl6pPr>
      <a:lvl7pPr marL="1119551" algn="l" defTabSz="373183" rtl="0" eaLnBrk="1" latinLnBrk="0" hangingPunct="1">
        <a:defRPr sz="721" kern="1200">
          <a:solidFill>
            <a:schemeClr val="tx1"/>
          </a:solidFill>
          <a:latin typeface="+mn-lt"/>
          <a:ea typeface="+mn-ea"/>
          <a:cs typeface="+mn-cs"/>
        </a:defRPr>
      </a:lvl7pPr>
      <a:lvl8pPr marL="1306143" algn="l" defTabSz="373183" rtl="0" eaLnBrk="1" latinLnBrk="0" hangingPunct="1">
        <a:defRPr sz="721" kern="1200">
          <a:solidFill>
            <a:schemeClr val="tx1"/>
          </a:solidFill>
          <a:latin typeface="+mn-lt"/>
          <a:ea typeface="+mn-ea"/>
          <a:cs typeface="+mn-cs"/>
        </a:defRPr>
      </a:lvl8pPr>
      <a:lvl9pPr marL="1492735" algn="l" defTabSz="373183" rtl="0" eaLnBrk="1" latinLnBrk="0" hangingPunct="1">
        <a:defRPr sz="721" kern="1200">
          <a:solidFill>
            <a:schemeClr val="tx1"/>
          </a:solidFill>
          <a:latin typeface="+mn-lt"/>
          <a:ea typeface="+mn-ea"/>
          <a:cs typeface="+mn-cs"/>
        </a:defRPr>
      </a:lvl9pPr>
    </p:otherStyle>
  </p:txStyles>
  <p:extLst>
    <p:ext uri="{27BBF7A9-308A-43DC-89C8-2F10F3537804}">
      <p15:sldGuideLst xmlns:p15="http://schemas.microsoft.com/office/powerpoint/2012/main">
        <p15:guide id="16">
          <p15:clr>
            <a:srgbClr val="E7E6E6"/>
          </p15:clr>
        </p15:guide>
        <p15:guide id="17" pos="11510">
          <p15:clr>
            <a:srgbClr val="E7E6E6"/>
          </p15:clr>
        </p15:guide>
        <p15:guide id="18" pos="385">
          <p15:clr>
            <a:srgbClr val="E7E6E6"/>
          </p15:clr>
        </p15:guide>
        <p15:guide id="19" pos="3903">
          <p15:clr>
            <a:srgbClr val="E7E6E6"/>
          </p15:clr>
        </p15:guide>
        <p15:guide id="20" pos="3989">
          <p15:clr>
            <a:srgbClr val="E7E6E6"/>
          </p15:clr>
        </p15:guide>
        <p15:guide id="21" pos="7530">
          <p15:clr>
            <a:srgbClr val="E7E6E6"/>
          </p15:clr>
        </p15:guide>
        <p15:guide id="22" pos="7616">
          <p15:clr>
            <a:srgbClr val="E7E6E6"/>
          </p15:clr>
        </p15:guide>
        <p15:guide id="23" pos="11157">
          <p15:clr>
            <a:srgbClr val="E7E6E6"/>
          </p15:clr>
        </p15:guide>
        <p15:guide id="24" orient="horz">
          <p15:clr>
            <a:srgbClr val="E7E6E6"/>
          </p15:clr>
        </p15:guide>
        <p15:guide id="25" orient="horz" pos="6480">
          <p15:clr>
            <a:srgbClr val="E7E6E6"/>
          </p15:clr>
        </p15:guide>
        <p15:guide id="26" orient="horz" pos="864">
          <p15:clr>
            <a:srgbClr val="E7E6E6"/>
          </p15:clr>
        </p15:guide>
        <p15:guide id="27" orient="horz" pos="3342">
          <p15:clr>
            <a:srgbClr val="E7E6E6"/>
          </p15:clr>
        </p15:guide>
        <p15:guide id="28" orient="horz" pos="3456">
          <p15:clr>
            <a:srgbClr val="E7E6E6"/>
          </p15:clr>
        </p15:guide>
        <p15:guide id="29" orient="horz" pos="5940">
          <p15:clr>
            <a:srgbClr val="E7E6E6"/>
          </p15:clr>
        </p15:guide>
        <p15:guide id="30" orient="horz" pos="360">
          <p15:clr>
            <a:srgbClr val="E7E6E6"/>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32" imgH="530" progId="TCLayout.ActiveDocument.1">
                  <p:embed/>
                </p:oleObj>
              </mc:Choice>
              <mc:Fallback>
                <p:oleObj name="think-cell Slide" r:id="rId7"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53173692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563563" y="6311900"/>
            <a:ext cx="399288" cy="365125"/>
          </a:xfrm>
          <a:prstGeom prst="rect">
            <a:avLst/>
          </a:prstGeom>
        </p:spPr>
        <p:txBody>
          <a:bodyPr vert="horz" lIns="91440" tIns="45720" rIns="91440" bIns="45720" rtlCol="0" anchor="ctr"/>
          <a:lstStyle>
            <a:lvl1pPr algn="l">
              <a:defRPr sz="800" b="0" i="0">
                <a:solidFill>
                  <a:schemeClr val="tx1"/>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962851" y="6311900"/>
            <a:ext cx="2857672" cy="365125"/>
          </a:xfrm>
          <a:prstGeom prst="rect">
            <a:avLst/>
          </a:prstGeom>
        </p:spPr>
        <p:txBody>
          <a:bodyPr vert="horz" lIns="91440" tIns="45720" rIns="91440" bIns="45720" rtlCol="0" anchor="ctr"/>
          <a:lstStyle>
            <a:lvl1pPr algn="l">
              <a:defRPr sz="800" b="0" i="0">
                <a:solidFill>
                  <a:schemeClr val="tx1"/>
                </a:solidFill>
                <a:latin typeface="Segoe Sans Small Semilight" pitchFamily="2" charset="0"/>
                <a:cs typeface="Segoe Sans Small Semilight" pitchFamily="2" charset="0"/>
              </a:defRPr>
            </a:lvl1pPr>
          </a:lstStyle>
          <a:p>
            <a:endParaRPr lang="en-US"/>
          </a:p>
        </p:txBody>
      </p:sp>
      <p:sp>
        <p:nvSpPr>
          <p:cNvPr id="3" name="Title Placeholder 2">
            <a:extLst>
              <a:ext uri="{FF2B5EF4-FFF2-40B4-BE49-F238E27FC236}">
                <a16:creationId xmlns:a16="http://schemas.microsoft.com/office/drawing/2014/main" id="{2D6435A4-7FC5-3624-5155-D82D5BF55597}"/>
              </a:ext>
            </a:extLst>
          </p:cNvPr>
          <p:cNvSpPr>
            <a:spLocks noGrp="1"/>
          </p:cNvSpPr>
          <p:nvPr>
            <p:ph type="title"/>
          </p:nvPr>
        </p:nvSpPr>
        <p:spPr>
          <a:xfrm>
            <a:off x="563880" y="503396"/>
            <a:ext cx="11064240" cy="724535"/>
          </a:xfrm>
          <a:prstGeom prst="rect">
            <a:avLst/>
          </a:prstGeom>
        </p:spPr>
        <p:txBody>
          <a:bodyPr vert="horz" lIns="91440" tIns="45720" rIns="91440" bIns="45720" rtlCol="0" anchor="t">
            <a:normAutofit/>
          </a:bodyPr>
          <a:lstStyle/>
          <a:p>
            <a:r>
              <a:rPr lang="en-US"/>
              <a:t>Click to edit Master title style</a:t>
            </a:r>
          </a:p>
        </p:txBody>
      </p:sp>
      <p:sp>
        <p:nvSpPr>
          <p:cNvPr id="4" name="Text Placeholder 3">
            <a:extLst>
              <a:ext uri="{FF2B5EF4-FFF2-40B4-BE49-F238E27FC236}">
                <a16:creationId xmlns:a16="http://schemas.microsoft.com/office/drawing/2014/main" id="{3AD429E1-4C33-0698-DED2-E068AAC1614A}"/>
              </a:ext>
            </a:extLst>
          </p:cNvPr>
          <p:cNvSpPr>
            <a:spLocks noGrp="1"/>
          </p:cNvSpPr>
          <p:nvPr>
            <p:ph type="body" idx="1"/>
          </p:nvPr>
        </p:nvSpPr>
        <p:spPr>
          <a:xfrm>
            <a:off x="563880" y="1447800"/>
            <a:ext cx="11056620" cy="47291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27A66F6B-7EF3-BBAC-9803-F03A2D815867}"/>
              </a:ext>
            </a:extLst>
          </p:cNvPr>
          <p:cNvPicPr>
            <a:picLocks noChangeAspect="1"/>
          </p:cNvPicPr>
          <p:nvPr userDrawn="1"/>
        </p:nvPicPr>
        <p:blipFill>
          <a:blip r:embed="rId42">
            <a:extLst>
              <a:ext uri="{96DAC541-7B7A-43D3-8B79-37D633B846F1}">
                <asvg:svgBlip xmlns:asvg="http://schemas.microsoft.com/office/drawing/2016/SVG/main" r:embed="rId4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7219416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Lst>
  <p:hf hdr="0" ftr="0" dt="0"/>
  <p:txStyles>
    <p:title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55">
          <p15:clr>
            <a:srgbClr val="F26B43"/>
          </p15:clr>
        </p15:guide>
        <p15:guide id="3" pos="7320">
          <p15:clr>
            <a:srgbClr val="F26B43"/>
          </p15:clr>
        </p15:guide>
        <p15:guide id="4" orient="horz" pos="3893">
          <p15:clr>
            <a:srgbClr val="F26B43"/>
          </p15:clr>
        </p15:guide>
        <p15:guide id="5" orient="horz" pos="912">
          <p15:clr>
            <a:srgbClr val="F26B43"/>
          </p15:clr>
        </p15:guide>
        <p15:guide id="6" orient="horz" pos="3974">
          <p15:clr>
            <a:srgbClr val="F26B43"/>
          </p15:clr>
        </p15:guide>
        <p15:guide id="7" orient="horz" pos="4201">
          <p15:clr>
            <a:srgbClr val="F26B43"/>
          </p15:clr>
        </p15:guide>
        <p15:guide id="8" orient="horz" pos="77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forrester.com/report/map-a-path-to-federated-data-governance/RES178947" TargetMode="External"/><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61.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C83B0-7896-68FB-993C-4236F82AAFE4}"/>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676190E0-E3D8-501E-70DF-EE11B6BB1251}"/>
              </a:ext>
            </a:extLst>
          </p:cNvPr>
          <p:cNvSpPr txBox="1">
            <a:spLocks/>
          </p:cNvSpPr>
          <p:nvPr/>
        </p:nvSpPr>
        <p:spPr>
          <a:xfrm>
            <a:off x="5058673" y="2762391"/>
            <a:ext cx="6063793" cy="2301747"/>
          </a:xfrm>
          <a:prstGeom prst="rect">
            <a:avLst/>
          </a:prstGeom>
        </p:spPr>
        <p:txBody>
          <a:bodyPr lIns="91440" tIns="45720" rIns="91440" bIns="45720" anchor="t"/>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21" normalizeH="0" baseline="0" noProof="0" dirty="0">
                <a:ln w="3175">
                  <a:noFill/>
                </a:ln>
                <a:gradFill>
                  <a:gsLst>
                    <a:gs pos="0">
                      <a:srgbClr val="2A446F"/>
                    </a:gs>
                    <a:gs pos="100000">
                      <a:srgbClr val="0078D4"/>
                    </a:gs>
                  </a:gsLst>
                  <a:lin ang="2700000" scaled="0"/>
                </a:gradFill>
                <a:effectLst/>
                <a:uLnTx/>
                <a:uFillTx/>
                <a:latin typeface="Aptos Display" panose="02110004020202020204"/>
                <a:ea typeface="+mn-ea"/>
                <a:cs typeface="Segoe UI" pitchFamily="34" charset="0"/>
              </a:rPr>
              <a:t>Microsoft Purview Data Governance </a:t>
            </a:r>
            <a:r>
              <a:rPr kumimoji="0" lang="en-US" sz="4400" b="0" i="0" u="none" strike="noStrike" kern="1200" cap="none" spc="-21" normalizeH="0" baseline="0" noProof="0" dirty="0">
                <a:ln w="3175">
                  <a:noFill/>
                </a:ln>
                <a:gradFill>
                  <a:gsLst>
                    <a:gs pos="0">
                      <a:srgbClr val="2A446F"/>
                    </a:gs>
                    <a:gs pos="100000">
                      <a:srgbClr val="0078D4"/>
                    </a:gs>
                  </a:gsLst>
                  <a:lin ang="2700000" scaled="0"/>
                </a:gradFill>
                <a:effectLst/>
                <a:uLnTx/>
                <a:uFillTx/>
                <a:latin typeface="Aptos Display" panose="02110004020202020204"/>
                <a:ea typeface="+mn-ea"/>
                <a:cs typeface="Segoe UI"/>
              </a:rPr>
              <a:t>Upskilling</a:t>
            </a:r>
            <a:endParaRPr kumimoji="0" lang="en-GB" sz="4400" b="0" i="0" u="none" strike="noStrike" kern="1200" cap="none" spc="-21" normalizeH="0" baseline="0" noProof="0" dirty="0">
              <a:ln w="3175">
                <a:noFill/>
              </a:ln>
              <a:gradFill>
                <a:gsLst>
                  <a:gs pos="0">
                    <a:srgbClr val="2A446F"/>
                  </a:gs>
                  <a:gs pos="100000">
                    <a:srgbClr val="0078D4"/>
                  </a:gs>
                </a:gsLst>
                <a:lin ang="2700000" scaled="0"/>
              </a:gradFill>
              <a:effectLst/>
              <a:uLnTx/>
              <a:uFillTx/>
              <a:latin typeface="Aptos Display" panose="02110004020202020204"/>
              <a:ea typeface="+mn-ea"/>
              <a:cs typeface="Segoe UI"/>
            </a:endParaRPr>
          </a:p>
        </p:txBody>
      </p:sp>
    </p:spTree>
    <p:extLst>
      <p:ext uri="{BB962C8B-B14F-4D97-AF65-F5344CB8AC3E}">
        <p14:creationId xmlns:p14="http://schemas.microsoft.com/office/powerpoint/2010/main" val="171793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82A12-7A6A-49AD-6FDF-59F0DF5F14D3}"/>
            </a:ext>
          </a:extLst>
        </p:cNvPr>
        <p:cNvGrpSpPr/>
        <p:nvPr/>
      </p:nvGrpSpPr>
      <p:grpSpPr>
        <a:xfrm>
          <a:off x="0" y="0"/>
          <a:ext cx="0" cy="0"/>
          <a:chOff x="0" y="0"/>
          <a:chExt cx="0" cy="0"/>
        </a:xfrm>
      </p:grpSpPr>
      <p:sp>
        <p:nvSpPr>
          <p:cNvPr id="142" name="Rounded Rectangle 3">
            <a:extLst>
              <a:ext uri="{FF2B5EF4-FFF2-40B4-BE49-F238E27FC236}">
                <a16:creationId xmlns:a16="http://schemas.microsoft.com/office/drawing/2014/main" id="{9C3DDC89-3446-23DD-73CB-1E8A3F0E2743}"/>
              </a:ext>
            </a:extLst>
          </p:cNvPr>
          <p:cNvSpPr/>
          <p:nvPr/>
        </p:nvSpPr>
        <p:spPr>
          <a:xfrm>
            <a:off x="382556" y="1446244"/>
            <a:ext cx="11374016" cy="4721362"/>
          </a:xfrm>
          <a:prstGeom prst="roundRect">
            <a:avLst>
              <a:gd name="adj" fmla="val 5280"/>
            </a:avLst>
          </a:prstGeom>
          <a:solidFill>
            <a:srgbClr val="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43" name="Title 1">
            <a:extLst>
              <a:ext uri="{FF2B5EF4-FFF2-40B4-BE49-F238E27FC236}">
                <a16:creationId xmlns:a16="http://schemas.microsoft.com/office/drawing/2014/main" id="{EDF7F6B2-82AB-93C8-A525-4697B3B59AB0}"/>
              </a:ext>
            </a:extLst>
          </p:cNvPr>
          <p:cNvSpPr txBox="1">
            <a:spLocks/>
          </p:cNvSpPr>
          <p:nvPr/>
        </p:nvSpPr>
        <p:spPr>
          <a:xfrm>
            <a:off x="563880" y="621940"/>
            <a:ext cx="11064240" cy="72453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j-ea"/>
                <a:cs typeface="Segoe UI" panose="020B0502040204020203" pitchFamily="34" charset="0"/>
              </a:rPr>
              <a:t>Organizations need a federated governance approach </a:t>
            </a:r>
          </a:p>
        </p:txBody>
      </p:sp>
      <p:sp>
        <p:nvSpPr>
          <p:cNvPr id="144" name="Slide Number Placeholder 2">
            <a:extLst>
              <a:ext uri="{FF2B5EF4-FFF2-40B4-BE49-F238E27FC236}">
                <a16:creationId xmlns:a16="http://schemas.microsoft.com/office/drawing/2014/main" id="{75149073-EC77-2E6E-C735-D85A1A09F9CE}"/>
              </a:ext>
            </a:extLst>
          </p:cNvPr>
          <p:cNvSpPr txBox="1">
            <a:spLocks/>
          </p:cNvSpPr>
          <p:nvPr/>
        </p:nvSpPr>
        <p:spPr>
          <a:xfrm>
            <a:off x="563563" y="6311900"/>
            <a:ext cx="399288" cy="365125"/>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solidFill>
                <a:latin typeface="Segoe Sans Small Semilight" pitchFamily="2" charset="0"/>
                <a:ea typeface="+mn-ea"/>
                <a:cs typeface="Segoe Sans Small Semiligh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1C1C1C"/>
                </a:solidFill>
                <a:effectLst/>
                <a:uLnTx/>
                <a:uFillTx/>
                <a:latin typeface="Segoe Sans Small Semilight" pitchFamily="2" charset="0"/>
                <a:ea typeface="+mn-ea"/>
                <a:cs typeface="Segoe Sans Small Semil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1C1C1C"/>
              </a:solidFill>
              <a:effectLst/>
              <a:uLnTx/>
              <a:uFillTx/>
              <a:latin typeface="Segoe Sans Small Semilight" pitchFamily="2" charset="0"/>
              <a:ea typeface="+mn-ea"/>
              <a:cs typeface="Segoe Sans Small Semilight" pitchFamily="2" charset="0"/>
            </a:endParaRPr>
          </a:p>
        </p:txBody>
      </p:sp>
      <p:grpSp>
        <p:nvGrpSpPr>
          <p:cNvPr id="145" name="Group 144">
            <a:extLst>
              <a:ext uri="{FF2B5EF4-FFF2-40B4-BE49-F238E27FC236}">
                <a16:creationId xmlns:a16="http://schemas.microsoft.com/office/drawing/2014/main" id="{67446F11-8BDF-7CC3-8BBE-702A2829D293}"/>
              </a:ext>
            </a:extLst>
          </p:cNvPr>
          <p:cNvGrpSpPr/>
          <p:nvPr/>
        </p:nvGrpSpPr>
        <p:grpSpPr>
          <a:xfrm>
            <a:off x="522818" y="1592800"/>
            <a:ext cx="11064240" cy="4439936"/>
            <a:chOff x="563561" y="1871964"/>
            <a:chExt cx="11064240" cy="4439936"/>
          </a:xfrm>
          <a:effectLst>
            <a:outerShdw blurRad="299377" dir="5400000" algn="t" rotWithShape="0">
              <a:prstClr val="black">
                <a:alpha val="12000"/>
              </a:prstClr>
            </a:outerShdw>
          </a:effectLst>
        </p:grpSpPr>
        <p:sp>
          <p:nvSpPr>
            <p:cNvPr id="146" name="Freeform 56">
              <a:extLst>
                <a:ext uri="{FF2B5EF4-FFF2-40B4-BE49-F238E27FC236}">
                  <a16:creationId xmlns:a16="http://schemas.microsoft.com/office/drawing/2014/main" id="{6D96A9EE-9D37-1EF4-E158-0858DEAEB870}"/>
                </a:ext>
                <a:ext uri="{C183D7F6-B498-43B3-948B-1728B52AA6E4}">
                  <adec:decorative xmlns:adec="http://schemas.microsoft.com/office/drawing/2017/decorative" val="1"/>
                </a:ext>
              </a:extLst>
            </p:cNvPr>
            <p:cNvSpPr/>
            <p:nvPr/>
          </p:nvSpPr>
          <p:spPr>
            <a:xfrm>
              <a:off x="563561" y="1871964"/>
              <a:ext cx="11064240" cy="4439936"/>
            </a:xfrm>
            <a:custGeom>
              <a:avLst/>
              <a:gdLst>
                <a:gd name="connsiteX0" fmla="*/ 232164 w 11064240"/>
                <a:gd name="connsiteY0" fmla="*/ 0 h 4439936"/>
                <a:gd name="connsiteX1" fmla="*/ 3642782 w 11064240"/>
                <a:gd name="connsiteY1" fmla="*/ 0 h 4439936"/>
                <a:gd name="connsiteX2" fmla="*/ 3727063 w 11064240"/>
                <a:gd name="connsiteY2" fmla="*/ 84281 h 4439936"/>
                <a:gd name="connsiteX3" fmla="*/ 3727063 w 11064240"/>
                <a:gd name="connsiteY3" fmla="*/ 539806 h 4439936"/>
                <a:gd name="connsiteX4" fmla="*/ 3767803 w 11064240"/>
                <a:gd name="connsiteY4" fmla="*/ 580546 h 4439936"/>
                <a:gd name="connsiteX5" fmla="*/ 3808543 w 11064240"/>
                <a:gd name="connsiteY5" fmla="*/ 539806 h 4439936"/>
                <a:gd name="connsiteX6" fmla="*/ 3808543 w 11064240"/>
                <a:gd name="connsiteY6" fmla="*/ 84281 h 4439936"/>
                <a:gd name="connsiteX7" fmla="*/ 3892824 w 11064240"/>
                <a:gd name="connsiteY7" fmla="*/ 0 h 4439936"/>
                <a:gd name="connsiteX8" fmla="*/ 7201162 w 11064240"/>
                <a:gd name="connsiteY8" fmla="*/ 0 h 4439936"/>
                <a:gd name="connsiteX9" fmla="*/ 7285443 w 11064240"/>
                <a:gd name="connsiteY9" fmla="*/ 84281 h 4439936"/>
                <a:gd name="connsiteX10" fmla="*/ 7285443 w 11064240"/>
                <a:gd name="connsiteY10" fmla="*/ 539806 h 4439936"/>
                <a:gd name="connsiteX11" fmla="*/ 7326183 w 11064240"/>
                <a:gd name="connsiteY11" fmla="*/ 580546 h 4439936"/>
                <a:gd name="connsiteX12" fmla="*/ 7366923 w 11064240"/>
                <a:gd name="connsiteY12" fmla="*/ 539806 h 4439936"/>
                <a:gd name="connsiteX13" fmla="*/ 7366923 w 11064240"/>
                <a:gd name="connsiteY13" fmla="*/ 84281 h 4439936"/>
                <a:gd name="connsiteX14" fmla="*/ 7451204 w 11064240"/>
                <a:gd name="connsiteY14" fmla="*/ 0 h 4439936"/>
                <a:gd name="connsiteX15" fmla="*/ 10832076 w 11064240"/>
                <a:gd name="connsiteY15" fmla="*/ 0 h 4439936"/>
                <a:gd name="connsiteX16" fmla="*/ 11064240 w 11064240"/>
                <a:gd name="connsiteY16" fmla="*/ 232164 h 4439936"/>
                <a:gd name="connsiteX17" fmla="*/ 11064240 w 11064240"/>
                <a:gd name="connsiteY17" fmla="*/ 4207772 h 4439936"/>
                <a:gd name="connsiteX18" fmla="*/ 10832076 w 11064240"/>
                <a:gd name="connsiteY18" fmla="*/ 4439936 h 4439936"/>
                <a:gd name="connsiteX19" fmla="*/ 232164 w 11064240"/>
                <a:gd name="connsiteY19" fmla="*/ 4439936 h 4439936"/>
                <a:gd name="connsiteX20" fmla="*/ 0 w 11064240"/>
                <a:gd name="connsiteY20" fmla="*/ 4207772 h 4439936"/>
                <a:gd name="connsiteX21" fmla="*/ 0 w 11064240"/>
                <a:gd name="connsiteY21" fmla="*/ 232164 h 4439936"/>
                <a:gd name="connsiteX22" fmla="*/ 232164 w 11064240"/>
                <a:gd name="connsiteY22" fmla="*/ 0 h 443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64240" h="4439936">
                  <a:moveTo>
                    <a:pt x="232164" y="0"/>
                  </a:moveTo>
                  <a:lnTo>
                    <a:pt x="3642782" y="0"/>
                  </a:lnTo>
                  <a:cubicBezTo>
                    <a:pt x="3689328" y="0"/>
                    <a:pt x="3727063" y="37735"/>
                    <a:pt x="3727063" y="84281"/>
                  </a:cubicBezTo>
                  <a:lnTo>
                    <a:pt x="3727063" y="539806"/>
                  </a:lnTo>
                  <a:cubicBezTo>
                    <a:pt x="3727063" y="562315"/>
                    <a:pt x="3745294"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4207772"/>
                  </a:lnTo>
                  <a:cubicBezTo>
                    <a:pt x="11064240" y="4335993"/>
                    <a:pt x="10960297" y="4439936"/>
                    <a:pt x="10832076" y="4439936"/>
                  </a:cubicBezTo>
                  <a:lnTo>
                    <a:pt x="232164" y="4439936"/>
                  </a:lnTo>
                  <a:cubicBezTo>
                    <a:pt x="103943" y="4439936"/>
                    <a:pt x="0" y="4335993"/>
                    <a:pt x="0" y="4207772"/>
                  </a:cubicBezTo>
                  <a:lnTo>
                    <a:pt x="0" y="232164"/>
                  </a:lnTo>
                  <a:cubicBezTo>
                    <a:pt x="0" y="103943"/>
                    <a:pt x="103943" y="0"/>
                    <a:pt x="232164" y="0"/>
                  </a:cubicBezTo>
                  <a:close/>
                </a:path>
              </a:pathLst>
            </a:custGeom>
            <a:gradFill>
              <a:gsLst>
                <a:gs pos="100000">
                  <a:srgbClr val="D6EEFF"/>
                </a:gs>
                <a:gs pos="50000">
                  <a:srgbClr val="FFFFFF"/>
                </a:gs>
              </a:gsLst>
              <a:lin ang="2400000" scaled="0"/>
            </a:gradFill>
            <a:ln w="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47" name="Freeform 57">
              <a:extLst>
                <a:ext uri="{FF2B5EF4-FFF2-40B4-BE49-F238E27FC236}">
                  <a16:creationId xmlns:a16="http://schemas.microsoft.com/office/drawing/2014/main" id="{E939312F-7CF2-D193-C48A-0F6ADAD1E5E1}"/>
                </a:ext>
                <a:ext uri="{C183D7F6-B498-43B3-948B-1728B52AA6E4}">
                  <adec:decorative xmlns:adec="http://schemas.microsoft.com/office/drawing/2017/decorative" val="1"/>
                </a:ext>
              </a:extLst>
            </p:cNvPr>
            <p:cNvSpPr/>
            <p:nvPr/>
          </p:nvSpPr>
          <p:spPr>
            <a:xfrm>
              <a:off x="563561" y="1871964"/>
              <a:ext cx="11064240" cy="4439936"/>
            </a:xfrm>
            <a:custGeom>
              <a:avLst/>
              <a:gdLst>
                <a:gd name="connsiteX0" fmla="*/ 232164 w 11064240"/>
                <a:gd name="connsiteY0" fmla="*/ 0 h 4439936"/>
                <a:gd name="connsiteX1" fmla="*/ 3642782 w 11064240"/>
                <a:gd name="connsiteY1" fmla="*/ 0 h 4439936"/>
                <a:gd name="connsiteX2" fmla="*/ 3727063 w 11064240"/>
                <a:gd name="connsiteY2" fmla="*/ 84281 h 4439936"/>
                <a:gd name="connsiteX3" fmla="*/ 3727063 w 11064240"/>
                <a:gd name="connsiteY3" fmla="*/ 539806 h 4439936"/>
                <a:gd name="connsiteX4" fmla="*/ 3767803 w 11064240"/>
                <a:gd name="connsiteY4" fmla="*/ 580546 h 4439936"/>
                <a:gd name="connsiteX5" fmla="*/ 3808543 w 11064240"/>
                <a:gd name="connsiteY5" fmla="*/ 539806 h 4439936"/>
                <a:gd name="connsiteX6" fmla="*/ 3808543 w 11064240"/>
                <a:gd name="connsiteY6" fmla="*/ 84281 h 4439936"/>
                <a:gd name="connsiteX7" fmla="*/ 3892824 w 11064240"/>
                <a:gd name="connsiteY7" fmla="*/ 0 h 4439936"/>
                <a:gd name="connsiteX8" fmla="*/ 7201162 w 11064240"/>
                <a:gd name="connsiteY8" fmla="*/ 0 h 4439936"/>
                <a:gd name="connsiteX9" fmla="*/ 7285443 w 11064240"/>
                <a:gd name="connsiteY9" fmla="*/ 84281 h 4439936"/>
                <a:gd name="connsiteX10" fmla="*/ 7285443 w 11064240"/>
                <a:gd name="connsiteY10" fmla="*/ 539806 h 4439936"/>
                <a:gd name="connsiteX11" fmla="*/ 7326183 w 11064240"/>
                <a:gd name="connsiteY11" fmla="*/ 580546 h 4439936"/>
                <a:gd name="connsiteX12" fmla="*/ 7366923 w 11064240"/>
                <a:gd name="connsiteY12" fmla="*/ 539806 h 4439936"/>
                <a:gd name="connsiteX13" fmla="*/ 7366923 w 11064240"/>
                <a:gd name="connsiteY13" fmla="*/ 84281 h 4439936"/>
                <a:gd name="connsiteX14" fmla="*/ 7451204 w 11064240"/>
                <a:gd name="connsiteY14" fmla="*/ 0 h 4439936"/>
                <a:gd name="connsiteX15" fmla="*/ 10832076 w 11064240"/>
                <a:gd name="connsiteY15" fmla="*/ 0 h 4439936"/>
                <a:gd name="connsiteX16" fmla="*/ 11064240 w 11064240"/>
                <a:gd name="connsiteY16" fmla="*/ 232164 h 4439936"/>
                <a:gd name="connsiteX17" fmla="*/ 11064240 w 11064240"/>
                <a:gd name="connsiteY17" fmla="*/ 4207772 h 4439936"/>
                <a:gd name="connsiteX18" fmla="*/ 10832076 w 11064240"/>
                <a:gd name="connsiteY18" fmla="*/ 4439936 h 4439936"/>
                <a:gd name="connsiteX19" fmla="*/ 232164 w 11064240"/>
                <a:gd name="connsiteY19" fmla="*/ 4439936 h 4439936"/>
                <a:gd name="connsiteX20" fmla="*/ 0 w 11064240"/>
                <a:gd name="connsiteY20" fmla="*/ 4207772 h 4439936"/>
                <a:gd name="connsiteX21" fmla="*/ 0 w 11064240"/>
                <a:gd name="connsiteY21" fmla="*/ 232164 h 4439936"/>
                <a:gd name="connsiteX22" fmla="*/ 232164 w 11064240"/>
                <a:gd name="connsiteY22" fmla="*/ 0 h 443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64240" h="4439936">
                  <a:moveTo>
                    <a:pt x="232164" y="0"/>
                  </a:moveTo>
                  <a:lnTo>
                    <a:pt x="3642782" y="0"/>
                  </a:lnTo>
                  <a:cubicBezTo>
                    <a:pt x="3689328" y="0"/>
                    <a:pt x="3727063" y="37735"/>
                    <a:pt x="3727063" y="84281"/>
                  </a:cubicBezTo>
                  <a:lnTo>
                    <a:pt x="3727063" y="539806"/>
                  </a:lnTo>
                  <a:cubicBezTo>
                    <a:pt x="3727063" y="562315"/>
                    <a:pt x="3745294"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4207772"/>
                  </a:lnTo>
                  <a:cubicBezTo>
                    <a:pt x="11064240" y="4335993"/>
                    <a:pt x="10960297" y="4439936"/>
                    <a:pt x="10832076" y="4439936"/>
                  </a:cubicBezTo>
                  <a:lnTo>
                    <a:pt x="232164" y="4439936"/>
                  </a:lnTo>
                  <a:cubicBezTo>
                    <a:pt x="103943" y="4439936"/>
                    <a:pt x="0" y="4335993"/>
                    <a:pt x="0" y="4207772"/>
                  </a:cubicBezTo>
                  <a:lnTo>
                    <a:pt x="0" y="232164"/>
                  </a:lnTo>
                  <a:cubicBezTo>
                    <a:pt x="0" y="103943"/>
                    <a:pt x="103943" y="0"/>
                    <a:pt x="232164" y="0"/>
                  </a:cubicBezTo>
                  <a:close/>
                </a:path>
              </a:pathLst>
            </a:custGeom>
            <a:solidFill>
              <a:srgbClr val="FFFFFF">
                <a:alpha val="80000"/>
              </a:srgbClr>
            </a:solidFill>
            <a:ln w="0" cap="flat">
              <a:noFill/>
              <a:prstDash val="solid"/>
              <a:miter/>
            </a:ln>
            <a:effectLst>
              <a:outerShdw blurRad="50800" dist="38100" dir="2700000" algn="tl" rotWithShape="0">
                <a:prstClr val="black">
                  <a:alpha val="2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148" name="Group 147">
            <a:extLst>
              <a:ext uri="{FF2B5EF4-FFF2-40B4-BE49-F238E27FC236}">
                <a16:creationId xmlns:a16="http://schemas.microsoft.com/office/drawing/2014/main" id="{0A2FD6FD-70DB-CE97-77C6-8A962EE4A4E6}"/>
              </a:ext>
            </a:extLst>
          </p:cNvPr>
          <p:cNvGrpSpPr/>
          <p:nvPr/>
        </p:nvGrpSpPr>
        <p:grpSpPr>
          <a:xfrm>
            <a:off x="808691" y="4862699"/>
            <a:ext cx="3346416" cy="939839"/>
            <a:chOff x="2468869" y="4561280"/>
            <a:chExt cx="3346416" cy="939839"/>
          </a:xfrm>
        </p:grpSpPr>
        <p:sp>
          <p:nvSpPr>
            <p:cNvPr id="149" name="Rounded Rectangle 82">
              <a:extLst>
                <a:ext uri="{FF2B5EF4-FFF2-40B4-BE49-F238E27FC236}">
                  <a16:creationId xmlns:a16="http://schemas.microsoft.com/office/drawing/2014/main" id="{3095C389-2210-0B9B-D79E-D7A568B95187}"/>
                </a:ext>
              </a:extLst>
            </p:cNvPr>
            <p:cNvSpPr/>
            <p:nvPr/>
          </p:nvSpPr>
          <p:spPr>
            <a:xfrm rot="10800000">
              <a:off x="2468869" y="4561280"/>
              <a:ext cx="3207466"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50" name="TextBox 149">
              <a:extLst>
                <a:ext uri="{FF2B5EF4-FFF2-40B4-BE49-F238E27FC236}">
                  <a16:creationId xmlns:a16="http://schemas.microsoft.com/office/drawing/2014/main" id="{27243AD4-7C62-A775-7E7D-4490BF726FBC}"/>
                </a:ext>
              </a:extLst>
            </p:cNvPr>
            <p:cNvSpPr txBox="1"/>
            <p:nvPr/>
          </p:nvSpPr>
          <p:spPr>
            <a:xfrm>
              <a:off x="2511791" y="4710186"/>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a:ln>
                    <a:noFill/>
                  </a:ln>
                  <a:solidFill>
                    <a:srgbClr val="FF0000"/>
                  </a:solidFill>
                  <a:effectLst/>
                  <a:uLnTx/>
                  <a:uFillTx/>
                  <a:latin typeface="Segoe Sans Text" panose="020F0502020204030204"/>
                  <a:ea typeface="+mn-ea"/>
                  <a:cs typeface="Segoe Sans Display Semibold" pitchFamily="2" charset="0"/>
                </a:rPr>
                <a:t>Agility at the Edge</a:t>
              </a:r>
            </a:p>
          </p:txBody>
        </p:sp>
      </p:grpSp>
      <p:grpSp>
        <p:nvGrpSpPr>
          <p:cNvPr id="151" name="Group 150">
            <a:extLst>
              <a:ext uri="{FF2B5EF4-FFF2-40B4-BE49-F238E27FC236}">
                <a16:creationId xmlns:a16="http://schemas.microsoft.com/office/drawing/2014/main" id="{477AD575-535F-84E0-7EAE-8DBF48402851}"/>
              </a:ext>
            </a:extLst>
          </p:cNvPr>
          <p:cNvGrpSpPr/>
          <p:nvPr/>
        </p:nvGrpSpPr>
        <p:grpSpPr>
          <a:xfrm>
            <a:off x="1364619" y="2948928"/>
            <a:ext cx="2277478" cy="1714234"/>
            <a:chOff x="1572629" y="3322967"/>
            <a:chExt cx="2521072" cy="1897585"/>
          </a:xfrm>
        </p:grpSpPr>
        <p:grpSp>
          <p:nvGrpSpPr>
            <p:cNvPr id="152" name="Group 151">
              <a:extLst>
                <a:ext uri="{FF2B5EF4-FFF2-40B4-BE49-F238E27FC236}">
                  <a16:creationId xmlns:a16="http://schemas.microsoft.com/office/drawing/2014/main" id="{7D35AA83-DDBE-7411-3A60-BBEBBE052B0E}"/>
                </a:ext>
              </a:extLst>
            </p:cNvPr>
            <p:cNvGrpSpPr/>
            <p:nvPr/>
          </p:nvGrpSpPr>
          <p:grpSpPr>
            <a:xfrm>
              <a:off x="2473936" y="3322967"/>
              <a:ext cx="747262" cy="747261"/>
              <a:chOff x="5436393" y="3187146"/>
              <a:chExt cx="747262" cy="747261"/>
            </a:xfrm>
          </p:grpSpPr>
          <p:sp>
            <p:nvSpPr>
              <p:cNvPr id="165" name="Oval 164">
                <a:extLst>
                  <a:ext uri="{FF2B5EF4-FFF2-40B4-BE49-F238E27FC236}">
                    <a16:creationId xmlns:a16="http://schemas.microsoft.com/office/drawing/2014/main" id="{71D2AFEB-7315-29EE-6041-833C6D8989E7}"/>
                  </a:ext>
                </a:extLst>
              </p:cNvPr>
              <p:cNvSpPr/>
              <p:nvPr/>
            </p:nvSpPr>
            <p:spPr>
              <a:xfrm>
                <a:off x="5436393" y="3187146"/>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66" name="girl" title="Icon of a young woman">
                <a:extLst>
                  <a:ext uri="{FF2B5EF4-FFF2-40B4-BE49-F238E27FC236}">
                    <a16:creationId xmlns:a16="http://schemas.microsoft.com/office/drawing/2014/main" id="{9DAE415A-50FA-54F0-14A2-44789845417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153" name="Group 152">
              <a:extLst>
                <a:ext uri="{FF2B5EF4-FFF2-40B4-BE49-F238E27FC236}">
                  <a16:creationId xmlns:a16="http://schemas.microsoft.com/office/drawing/2014/main" id="{13FACF7A-AF1F-914E-D96A-AF24B2AE5730}"/>
                </a:ext>
              </a:extLst>
            </p:cNvPr>
            <p:cNvGrpSpPr/>
            <p:nvPr/>
          </p:nvGrpSpPr>
          <p:grpSpPr>
            <a:xfrm>
              <a:off x="3346439" y="4159195"/>
              <a:ext cx="747262" cy="747261"/>
              <a:chOff x="6647882" y="3209499"/>
              <a:chExt cx="747262" cy="747261"/>
            </a:xfrm>
          </p:grpSpPr>
          <p:sp>
            <p:nvSpPr>
              <p:cNvPr id="163" name="Oval 162">
                <a:extLst>
                  <a:ext uri="{FF2B5EF4-FFF2-40B4-BE49-F238E27FC236}">
                    <a16:creationId xmlns:a16="http://schemas.microsoft.com/office/drawing/2014/main" id="{F1DE2B92-F4B5-DB71-2F9D-A86E06FC1535}"/>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64" name="people_4" title="Icon of a person">
                <a:extLst>
                  <a:ext uri="{FF2B5EF4-FFF2-40B4-BE49-F238E27FC236}">
                    <a16:creationId xmlns:a16="http://schemas.microsoft.com/office/drawing/2014/main" id="{5DD3B9FB-9062-3086-41CC-33A1A569B127}"/>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154" name="Group 153">
              <a:extLst>
                <a:ext uri="{FF2B5EF4-FFF2-40B4-BE49-F238E27FC236}">
                  <a16:creationId xmlns:a16="http://schemas.microsoft.com/office/drawing/2014/main" id="{44EF9C72-B300-6A69-5749-682731942DED}"/>
                </a:ext>
              </a:extLst>
            </p:cNvPr>
            <p:cNvGrpSpPr/>
            <p:nvPr/>
          </p:nvGrpSpPr>
          <p:grpSpPr>
            <a:xfrm>
              <a:off x="1572629" y="4159195"/>
              <a:ext cx="747262" cy="747261"/>
              <a:chOff x="4878965" y="4152338"/>
              <a:chExt cx="747262" cy="747261"/>
            </a:xfrm>
          </p:grpSpPr>
          <p:sp>
            <p:nvSpPr>
              <p:cNvPr id="161" name="Oval 160">
                <a:extLst>
                  <a:ext uri="{FF2B5EF4-FFF2-40B4-BE49-F238E27FC236}">
                    <a16:creationId xmlns:a16="http://schemas.microsoft.com/office/drawing/2014/main" id="{C43508B4-FF7D-5A26-4DE0-030047763526}"/>
                  </a:ext>
                </a:extLst>
              </p:cNvPr>
              <p:cNvSpPr/>
              <p:nvPr/>
            </p:nvSpPr>
            <p:spPr>
              <a:xfrm>
                <a:off x="4878965" y="4152338"/>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62" name="people_12" title="Icon of three people">
                <a:extLst>
                  <a:ext uri="{FF2B5EF4-FFF2-40B4-BE49-F238E27FC236}">
                    <a16:creationId xmlns:a16="http://schemas.microsoft.com/office/drawing/2014/main" id="{9E841F5D-1AA4-4606-D181-66AFF373347B}"/>
                  </a:ext>
                </a:extLst>
              </p:cNvPr>
              <p:cNvSpPr>
                <a:spLocks noChangeAspect="1" noEditPoints="1"/>
              </p:cNvSpPr>
              <p:nvPr/>
            </p:nvSpPr>
            <p:spPr bwMode="auto">
              <a:xfrm>
                <a:off x="5023996" y="4330932"/>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155" name="Group 154">
              <a:extLst>
                <a:ext uri="{FF2B5EF4-FFF2-40B4-BE49-F238E27FC236}">
                  <a16:creationId xmlns:a16="http://schemas.microsoft.com/office/drawing/2014/main" id="{D4EA77C3-4040-2E54-C8C0-146C6DE182D3}"/>
                </a:ext>
              </a:extLst>
            </p:cNvPr>
            <p:cNvGrpSpPr/>
            <p:nvPr/>
          </p:nvGrpSpPr>
          <p:grpSpPr>
            <a:xfrm>
              <a:off x="2473936" y="4473291"/>
              <a:ext cx="747262" cy="747261"/>
              <a:chOff x="4878965" y="3908890"/>
              <a:chExt cx="747262" cy="747261"/>
            </a:xfrm>
          </p:grpSpPr>
          <p:sp>
            <p:nvSpPr>
              <p:cNvPr id="159" name="Oval 158">
                <a:extLst>
                  <a:ext uri="{FF2B5EF4-FFF2-40B4-BE49-F238E27FC236}">
                    <a16:creationId xmlns:a16="http://schemas.microsoft.com/office/drawing/2014/main" id="{3D69BA80-EFE9-4529-E2D2-F5CD402741C8}"/>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60" name="people_12" title="Icon of three people">
                <a:extLst>
                  <a:ext uri="{FF2B5EF4-FFF2-40B4-BE49-F238E27FC236}">
                    <a16:creationId xmlns:a16="http://schemas.microsoft.com/office/drawing/2014/main" id="{65D016DB-5C4C-739F-DBB3-57E18FDC7BF8}"/>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156" name="Straight Arrow Connector 155">
              <a:extLst>
                <a:ext uri="{FF2B5EF4-FFF2-40B4-BE49-F238E27FC236}">
                  <a16:creationId xmlns:a16="http://schemas.microsoft.com/office/drawing/2014/main" id="{0357A061-96CD-50B7-D011-6D01E55BF7AD}"/>
                </a:ext>
              </a:extLst>
            </p:cNvPr>
            <p:cNvCxnSpPr>
              <a:stCxn id="165" idx="4"/>
              <a:endCxn id="159" idx="0"/>
            </p:cNvCxnSpPr>
            <p:nvPr/>
          </p:nvCxnSpPr>
          <p:spPr>
            <a:xfrm>
              <a:off x="2847568" y="4070228"/>
              <a:ext cx="0" cy="403063"/>
            </a:xfrm>
            <a:prstGeom prst="straightConnector1">
              <a:avLst/>
            </a:prstGeom>
            <a:noFill/>
            <a:ln w="19050" cap="flat" cmpd="sng" algn="ctr">
              <a:solidFill>
                <a:srgbClr val="23395D"/>
              </a:solidFill>
              <a:prstDash val="solid"/>
              <a:miter lim="800000"/>
              <a:tailEnd type="triangle"/>
            </a:ln>
            <a:effectLst/>
          </p:spPr>
        </p:cxnSp>
        <p:cxnSp>
          <p:nvCxnSpPr>
            <p:cNvPr id="157" name="Straight Arrow Connector 156">
              <a:extLst>
                <a:ext uri="{FF2B5EF4-FFF2-40B4-BE49-F238E27FC236}">
                  <a16:creationId xmlns:a16="http://schemas.microsoft.com/office/drawing/2014/main" id="{7B770668-012A-6CDE-8F12-BDD02DB88B75}"/>
                </a:ext>
              </a:extLst>
            </p:cNvPr>
            <p:cNvCxnSpPr>
              <a:cxnSpLocks/>
              <a:endCxn id="161" idx="7"/>
            </p:cNvCxnSpPr>
            <p:nvPr/>
          </p:nvCxnSpPr>
          <p:spPr>
            <a:xfrm flipH="1">
              <a:off x="2210457" y="3928364"/>
              <a:ext cx="375910" cy="340265"/>
            </a:xfrm>
            <a:prstGeom prst="straightConnector1">
              <a:avLst/>
            </a:prstGeom>
            <a:noFill/>
            <a:ln w="19050" cap="flat" cmpd="sng" algn="ctr">
              <a:solidFill>
                <a:srgbClr val="23395D"/>
              </a:solidFill>
              <a:prstDash val="solid"/>
              <a:miter lim="800000"/>
              <a:tailEnd type="triangle"/>
            </a:ln>
            <a:effectLst/>
          </p:spPr>
        </p:cxnSp>
        <p:cxnSp>
          <p:nvCxnSpPr>
            <p:cNvPr id="158" name="Straight Arrow Connector 157">
              <a:extLst>
                <a:ext uri="{FF2B5EF4-FFF2-40B4-BE49-F238E27FC236}">
                  <a16:creationId xmlns:a16="http://schemas.microsoft.com/office/drawing/2014/main" id="{8FA1336C-6880-CDD0-C93B-B3EEF07A655C}"/>
                </a:ext>
              </a:extLst>
            </p:cNvPr>
            <p:cNvCxnSpPr>
              <a:cxnSpLocks/>
              <a:stCxn id="165" idx="5"/>
            </p:cNvCxnSpPr>
            <p:nvPr/>
          </p:nvCxnSpPr>
          <p:spPr>
            <a:xfrm>
              <a:off x="3111764" y="3960794"/>
              <a:ext cx="341057" cy="317036"/>
            </a:xfrm>
            <a:prstGeom prst="straightConnector1">
              <a:avLst/>
            </a:prstGeom>
            <a:noFill/>
            <a:ln w="19050" cap="flat" cmpd="sng" algn="ctr">
              <a:solidFill>
                <a:srgbClr val="23395D"/>
              </a:solidFill>
              <a:prstDash val="solid"/>
              <a:miter lim="800000"/>
              <a:tailEnd type="triangle"/>
            </a:ln>
            <a:effectLst/>
          </p:spPr>
        </p:cxnSp>
      </p:grpSp>
      <p:grpSp>
        <p:nvGrpSpPr>
          <p:cNvPr id="167" name="Group 166">
            <a:extLst>
              <a:ext uri="{FF2B5EF4-FFF2-40B4-BE49-F238E27FC236}">
                <a16:creationId xmlns:a16="http://schemas.microsoft.com/office/drawing/2014/main" id="{99BA1321-0048-9BD4-BCE4-C77CCF8B41EC}"/>
              </a:ext>
            </a:extLst>
          </p:cNvPr>
          <p:cNvGrpSpPr/>
          <p:nvPr/>
        </p:nvGrpSpPr>
        <p:grpSpPr>
          <a:xfrm>
            <a:off x="808690" y="1764368"/>
            <a:ext cx="3207467" cy="803299"/>
            <a:chOff x="697477" y="1531415"/>
            <a:chExt cx="3207467" cy="803299"/>
          </a:xfrm>
        </p:grpSpPr>
        <p:sp>
          <p:nvSpPr>
            <p:cNvPr id="168" name="Rounded Rectangle 65">
              <a:extLst>
                <a:ext uri="{FF2B5EF4-FFF2-40B4-BE49-F238E27FC236}">
                  <a16:creationId xmlns:a16="http://schemas.microsoft.com/office/drawing/2014/main" id="{129F32E5-59FE-DA09-D02F-5206F04DB087}"/>
                </a:ext>
              </a:extLst>
            </p:cNvPr>
            <p:cNvSpPr/>
            <p:nvPr/>
          </p:nvSpPr>
          <p:spPr>
            <a:xfrm>
              <a:off x="697477" y="1531415"/>
              <a:ext cx="3207467" cy="803299"/>
            </a:xfrm>
            <a:prstGeom prst="roundRect">
              <a:avLst/>
            </a:prstGeom>
            <a:gradFill>
              <a:gsLst>
                <a:gs pos="99000">
                  <a:srgbClr val="23395D"/>
                </a:gs>
                <a:gs pos="0">
                  <a:srgbClr val="23395D">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69" name="Text Placeholder 16">
              <a:extLst>
                <a:ext uri="{FF2B5EF4-FFF2-40B4-BE49-F238E27FC236}">
                  <a16:creationId xmlns:a16="http://schemas.microsoft.com/office/drawing/2014/main" id="{0E1F1E52-AA4E-77C8-0937-EDD1DFB47C92}"/>
                </a:ext>
              </a:extLst>
            </p:cNvPr>
            <p:cNvSpPr txBox="1">
              <a:spLocks/>
            </p:cNvSpPr>
            <p:nvPr/>
          </p:nvSpPr>
          <p:spPr>
            <a:xfrm>
              <a:off x="1184290" y="1661627"/>
              <a:ext cx="2228677" cy="546097"/>
            </a:xfrm>
            <a:prstGeom prst="rect">
              <a:avLst/>
            </a:prstGeom>
          </p:spPr>
          <p:txBody>
            <a:bodyPr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mj-lt"/>
                  <a:ea typeface="+mn-ea"/>
                  <a:cs typeface="Segoe UI" panose="020B0502040204020203" pitchFamily="34" charset="0"/>
                </a:defRPr>
              </a:lvl1pPr>
              <a:lvl2pPr marL="27146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2pPr>
              <a:lvl3pPr marL="49371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3pPr>
              <a:lvl4pPr marL="715963"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4pPr>
              <a:lvl5pPr marL="936625"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Centralized</a:t>
              </a:r>
            </a:p>
          </p:txBody>
        </p:sp>
      </p:grpSp>
      <p:grpSp>
        <p:nvGrpSpPr>
          <p:cNvPr id="170" name="Group 169">
            <a:extLst>
              <a:ext uri="{FF2B5EF4-FFF2-40B4-BE49-F238E27FC236}">
                <a16:creationId xmlns:a16="http://schemas.microsoft.com/office/drawing/2014/main" id="{89571995-9282-A686-F326-18D19E93C79B}"/>
              </a:ext>
            </a:extLst>
          </p:cNvPr>
          <p:cNvGrpSpPr/>
          <p:nvPr/>
        </p:nvGrpSpPr>
        <p:grpSpPr>
          <a:xfrm>
            <a:off x="8088938" y="4862700"/>
            <a:ext cx="3341195" cy="939839"/>
            <a:chOff x="6511716" y="4539579"/>
            <a:chExt cx="3341195" cy="939839"/>
          </a:xfrm>
        </p:grpSpPr>
        <p:sp>
          <p:nvSpPr>
            <p:cNvPr id="171" name="Rounded Rectangle 87">
              <a:extLst>
                <a:ext uri="{FF2B5EF4-FFF2-40B4-BE49-F238E27FC236}">
                  <a16:creationId xmlns:a16="http://schemas.microsoft.com/office/drawing/2014/main" id="{37C70F64-B03F-9B8A-BD14-6C0909ED0070}"/>
                </a:ext>
              </a:extLst>
            </p:cNvPr>
            <p:cNvSpPr/>
            <p:nvPr/>
          </p:nvSpPr>
          <p:spPr>
            <a:xfrm rot="10800000">
              <a:off x="6511716" y="4539579"/>
              <a:ext cx="3207469" cy="939839"/>
            </a:xfrm>
            <a:prstGeom prst="roundRect">
              <a:avLst>
                <a:gd name="adj" fmla="val 17499"/>
              </a:avLst>
            </a:prstGeom>
            <a:solidFill>
              <a:srgbClr val="FFFFFF"/>
            </a:solidFill>
            <a:ln w="19050" cap="rnd" cmpd="sng" algn="ctr">
              <a:no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72" name="TextBox 171">
              <a:extLst>
                <a:ext uri="{FF2B5EF4-FFF2-40B4-BE49-F238E27FC236}">
                  <a16:creationId xmlns:a16="http://schemas.microsoft.com/office/drawing/2014/main" id="{A6E889E5-4884-4776-21E9-D8C5E281CD3B}"/>
                </a:ext>
              </a:extLst>
            </p:cNvPr>
            <p:cNvSpPr txBox="1"/>
            <p:nvPr/>
          </p:nvSpPr>
          <p:spPr>
            <a:xfrm>
              <a:off x="6549417" y="4688485"/>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System Font Regular"/>
                <a:buChar char="✕"/>
                <a:tabLst/>
                <a:defRPr/>
              </a:pPr>
              <a:r>
                <a:rPr kumimoji="0" lang="en-US" sz="1600" b="0" i="0" u="none" strike="noStrike" kern="0" cap="none" spc="0" normalizeH="0" baseline="0" noProof="0">
                  <a:ln>
                    <a:noFill/>
                  </a:ln>
                  <a:solidFill>
                    <a:srgbClr val="FF0000"/>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Agility at the Edge</a:t>
              </a:r>
            </a:p>
          </p:txBody>
        </p:sp>
      </p:grpSp>
      <p:grpSp>
        <p:nvGrpSpPr>
          <p:cNvPr id="173" name="Group 172">
            <a:extLst>
              <a:ext uri="{FF2B5EF4-FFF2-40B4-BE49-F238E27FC236}">
                <a16:creationId xmlns:a16="http://schemas.microsoft.com/office/drawing/2014/main" id="{EC310856-BA90-34B1-85DF-65EB49EB2B91}"/>
              </a:ext>
            </a:extLst>
          </p:cNvPr>
          <p:cNvGrpSpPr/>
          <p:nvPr/>
        </p:nvGrpSpPr>
        <p:grpSpPr>
          <a:xfrm>
            <a:off x="8088944" y="1767648"/>
            <a:ext cx="3207463" cy="803299"/>
            <a:chOff x="8101301" y="1531415"/>
            <a:chExt cx="3207463" cy="803299"/>
          </a:xfrm>
        </p:grpSpPr>
        <p:sp>
          <p:nvSpPr>
            <p:cNvPr id="174" name="Rounded Rectangle 86">
              <a:extLst>
                <a:ext uri="{FF2B5EF4-FFF2-40B4-BE49-F238E27FC236}">
                  <a16:creationId xmlns:a16="http://schemas.microsoft.com/office/drawing/2014/main" id="{E24E717F-898B-C96A-CF7C-6E16B3B703E8}"/>
                </a:ext>
              </a:extLst>
            </p:cNvPr>
            <p:cNvSpPr/>
            <p:nvPr/>
          </p:nvSpPr>
          <p:spPr>
            <a:xfrm>
              <a:off x="8101301" y="1531415"/>
              <a:ext cx="3207463" cy="803299"/>
            </a:xfrm>
            <a:prstGeom prst="roundRect">
              <a:avLst/>
            </a:prstGeom>
            <a:gradFill>
              <a:gsLst>
                <a:gs pos="99000">
                  <a:srgbClr val="0078D4"/>
                </a:gs>
                <a:gs pos="0">
                  <a:srgbClr val="0078D4">
                    <a:lumMod val="80000"/>
                    <a:lumOff val="20000"/>
                  </a:srgbClr>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75" name="Text Placeholder 16">
              <a:extLst>
                <a:ext uri="{FF2B5EF4-FFF2-40B4-BE49-F238E27FC236}">
                  <a16:creationId xmlns:a16="http://schemas.microsoft.com/office/drawing/2014/main" id="{0008AE2E-FA37-D826-D9FB-41949B722920}"/>
                </a:ext>
              </a:extLst>
            </p:cNvPr>
            <p:cNvSpPr txBox="1">
              <a:spLocks/>
            </p:cNvSpPr>
            <p:nvPr/>
          </p:nvSpPr>
          <p:spPr>
            <a:xfrm>
              <a:off x="8593278" y="1661627"/>
              <a:ext cx="2228677" cy="546097"/>
            </a:xfrm>
            <a:prstGeom prst="rect">
              <a:avLst/>
            </a:prstGeom>
          </p:spPr>
          <p:txBody>
            <a:bodyPr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mj-lt"/>
                  <a:ea typeface="+mn-ea"/>
                  <a:cs typeface="Segoe UI" panose="020B0502040204020203" pitchFamily="34" charset="0"/>
                </a:defRPr>
              </a:lvl1pPr>
              <a:lvl2pPr marL="27146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2pPr>
              <a:lvl3pPr marL="49371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3pPr>
              <a:lvl4pPr marL="715963"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4pPr>
              <a:lvl5pPr marL="936625"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Decentralized</a:t>
              </a:r>
            </a:p>
          </p:txBody>
        </p:sp>
      </p:grpSp>
      <p:grpSp>
        <p:nvGrpSpPr>
          <p:cNvPr id="176" name="Group 175">
            <a:extLst>
              <a:ext uri="{FF2B5EF4-FFF2-40B4-BE49-F238E27FC236}">
                <a16:creationId xmlns:a16="http://schemas.microsoft.com/office/drawing/2014/main" id="{28B5B934-4FE0-24C9-E253-8E8CFDFAED94}"/>
              </a:ext>
            </a:extLst>
          </p:cNvPr>
          <p:cNvGrpSpPr/>
          <p:nvPr/>
        </p:nvGrpSpPr>
        <p:grpSpPr>
          <a:xfrm>
            <a:off x="8629582" y="2877442"/>
            <a:ext cx="1944322" cy="1401839"/>
            <a:chOff x="6428564" y="2353809"/>
            <a:chExt cx="2152282" cy="1551777"/>
          </a:xfrm>
        </p:grpSpPr>
        <p:grpSp>
          <p:nvGrpSpPr>
            <p:cNvPr id="177" name="Group 176">
              <a:extLst>
                <a:ext uri="{FF2B5EF4-FFF2-40B4-BE49-F238E27FC236}">
                  <a16:creationId xmlns:a16="http://schemas.microsoft.com/office/drawing/2014/main" id="{8405CA91-55E1-19AB-5F92-A970983CC3B4}"/>
                </a:ext>
              </a:extLst>
            </p:cNvPr>
            <p:cNvGrpSpPr/>
            <p:nvPr/>
          </p:nvGrpSpPr>
          <p:grpSpPr>
            <a:xfrm>
              <a:off x="6428564" y="2353809"/>
              <a:ext cx="747262" cy="747261"/>
              <a:chOff x="8731867" y="3491874"/>
              <a:chExt cx="638932" cy="638931"/>
            </a:xfrm>
          </p:grpSpPr>
          <p:sp>
            <p:nvSpPr>
              <p:cNvPr id="201" name="Oval 200">
                <a:extLst>
                  <a:ext uri="{FF2B5EF4-FFF2-40B4-BE49-F238E27FC236}">
                    <a16:creationId xmlns:a16="http://schemas.microsoft.com/office/drawing/2014/main" id="{D06FCB1F-EB38-0728-6F15-41173A065E6C}"/>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202" name="Group 201">
                <a:extLst>
                  <a:ext uri="{FF2B5EF4-FFF2-40B4-BE49-F238E27FC236}">
                    <a16:creationId xmlns:a16="http://schemas.microsoft.com/office/drawing/2014/main" id="{EACDC5BD-8E33-7913-05F4-375E2F883FDD}"/>
                  </a:ext>
                </a:extLst>
              </p:cNvPr>
              <p:cNvGrpSpPr/>
              <p:nvPr/>
            </p:nvGrpSpPr>
            <p:grpSpPr>
              <a:xfrm>
                <a:off x="8881192" y="3617987"/>
                <a:ext cx="340302" cy="386705"/>
                <a:chOff x="1325348" y="4418696"/>
                <a:chExt cx="728381" cy="827705"/>
              </a:xfrm>
            </p:grpSpPr>
            <p:sp>
              <p:nvSpPr>
                <p:cNvPr id="203" name="people_4" title="Icon of a person">
                  <a:extLst>
                    <a:ext uri="{FF2B5EF4-FFF2-40B4-BE49-F238E27FC236}">
                      <a16:creationId xmlns:a16="http://schemas.microsoft.com/office/drawing/2014/main" id="{41EB765A-C5C8-21E2-A521-05DF7C59B240}"/>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04" name="people_4" title="Icon of a person">
                  <a:extLst>
                    <a:ext uri="{FF2B5EF4-FFF2-40B4-BE49-F238E27FC236}">
                      <a16:creationId xmlns:a16="http://schemas.microsoft.com/office/drawing/2014/main" id="{BA5C8E0A-7EBC-7E00-EA63-11181115FC7A}"/>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05" name="people_4" title="Icon of a person">
                  <a:extLst>
                    <a:ext uri="{FF2B5EF4-FFF2-40B4-BE49-F238E27FC236}">
                      <a16:creationId xmlns:a16="http://schemas.microsoft.com/office/drawing/2014/main" id="{8B29A335-29AA-4130-AAB9-FE212A685714}"/>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06" name="people_4" title="Icon of a person">
                  <a:extLst>
                    <a:ext uri="{FF2B5EF4-FFF2-40B4-BE49-F238E27FC236}">
                      <a16:creationId xmlns:a16="http://schemas.microsoft.com/office/drawing/2014/main" id="{7CAFF2E0-40EC-9C09-642B-5520D53A0E90}"/>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207" name="Straight Arrow Connector 206">
                  <a:extLst>
                    <a:ext uri="{FF2B5EF4-FFF2-40B4-BE49-F238E27FC236}">
                      <a16:creationId xmlns:a16="http://schemas.microsoft.com/office/drawing/2014/main" id="{1FF9A0C2-1009-257D-99F1-5024046AF66A}"/>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208" name="Straight Arrow Connector 207">
                  <a:extLst>
                    <a:ext uri="{FF2B5EF4-FFF2-40B4-BE49-F238E27FC236}">
                      <a16:creationId xmlns:a16="http://schemas.microsoft.com/office/drawing/2014/main" id="{8A26A103-2455-FBD1-BD25-1E62B3E15A81}"/>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209" name="Straight Arrow Connector 208">
                  <a:extLst>
                    <a:ext uri="{FF2B5EF4-FFF2-40B4-BE49-F238E27FC236}">
                      <a16:creationId xmlns:a16="http://schemas.microsoft.com/office/drawing/2014/main" id="{354249BF-E6B3-2EF3-5C48-9C29B59E2A62}"/>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178" name="Group 177">
              <a:extLst>
                <a:ext uri="{FF2B5EF4-FFF2-40B4-BE49-F238E27FC236}">
                  <a16:creationId xmlns:a16="http://schemas.microsoft.com/office/drawing/2014/main" id="{6F16547D-E88F-7F0C-943B-78669A407212}"/>
                </a:ext>
              </a:extLst>
            </p:cNvPr>
            <p:cNvGrpSpPr/>
            <p:nvPr/>
          </p:nvGrpSpPr>
          <p:grpSpPr>
            <a:xfrm>
              <a:off x="6899197" y="3158325"/>
              <a:ext cx="747262" cy="747261"/>
              <a:chOff x="7448123" y="3596485"/>
              <a:chExt cx="747262" cy="747261"/>
            </a:xfrm>
          </p:grpSpPr>
          <p:sp>
            <p:nvSpPr>
              <p:cNvPr id="196" name="Oval 195">
                <a:extLst>
                  <a:ext uri="{FF2B5EF4-FFF2-40B4-BE49-F238E27FC236}">
                    <a16:creationId xmlns:a16="http://schemas.microsoft.com/office/drawing/2014/main" id="{F2C22E9A-9D23-2D31-1003-B11F854D8C03}"/>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197" name="Group 196">
                <a:extLst>
                  <a:ext uri="{FF2B5EF4-FFF2-40B4-BE49-F238E27FC236}">
                    <a16:creationId xmlns:a16="http://schemas.microsoft.com/office/drawing/2014/main" id="{4FD4951C-065C-3907-CC5B-2D0938178B3F}"/>
                  </a:ext>
                </a:extLst>
              </p:cNvPr>
              <p:cNvGrpSpPr/>
              <p:nvPr/>
            </p:nvGrpSpPr>
            <p:grpSpPr>
              <a:xfrm>
                <a:off x="7755705" y="3753498"/>
                <a:ext cx="132098" cy="433209"/>
                <a:chOff x="-850880" y="5496611"/>
                <a:chExt cx="112948" cy="370408"/>
              </a:xfrm>
            </p:grpSpPr>
            <p:sp>
              <p:nvSpPr>
                <p:cNvPr id="198" name="people_4" title="Icon of a person">
                  <a:extLst>
                    <a:ext uri="{FF2B5EF4-FFF2-40B4-BE49-F238E27FC236}">
                      <a16:creationId xmlns:a16="http://schemas.microsoft.com/office/drawing/2014/main" id="{CCC1493A-9197-EEFA-F624-CA42798EE348}"/>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199" name="Straight Arrow Connector 198">
                  <a:extLst>
                    <a:ext uri="{FF2B5EF4-FFF2-40B4-BE49-F238E27FC236}">
                      <a16:creationId xmlns:a16="http://schemas.microsoft.com/office/drawing/2014/main" id="{278E3BAD-8D08-A449-064F-B759010F202D}"/>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200" name="Family_EBDA" title="Icon of a family of people">
                  <a:extLst>
                    <a:ext uri="{FF2B5EF4-FFF2-40B4-BE49-F238E27FC236}">
                      <a16:creationId xmlns:a16="http://schemas.microsoft.com/office/drawing/2014/main" id="{D3B00F38-8216-235F-8A8F-A875C3715214}"/>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179" name="Group 178">
              <a:extLst>
                <a:ext uri="{FF2B5EF4-FFF2-40B4-BE49-F238E27FC236}">
                  <a16:creationId xmlns:a16="http://schemas.microsoft.com/office/drawing/2014/main" id="{EC8330A6-2375-A4FE-8F81-24B2892415C3}"/>
                </a:ext>
              </a:extLst>
            </p:cNvPr>
            <p:cNvGrpSpPr/>
            <p:nvPr/>
          </p:nvGrpSpPr>
          <p:grpSpPr>
            <a:xfrm>
              <a:off x="7369830" y="2353809"/>
              <a:ext cx="747262" cy="747261"/>
              <a:chOff x="8731867" y="3491874"/>
              <a:chExt cx="638932" cy="638931"/>
            </a:xfrm>
          </p:grpSpPr>
          <p:sp>
            <p:nvSpPr>
              <p:cNvPr id="187" name="Oval 186">
                <a:extLst>
                  <a:ext uri="{FF2B5EF4-FFF2-40B4-BE49-F238E27FC236}">
                    <a16:creationId xmlns:a16="http://schemas.microsoft.com/office/drawing/2014/main" id="{E64547E6-0361-7C64-32DE-E8A48C91B92F}"/>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188" name="Group 187">
                <a:extLst>
                  <a:ext uri="{FF2B5EF4-FFF2-40B4-BE49-F238E27FC236}">
                    <a16:creationId xmlns:a16="http://schemas.microsoft.com/office/drawing/2014/main" id="{39039D6D-D066-C3A1-4755-CD37808BAA2E}"/>
                  </a:ext>
                </a:extLst>
              </p:cNvPr>
              <p:cNvGrpSpPr/>
              <p:nvPr/>
            </p:nvGrpSpPr>
            <p:grpSpPr>
              <a:xfrm>
                <a:off x="8881191" y="3617987"/>
                <a:ext cx="340302" cy="386705"/>
                <a:chOff x="1325348" y="4418696"/>
                <a:chExt cx="728381" cy="827705"/>
              </a:xfrm>
            </p:grpSpPr>
            <p:sp>
              <p:nvSpPr>
                <p:cNvPr id="189" name="people_4" title="Icon of a person">
                  <a:extLst>
                    <a:ext uri="{FF2B5EF4-FFF2-40B4-BE49-F238E27FC236}">
                      <a16:creationId xmlns:a16="http://schemas.microsoft.com/office/drawing/2014/main" id="{BD332B2D-C634-54C2-6219-E775C249B169}"/>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90" name="people_4" title="Icon of a person">
                  <a:extLst>
                    <a:ext uri="{FF2B5EF4-FFF2-40B4-BE49-F238E27FC236}">
                      <a16:creationId xmlns:a16="http://schemas.microsoft.com/office/drawing/2014/main" id="{5E627E01-9A3F-7955-524B-4397A252B31F}"/>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91" name="people_4" title="Icon of a person">
                  <a:extLst>
                    <a:ext uri="{FF2B5EF4-FFF2-40B4-BE49-F238E27FC236}">
                      <a16:creationId xmlns:a16="http://schemas.microsoft.com/office/drawing/2014/main" id="{1E5FEB6E-6CC6-AEFF-32C5-EBBB33A6BD78}"/>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92" name="people_4" title="Icon of a person">
                  <a:extLst>
                    <a:ext uri="{FF2B5EF4-FFF2-40B4-BE49-F238E27FC236}">
                      <a16:creationId xmlns:a16="http://schemas.microsoft.com/office/drawing/2014/main" id="{52B11AA1-B2A7-8FF4-4844-BEB968C8BC6E}"/>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193" name="Straight Arrow Connector 192">
                  <a:extLst>
                    <a:ext uri="{FF2B5EF4-FFF2-40B4-BE49-F238E27FC236}">
                      <a16:creationId xmlns:a16="http://schemas.microsoft.com/office/drawing/2014/main" id="{335EF744-23ED-BEF6-2D9C-7DAC8D91646E}"/>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194" name="Straight Arrow Connector 193">
                  <a:extLst>
                    <a:ext uri="{FF2B5EF4-FFF2-40B4-BE49-F238E27FC236}">
                      <a16:creationId xmlns:a16="http://schemas.microsoft.com/office/drawing/2014/main" id="{B1AB5C5E-B283-06BA-030F-DAF3465D8B78}"/>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195" name="Straight Arrow Connector 194">
                  <a:extLst>
                    <a:ext uri="{FF2B5EF4-FFF2-40B4-BE49-F238E27FC236}">
                      <a16:creationId xmlns:a16="http://schemas.microsoft.com/office/drawing/2014/main" id="{5CF9FA66-9B25-4D8F-13F3-6A7A89B2B2D9}"/>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180" name="Group 179">
              <a:extLst>
                <a:ext uri="{FF2B5EF4-FFF2-40B4-BE49-F238E27FC236}">
                  <a16:creationId xmlns:a16="http://schemas.microsoft.com/office/drawing/2014/main" id="{98695FE0-ADA8-FD40-0B35-EE07109F8312}"/>
                </a:ext>
              </a:extLst>
            </p:cNvPr>
            <p:cNvGrpSpPr/>
            <p:nvPr/>
          </p:nvGrpSpPr>
          <p:grpSpPr>
            <a:xfrm>
              <a:off x="7840464" y="3158325"/>
              <a:ext cx="740382" cy="741937"/>
              <a:chOff x="8441897" y="3589608"/>
              <a:chExt cx="740382" cy="741937"/>
            </a:xfrm>
          </p:grpSpPr>
          <p:sp>
            <p:nvSpPr>
              <p:cNvPr id="181" name="Oval 180">
                <a:extLst>
                  <a:ext uri="{FF2B5EF4-FFF2-40B4-BE49-F238E27FC236}">
                    <a16:creationId xmlns:a16="http://schemas.microsoft.com/office/drawing/2014/main" id="{5C076A32-E94A-0B8D-6130-424237B39075}"/>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82" name="people_4" title="Icon of a person">
                <a:extLst>
                  <a:ext uri="{FF2B5EF4-FFF2-40B4-BE49-F238E27FC236}">
                    <a16:creationId xmlns:a16="http://schemas.microsoft.com/office/drawing/2014/main" id="{CDBB066B-C167-46C4-B070-7E254D71DDCA}"/>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183" name="Straight Arrow Connector 182">
                <a:extLst>
                  <a:ext uri="{FF2B5EF4-FFF2-40B4-BE49-F238E27FC236}">
                    <a16:creationId xmlns:a16="http://schemas.microsoft.com/office/drawing/2014/main" id="{AECD7BAC-A5AC-CF78-B428-6DA47F640A42}"/>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184" name="Straight Arrow Connector 183">
                <a:extLst>
                  <a:ext uri="{FF2B5EF4-FFF2-40B4-BE49-F238E27FC236}">
                    <a16:creationId xmlns:a16="http://schemas.microsoft.com/office/drawing/2014/main" id="{E4EE93CB-F8E9-EC8B-E52F-F2EDFB859E79}"/>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185" name="Family_EBDA" title="Icon of a family of people">
                <a:extLst>
                  <a:ext uri="{FF2B5EF4-FFF2-40B4-BE49-F238E27FC236}">
                    <a16:creationId xmlns:a16="http://schemas.microsoft.com/office/drawing/2014/main" id="{DD82B10A-C5A6-32B5-9CA2-BD14D6E30D6F}"/>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186" name="people_4" title="Icon of a person">
                <a:extLst>
                  <a:ext uri="{FF2B5EF4-FFF2-40B4-BE49-F238E27FC236}">
                    <a16:creationId xmlns:a16="http://schemas.microsoft.com/office/drawing/2014/main" id="{01E0B817-978C-DC92-41EF-E8B922F2D893}"/>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210" name="Group 209">
            <a:extLst>
              <a:ext uri="{FF2B5EF4-FFF2-40B4-BE49-F238E27FC236}">
                <a16:creationId xmlns:a16="http://schemas.microsoft.com/office/drawing/2014/main" id="{879701E6-9454-6547-A557-B829B497AA66}"/>
              </a:ext>
            </a:extLst>
          </p:cNvPr>
          <p:cNvGrpSpPr/>
          <p:nvPr/>
        </p:nvGrpSpPr>
        <p:grpSpPr>
          <a:xfrm>
            <a:off x="4542143" y="1765901"/>
            <a:ext cx="3025592" cy="803299"/>
            <a:chOff x="4542143" y="1531415"/>
            <a:chExt cx="3025592" cy="803299"/>
          </a:xfrm>
        </p:grpSpPr>
        <p:sp>
          <p:nvSpPr>
            <p:cNvPr id="211" name="Rounded Rectangle 4">
              <a:extLst>
                <a:ext uri="{FF2B5EF4-FFF2-40B4-BE49-F238E27FC236}">
                  <a16:creationId xmlns:a16="http://schemas.microsoft.com/office/drawing/2014/main" id="{E4B65B2B-229E-B01B-0D11-D2D51BBC2D4F}"/>
                </a:ext>
              </a:extLst>
            </p:cNvPr>
            <p:cNvSpPr/>
            <p:nvPr/>
          </p:nvSpPr>
          <p:spPr>
            <a:xfrm>
              <a:off x="4542143" y="1531415"/>
              <a:ext cx="3025592" cy="803299"/>
            </a:xfrm>
            <a:prstGeom prst="roundRect">
              <a:avLst/>
            </a:prstGeom>
            <a:gradFill>
              <a:gsLst>
                <a:gs pos="99000">
                  <a:srgbClr val="49C4B0"/>
                </a:gs>
                <a:gs pos="0">
                  <a:srgbClr val="6DD0C0"/>
                </a:gs>
              </a:gsLst>
              <a:lin ang="0" scaled="0"/>
            </a:gradFill>
            <a:ln w="19050" cap="flat" cmpd="sng" algn="ctr">
              <a:noFill/>
              <a:prstDash val="solid"/>
              <a:miter lim="800000"/>
            </a:ln>
            <a:effectLst>
              <a:outerShdw blurRad="50800" dist="38100" dir="2700000" algn="ctr" rotWithShape="0">
                <a:srgbClr val="000000">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12" name="Text Placeholder 16">
              <a:extLst>
                <a:ext uri="{FF2B5EF4-FFF2-40B4-BE49-F238E27FC236}">
                  <a16:creationId xmlns:a16="http://schemas.microsoft.com/office/drawing/2014/main" id="{8493BA12-E3F8-D594-1905-E330B0B88B02}"/>
                </a:ext>
              </a:extLst>
            </p:cNvPr>
            <p:cNvSpPr txBox="1">
              <a:spLocks/>
            </p:cNvSpPr>
            <p:nvPr/>
          </p:nvSpPr>
          <p:spPr>
            <a:xfrm>
              <a:off x="4940600" y="1661627"/>
              <a:ext cx="2228677" cy="546097"/>
            </a:xfrm>
            <a:prstGeom prst="rect">
              <a:avLst/>
            </a:prstGeom>
          </p:spPr>
          <p:txBody>
            <a:bodyPr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mj-lt"/>
                  <a:ea typeface="+mn-ea"/>
                  <a:cs typeface="Segoe UI" panose="020B0502040204020203" pitchFamily="34" charset="0"/>
                </a:defRPr>
              </a:lvl1pPr>
              <a:lvl2pPr marL="27146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2pPr>
              <a:lvl3pPr marL="493712"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3pPr>
              <a:lvl4pPr marL="715963"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4pPr>
              <a:lvl5pPr marL="936625"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FFFFFF"/>
                  </a:solidFill>
                  <a:effectLst/>
                  <a:uLnTx/>
                  <a:uFillTx/>
                  <a:latin typeface="Segoe Sans Display" panose="020F0302020204030204"/>
                  <a:ea typeface="+mn-ea"/>
                  <a:cs typeface="Segoe UI" panose="020B0502040204020203" pitchFamily="34" charset="0"/>
                </a:rPr>
                <a:t>Federated</a:t>
              </a:r>
            </a:p>
          </p:txBody>
        </p:sp>
      </p:grpSp>
      <p:grpSp>
        <p:nvGrpSpPr>
          <p:cNvPr id="213" name="Group 212">
            <a:extLst>
              <a:ext uri="{FF2B5EF4-FFF2-40B4-BE49-F238E27FC236}">
                <a16:creationId xmlns:a16="http://schemas.microsoft.com/office/drawing/2014/main" id="{07F31EFB-EB99-A69F-4346-3C62E27DD431}"/>
              </a:ext>
            </a:extLst>
          </p:cNvPr>
          <p:cNvGrpSpPr/>
          <p:nvPr/>
        </p:nvGrpSpPr>
        <p:grpSpPr>
          <a:xfrm>
            <a:off x="4521422" y="2824759"/>
            <a:ext cx="3064275" cy="1810232"/>
            <a:chOff x="4521422" y="2559260"/>
            <a:chExt cx="3064275" cy="1810232"/>
          </a:xfrm>
        </p:grpSpPr>
        <p:grpSp>
          <p:nvGrpSpPr>
            <p:cNvPr id="214" name="Group 213">
              <a:extLst>
                <a:ext uri="{FF2B5EF4-FFF2-40B4-BE49-F238E27FC236}">
                  <a16:creationId xmlns:a16="http://schemas.microsoft.com/office/drawing/2014/main" id="{8AE650C3-3F90-748B-1BE2-2747FFC21E55}"/>
                </a:ext>
              </a:extLst>
            </p:cNvPr>
            <p:cNvGrpSpPr/>
            <p:nvPr/>
          </p:nvGrpSpPr>
          <p:grpSpPr>
            <a:xfrm>
              <a:off x="5724779" y="2564289"/>
              <a:ext cx="675059" cy="675058"/>
              <a:chOff x="5436393" y="3187146"/>
              <a:chExt cx="747262" cy="747261"/>
            </a:xfrm>
          </p:grpSpPr>
          <p:sp>
            <p:nvSpPr>
              <p:cNvPr id="249" name="Oval 248">
                <a:extLst>
                  <a:ext uri="{FF2B5EF4-FFF2-40B4-BE49-F238E27FC236}">
                    <a16:creationId xmlns:a16="http://schemas.microsoft.com/office/drawing/2014/main" id="{B38E1905-492D-40F2-2441-922596463EC8}"/>
                  </a:ext>
                </a:extLst>
              </p:cNvPr>
              <p:cNvSpPr/>
              <p:nvPr/>
            </p:nvSpPr>
            <p:spPr>
              <a:xfrm>
                <a:off x="5436393" y="3187146"/>
                <a:ext cx="747262" cy="747261"/>
              </a:xfrm>
              <a:prstGeom prst="ellipse">
                <a:avLst/>
              </a:prstGeom>
              <a:solidFill>
                <a:srgbClr val="49C4B0"/>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50" name="girl" title="Icon of a young woman">
                <a:extLst>
                  <a:ext uri="{FF2B5EF4-FFF2-40B4-BE49-F238E27FC236}">
                    <a16:creationId xmlns:a16="http://schemas.microsoft.com/office/drawing/2014/main" id="{96098FEB-F6FA-C5FF-90FB-CE690B431BA6}"/>
                  </a:ext>
                </a:extLst>
              </p:cNvPr>
              <p:cNvSpPr>
                <a:spLocks noEditPoints="1"/>
              </p:cNvSpPr>
              <p:nvPr/>
            </p:nvSpPr>
            <p:spPr bwMode="auto">
              <a:xfrm>
                <a:off x="5629010" y="3373932"/>
                <a:ext cx="315729" cy="373689"/>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215" name="Group 214">
              <a:extLst>
                <a:ext uri="{FF2B5EF4-FFF2-40B4-BE49-F238E27FC236}">
                  <a16:creationId xmlns:a16="http://schemas.microsoft.com/office/drawing/2014/main" id="{3783DAAB-CC32-02E6-A7BB-C0AD4568E85C}"/>
                </a:ext>
              </a:extLst>
            </p:cNvPr>
            <p:cNvGrpSpPr/>
            <p:nvPr/>
          </p:nvGrpSpPr>
          <p:grpSpPr>
            <a:xfrm>
              <a:off x="6543280" y="3308252"/>
              <a:ext cx="675059" cy="675058"/>
              <a:chOff x="6647882" y="3209499"/>
              <a:chExt cx="747262" cy="747261"/>
            </a:xfrm>
          </p:grpSpPr>
          <p:sp>
            <p:nvSpPr>
              <p:cNvPr id="247" name="Oval 246">
                <a:extLst>
                  <a:ext uri="{FF2B5EF4-FFF2-40B4-BE49-F238E27FC236}">
                    <a16:creationId xmlns:a16="http://schemas.microsoft.com/office/drawing/2014/main" id="{0D1CD412-54B8-698A-E412-3E26ACC5D66F}"/>
                  </a:ext>
                </a:extLst>
              </p:cNvPr>
              <p:cNvSpPr/>
              <p:nvPr/>
            </p:nvSpPr>
            <p:spPr>
              <a:xfrm>
                <a:off x="6647882" y="3209499"/>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48" name="people_4" title="Icon of a person">
                <a:extLst>
                  <a:ext uri="{FF2B5EF4-FFF2-40B4-BE49-F238E27FC236}">
                    <a16:creationId xmlns:a16="http://schemas.microsoft.com/office/drawing/2014/main" id="{530C73A2-B182-F1F6-6A32-35DBDFA01EBE}"/>
                  </a:ext>
                </a:extLst>
              </p:cNvPr>
              <p:cNvSpPr>
                <a:spLocks noChangeAspect="1" noEditPoints="1"/>
              </p:cNvSpPr>
              <p:nvPr/>
            </p:nvSpPr>
            <p:spPr bwMode="auto">
              <a:xfrm>
                <a:off x="6857932" y="3400249"/>
                <a:ext cx="327163"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nvGrpSpPr>
            <p:cNvPr id="216" name="Group 215">
              <a:extLst>
                <a:ext uri="{FF2B5EF4-FFF2-40B4-BE49-F238E27FC236}">
                  <a16:creationId xmlns:a16="http://schemas.microsoft.com/office/drawing/2014/main" id="{4F9D92F0-BC32-3C20-C001-2EA334CD3FC5}"/>
                </a:ext>
              </a:extLst>
            </p:cNvPr>
            <p:cNvGrpSpPr/>
            <p:nvPr/>
          </p:nvGrpSpPr>
          <p:grpSpPr>
            <a:xfrm>
              <a:off x="6910638" y="2564289"/>
              <a:ext cx="675059" cy="675058"/>
              <a:chOff x="4878965" y="3908890"/>
              <a:chExt cx="747262" cy="747261"/>
            </a:xfrm>
          </p:grpSpPr>
          <p:sp>
            <p:nvSpPr>
              <p:cNvPr id="245" name="Oval 244">
                <a:extLst>
                  <a:ext uri="{FF2B5EF4-FFF2-40B4-BE49-F238E27FC236}">
                    <a16:creationId xmlns:a16="http://schemas.microsoft.com/office/drawing/2014/main" id="{2E8DEAC8-EC20-1180-0D0E-537C84BEAE93}"/>
                  </a:ext>
                </a:extLst>
              </p:cNvPr>
              <p:cNvSpPr/>
              <p:nvPr/>
            </p:nvSpPr>
            <p:spPr>
              <a:xfrm>
                <a:off x="4878965" y="3908890"/>
                <a:ext cx="747262" cy="747261"/>
              </a:xfrm>
              <a:prstGeom prst="ellipse">
                <a:avLst/>
              </a:prstGeom>
              <a:solidFill>
                <a:srgbClr val="23395D"/>
              </a:solidFill>
              <a:ln w="12700" cap="flat" cmpd="sng" algn="ctr">
                <a:noFill/>
                <a:prstDash val="solid"/>
                <a:miter lim="800000"/>
              </a:ln>
              <a:effectLst>
                <a:outerShdw blurRad="152400" dist="38100" dir="5400000" algn="ctr" rotWithShape="0">
                  <a:srgbClr val="FFFFFF">
                    <a:alpha val="2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46" name="people_12" title="Icon of three people">
                <a:extLst>
                  <a:ext uri="{FF2B5EF4-FFF2-40B4-BE49-F238E27FC236}">
                    <a16:creationId xmlns:a16="http://schemas.microsoft.com/office/drawing/2014/main" id="{92A85A69-10E1-01D4-2E40-306A9DF3AEAF}"/>
                  </a:ext>
                </a:extLst>
              </p:cNvPr>
              <p:cNvSpPr>
                <a:spLocks noChangeAspect="1" noEditPoints="1"/>
              </p:cNvSpPr>
              <p:nvPr/>
            </p:nvSpPr>
            <p:spPr bwMode="auto">
              <a:xfrm>
                <a:off x="5023996" y="4087485"/>
                <a:ext cx="457200" cy="390073"/>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217" name="Straight Arrow Connector 216">
              <a:extLst>
                <a:ext uri="{FF2B5EF4-FFF2-40B4-BE49-F238E27FC236}">
                  <a16:creationId xmlns:a16="http://schemas.microsoft.com/office/drawing/2014/main" id="{0A1A11A3-B838-1E2B-0C22-2849C917BE44}"/>
                </a:ext>
              </a:extLst>
            </p:cNvPr>
            <p:cNvCxnSpPr>
              <a:cxnSpLocks/>
              <a:stCxn id="249" idx="6"/>
              <a:endCxn id="245" idx="2"/>
            </p:cNvCxnSpPr>
            <p:nvPr/>
          </p:nvCxnSpPr>
          <p:spPr>
            <a:xfrm>
              <a:off x="6399838" y="2901818"/>
              <a:ext cx="510800" cy="0"/>
            </a:xfrm>
            <a:prstGeom prst="straightConnector1">
              <a:avLst/>
            </a:prstGeom>
            <a:noFill/>
            <a:ln w="19050" cap="flat" cmpd="sng" algn="ctr">
              <a:solidFill>
                <a:srgbClr val="49C4B0"/>
              </a:solidFill>
              <a:prstDash val="solid"/>
              <a:miter lim="800000"/>
              <a:tailEnd type="triangle"/>
            </a:ln>
            <a:effectLst/>
          </p:spPr>
        </p:cxnSp>
        <p:cxnSp>
          <p:nvCxnSpPr>
            <p:cNvPr id="218" name="Straight Arrow Connector 217">
              <a:extLst>
                <a:ext uri="{FF2B5EF4-FFF2-40B4-BE49-F238E27FC236}">
                  <a16:creationId xmlns:a16="http://schemas.microsoft.com/office/drawing/2014/main" id="{0337D2EE-CC99-04B3-F8B1-A91249141E1A}"/>
                </a:ext>
              </a:extLst>
            </p:cNvPr>
            <p:cNvCxnSpPr>
              <a:cxnSpLocks/>
              <a:stCxn id="249" idx="2"/>
              <a:endCxn id="236" idx="6"/>
            </p:cNvCxnSpPr>
            <p:nvPr/>
          </p:nvCxnSpPr>
          <p:spPr>
            <a:xfrm flipH="1" flipV="1">
              <a:off x="5196481" y="2896789"/>
              <a:ext cx="528298" cy="5029"/>
            </a:xfrm>
            <a:prstGeom prst="straightConnector1">
              <a:avLst/>
            </a:prstGeom>
            <a:noFill/>
            <a:ln w="19050" cap="flat" cmpd="sng" algn="ctr">
              <a:solidFill>
                <a:srgbClr val="49C4B0"/>
              </a:solidFill>
              <a:prstDash val="solid"/>
              <a:miter lim="800000"/>
              <a:tailEnd type="triangle"/>
            </a:ln>
            <a:effectLst/>
          </p:spPr>
        </p:cxnSp>
        <p:cxnSp>
          <p:nvCxnSpPr>
            <p:cNvPr id="219" name="Straight Arrow Connector 218">
              <a:extLst>
                <a:ext uri="{FF2B5EF4-FFF2-40B4-BE49-F238E27FC236}">
                  <a16:creationId xmlns:a16="http://schemas.microsoft.com/office/drawing/2014/main" id="{E73B02EE-5A8D-67A4-BAE0-EE6F3411DB1A}"/>
                </a:ext>
              </a:extLst>
            </p:cNvPr>
            <p:cNvCxnSpPr>
              <a:cxnSpLocks/>
              <a:stCxn id="249" idx="5"/>
            </p:cNvCxnSpPr>
            <p:nvPr/>
          </p:nvCxnSpPr>
          <p:spPr>
            <a:xfrm>
              <a:off x="6300978" y="3140487"/>
              <a:ext cx="313743" cy="275768"/>
            </a:xfrm>
            <a:prstGeom prst="straightConnector1">
              <a:avLst/>
            </a:prstGeom>
            <a:noFill/>
            <a:ln w="19050" cap="flat" cmpd="sng" algn="ctr">
              <a:solidFill>
                <a:srgbClr val="49C4B0"/>
              </a:solidFill>
              <a:prstDash val="solid"/>
              <a:miter lim="800000"/>
              <a:tailEnd type="triangle"/>
            </a:ln>
            <a:effectLst/>
          </p:spPr>
        </p:cxnSp>
        <p:grpSp>
          <p:nvGrpSpPr>
            <p:cNvPr id="220" name="Group 219">
              <a:extLst>
                <a:ext uri="{FF2B5EF4-FFF2-40B4-BE49-F238E27FC236}">
                  <a16:creationId xmlns:a16="http://schemas.microsoft.com/office/drawing/2014/main" id="{9D262268-F9D1-A687-07A1-B6AE471183A9}"/>
                </a:ext>
              </a:extLst>
            </p:cNvPr>
            <p:cNvGrpSpPr/>
            <p:nvPr/>
          </p:nvGrpSpPr>
          <p:grpSpPr>
            <a:xfrm>
              <a:off x="4521422" y="2559260"/>
              <a:ext cx="675059" cy="675058"/>
              <a:chOff x="8731867" y="3491874"/>
              <a:chExt cx="638932" cy="638931"/>
            </a:xfrm>
          </p:grpSpPr>
          <p:sp>
            <p:nvSpPr>
              <p:cNvPr id="236" name="Oval 235">
                <a:extLst>
                  <a:ext uri="{FF2B5EF4-FFF2-40B4-BE49-F238E27FC236}">
                    <a16:creationId xmlns:a16="http://schemas.microsoft.com/office/drawing/2014/main" id="{28BCBE68-8998-23FC-CF0A-2CB95A7A90B7}"/>
                  </a:ext>
                </a:extLst>
              </p:cNvPr>
              <p:cNvSpPr/>
              <p:nvPr/>
            </p:nvSpPr>
            <p:spPr>
              <a:xfrm>
                <a:off x="8731867" y="3491874"/>
                <a:ext cx="638932" cy="63893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237" name="Group 236">
                <a:extLst>
                  <a:ext uri="{FF2B5EF4-FFF2-40B4-BE49-F238E27FC236}">
                    <a16:creationId xmlns:a16="http://schemas.microsoft.com/office/drawing/2014/main" id="{0A66569A-D5A1-E596-DDAA-87EDD434AA24}"/>
                  </a:ext>
                </a:extLst>
              </p:cNvPr>
              <p:cNvGrpSpPr/>
              <p:nvPr/>
            </p:nvGrpSpPr>
            <p:grpSpPr>
              <a:xfrm>
                <a:off x="8881192" y="3617987"/>
                <a:ext cx="340302" cy="386705"/>
                <a:chOff x="1325348" y="4418696"/>
                <a:chExt cx="728381" cy="827705"/>
              </a:xfrm>
            </p:grpSpPr>
            <p:sp>
              <p:nvSpPr>
                <p:cNvPr id="238" name="people_4" title="Icon of a person">
                  <a:extLst>
                    <a:ext uri="{FF2B5EF4-FFF2-40B4-BE49-F238E27FC236}">
                      <a16:creationId xmlns:a16="http://schemas.microsoft.com/office/drawing/2014/main" id="{A85DCE62-13E7-A8C3-5265-A08C56D80761}"/>
                    </a:ext>
                  </a:extLst>
                </p:cNvPr>
                <p:cNvSpPr>
                  <a:spLocks noChangeAspect="1" noEditPoints="1"/>
                </p:cNvSpPr>
                <p:nvPr/>
              </p:nvSpPr>
              <p:spPr bwMode="auto">
                <a:xfrm>
                  <a:off x="1578097" y="4418696"/>
                  <a:ext cx="256747" cy="28703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39" name="people_4" title="Icon of a person">
                  <a:extLst>
                    <a:ext uri="{FF2B5EF4-FFF2-40B4-BE49-F238E27FC236}">
                      <a16:creationId xmlns:a16="http://schemas.microsoft.com/office/drawing/2014/main" id="{C387D21E-3232-A68D-D026-9B8B75E13923}"/>
                    </a:ext>
                  </a:extLst>
                </p:cNvPr>
                <p:cNvSpPr>
                  <a:spLocks noChangeAspect="1" noEditPoints="1"/>
                </p:cNvSpPr>
                <p:nvPr/>
              </p:nvSpPr>
              <p:spPr bwMode="auto">
                <a:xfrm>
                  <a:off x="1625415"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40" name="people_4" title="Icon of a person">
                  <a:extLst>
                    <a:ext uri="{FF2B5EF4-FFF2-40B4-BE49-F238E27FC236}">
                      <a16:creationId xmlns:a16="http://schemas.microsoft.com/office/drawing/2014/main" id="{04C7C738-CBD7-8856-C91A-1ED4F36ABA9B}"/>
                    </a:ext>
                  </a:extLst>
                </p:cNvPr>
                <p:cNvSpPr>
                  <a:spLocks noChangeAspect="1" noEditPoints="1"/>
                </p:cNvSpPr>
                <p:nvPr/>
              </p:nvSpPr>
              <p:spPr bwMode="auto">
                <a:xfrm>
                  <a:off x="1325348"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41" name="people_4" title="Icon of a person">
                  <a:extLst>
                    <a:ext uri="{FF2B5EF4-FFF2-40B4-BE49-F238E27FC236}">
                      <a16:creationId xmlns:a16="http://schemas.microsoft.com/office/drawing/2014/main" id="{4F49F4B4-6316-D74C-2868-B34E287ED63F}"/>
                    </a:ext>
                  </a:extLst>
                </p:cNvPr>
                <p:cNvSpPr>
                  <a:spLocks noChangeAspect="1" noEditPoints="1"/>
                </p:cNvSpPr>
                <p:nvPr/>
              </p:nvSpPr>
              <p:spPr bwMode="auto">
                <a:xfrm>
                  <a:off x="1891619" y="5065167"/>
                  <a:ext cx="162110" cy="18123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242" name="Straight Arrow Connector 241">
                  <a:extLst>
                    <a:ext uri="{FF2B5EF4-FFF2-40B4-BE49-F238E27FC236}">
                      <a16:creationId xmlns:a16="http://schemas.microsoft.com/office/drawing/2014/main" id="{2BD65D2D-F93B-0B6D-1201-5F1FF0188049}"/>
                    </a:ext>
                  </a:extLst>
                </p:cNvPr>
                <p:cNvCxnSpPr>
                  <a:cxnSpLocks/>
                </p:cNvCxnSpPr>
                <p:nvPr/>
              </p:nvCxnSpPr>
              <p:spPr>
                <a:xfrm flipH="1">
                  <a:off x="1426368" y="4753965"/>
                  <a:ext cx="277312" cy="270474"/>
                </a:xfrm>
                <a:prstGeom prst="straightConnector1">
                  <a:avLst/>
                </a:prstGeom>
                <a:noFill/>
                <a:ln w="19050" cap="rnd" cmpd="sng" algn="ctr">
                  <a:solidFill>
                    <a:srgbClr val="FFFFFF"/>
                  </a:solidFill>
                  <a:prstDash val="solid"/>
                  <a:miter lim="800000"/>
                  <a:tailEnd type="arrow" w="sm" len="sm"/>
                </a:ln>
                <a:effectLst/>
              </p:spPr>
            </p:cxnSp>
            <p:cxnSp>
              <p:nvCxnSpPr>
                <p:cNvPr id="243" name="Straight Arrow Connector 242">
                  <a:extLst>
                    <a:ext uri="{FF2B5EF4-FFF2-40B4-BE49-F238E27FC236}">
                      <a16:creationId xmlns:a16="http://schemas.microsoft.com/office/drawing/2014/main" id="{7EF627D2-0F81-C942-67A3-56D5A038FD14}"/>
                    </a:ext>
                  </a:extLst>
                </p:cNvPr>
                <p:cNvCxnSpPr>
                  <a:cxnSpLocks/>
                </p:cNvCxnSpPr>
                <p:nvPr/>
              </p:nvCxnSpPr>
              <p:spPr>
                <a:xfrm>
                  <a:off x="1703684" y="4756831"/>
                  <a:ext cx="0" cy="274804"/>
                </a:xfrm>
                <a:prstGeom prst="straightConnector1">
                  <a:avLst/>
                </a:prstGeom>
                <a:noFill/>
                <a:ln w="19050" cap="rnd" cmpd="sng" algn="ctr">
                  <a:solidFill>
                    <a:srgbClr val="FFFFFF"/>
                  </a:solidFill>
                  <a:prstDash val="solid"/>
                  <a:miter lim="800000"/>
                  <a:tailEnd type="arrow" w="sm" len="sm"/>
                </a:ln>
                <a:effectLst/>
              </p:spPr>
            </p:cxnSp>
            <p:cxnSp>
              <p:nvCxnSpPr>
                <p:cNvPr id="244" name="Straight Arrow Connector 243">
                  <a:extLst>
                    <a:ext uri="{FF2B5EF4-FFF2-40B4-BE49-F238E27FC236}">
                      <a16:creationId xmlns:a16="http://schemas.microsoft.com/office/drawing/2014/main" id="{A494822F-1424-38BE-4B90-E69E0517116B}"/>
                    </a:ext>
                  </a:extLst>
                </p:cNvPr>
                <p:cNvCxnSpPr>
                  <a:cxnSpLocks/>
                </p:cNvCxnSpPr>
                <p:nvPr/>
              </p:nvCxnSpPr>
              <p:spPr>
                <a:xfrm>
                  <a:off x="1703682" y="4753965"/>
                  <a:ext cx="245893" cy="257707"/>
                </a:xfrm>
                <a:prstGeom prst="straightConnector1">
                  <a:avLst/>
                </a:prstGeom>
                <a:noFill/>
                <a:ln w="19050" cap="rnd" cmpd="sng" algn="ctr">
                  <a:solidFill>
                    <a:srgbClr val="FFFFFF"/>
                  </a:solidFill>
                  <a:prstDash val="solid"/>
                  <a:miter lim="800000"/>
                  <a:tailEnd type="arrow" w="sm" len="sm"/>
                </a:ln>
                <a:effectLst/>
              </p:spPr>
            </p:cxnSp>
          </p:grpSp>
        </p:grpSp>
        <p:grpSp>
          <p:nvGrpSpPr>
            <p:cNvPr id="221" name="Group 220">
              <a:extLst>
                <a:ext uri="{FF2B5EF4-FFF2-40B4-BE49-F238E27FC236}">
                  <a16:creationId xmlns:a16="http://schemas.microsoft.com/office/drawing/2014/main" id="{3B3E2115-BE06-1780-DCAF-01B3B959A404}"/>
                </a:ext>
              </a:extLst>
            </p:cNvPr>
            <p:cNvGrpSpPr/>
            <p:nvPr/>
          </p:nvGrpSpPr>
          <p:grpSpPr>
            <a:xfrm>
              <a:off x="4902218" y="3307421"/>
              <a:ext cx="675059" cy="675058"/>
              <a:chOff x="7448123" y="3596485"/>
              <a:chExt cx="747262" cy="747261"/>
            </a:xfrm>
          </p:grpSpPr>
          <p:sp>
            <p:nvSpPr>
              <p:cNvPr id="231" name="Oval 230">
                <a:extLst>
                  <a:ext uri="{FF2B5EF4-FFF2-40B4-BE49-F238E27FC236}">
                    <a16:creationId xmlns:a16="http://schemas.microsoft.com/office/drawing/2014/main" id="{4B8D4663-5B82-1225-493A-C360E387032C}"/>
                  </a:ext>
                </a:extLst>
              </p:cNvPr>
              <p:cNvSpPr/>
              <p:nvPr/>
            </p:nvSpPr>
            <p:spPr>
              <a:xfrm>
                <a:off x="7448123" y="3596485"/>
                <a:ext cx="747262" cy="747261"/>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grpSp>
            <p:nvGrpSpPr>
              <p:cNvPr id="232" name="Group 231">
                <a:extLst>
                  <a:ext uri="{FF2B5EF4-FFF2-40B4-BE49-F238E27FC236}">
                    <a16:creationId xmlns:a16="http://schemas.microsoft.com/office/drawing/2014/main" id="{722BBE9F-011C-666A-0E76-6AE80339A9E3}"/>
                  </a:ext>
                </a:extLst>
              </p:cNvPr>
              <p:cNvGrpSpPr/>
              <p:nvPr/>
            </p:nvGrpSpPr>
            <p:grpSpPr>
              <a:xfrm>
                <a:off x="7755705" y="3753498"/>
                <a:ext cx="132098" cy="433209"/>
                <a:chOff x="-850880" y="5496611"/>
                <a:chExt cx="112948" cy="370408"/>
              </a:xfrm>
            </p:grpSpPr>
            <p:sp>
              <p:nvSpPr>
                <p:cNvPr id="233" name="people_4" title="Icon of a person">
                  <a:extLst>
                    <a:ext uri="{FF2B5EF4-FFF2-40B4-BE49-F238E27FC236}">
                      <a16:creationId xmlns:a16="http://schemas.microsoft.com/office/drawing/2014/main" id="{FC1EF38A-3567-DC9F-1B4D-27EF3A4FAA17}"/>
                    </a:ext>
                  </a:extLst>
                </p:cNvPr>
                <p:cNvSpPr>
                  <a:spLocks noChangeAspect="1" noEditPoints="1"/>
                </p:cNvSpPr>
                <p:nvPr/>
              </p:nvSpPr>
              <p:spPr bwMode="auto">
                <a:xfrm>
                  <a:off x="-850880" y="5496611"/>
                  <a:ext cx="112948" cy="1262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234" name="Straight Arrow Connector 233">
                  <a:extLst>
                    <a:ext uri="{FF2B5EF4-FFF2-40B4-BE49-F238E27FC236}">
                      <a16:creationId xmlns:a16="http://schemas.microsoft.com/office/drawing/2014/main" id="{0EE90CD8-D938-3E37-0C7B-A06456BEA9B3}"/>
                    </a:ext>
                  </a:extLst>
                </p:cNvPr>
                <p:cNvCxnSpPr>
                  <a:cxnSpLocks/>
                </p:cNvCxnSpPr>
                <p:nvPr/>
              </p:nvCxnSpPr>
              <p:spPr>
                <a:xfrm>
                  <a:off x="-795633" y="5644102"/>
                  <a:ext cx="295" cy="104236"/>
                </a:xfrm>
                <a:prstGeom prst="straightConnector1">
                  <a:avLst/>
                </a:prstGeom>
                <a:noFill/>
                <a:ln w="19050" cap="rnd" cmpd="sng" algn="ctr">
                  <a:solidFill>
                    <a:srgbClr val="FFFFFF"/>
                  </a:solidFill>
                  <a:prstDash val="solid"/>
                  <a:miter lim="800000"/>
                  <a:tailEnd type="arrow" w="sm" len="sm"/>
                </a:ln>
                <a:effectLst/>
              </p:spPr>
            </p:cxnSp>
            <p:sp>
              <p:nvSpPr>
                <p:cNvPr id="235" name="Family_EBDA" title="Icon of a family of people">
                  <a:extLst>
                    <a:ext uri="{FF2B5EF4-FFF2-40B4-BE49-F238E27FC236}">
                      <a16:creationId xmlns:a16="http://schemas.microsoft.com/office/drawing/2014/main" id="{EB2C46BE-E3F4-6D93-2E15-7ED03DF869D8}"/>
                    </a:ext>
                  </a:extLst>
                </p:cNvPr>
                <p:cNvSpPr>
                  <a:spLocks noEditPoints="1"/>
                </p:cNvSpPr>
                <p:nvPr/>
              </p:nvSpPr>
              <p:spPr bwMode="auto">
                <a:xfrm>
                  <a:off x="-848497" y="5774721"/>
                  <a:ext cx="108182" cy="92298"/>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grpSp>
        <p:grpSp>
          <p:nvGrpSpPr>
            <p:cNvPr id="222" name="Group 221">
              <a:extLst>
                <a:ext uri="{FF2B5EF4-FFF2-40B4-BE49-F238E27FC236}">
                  <a16:creationId xmlns:a16="http://schemas.microsoft.com/office/drawing/2014/main" id="{2CC3946D-6923-A652-89F4-91B5B56879CB}"/>
                </a:ext>
              </a:extLst>
            </p:cNvPr>
            <p:cNvGrpSpPr/>
            <p:nvPr/>
          </p:nvGrpSpPr>
          <p:grpSpPr>
            <a:xfrm>
              <a:off x="5727886" y="3699243"/>
              <a:ext cx="668844" cy="670249"/>
              <a:chOff x="8441897" y="3589608"/>
              <a:chExt cx="740382" cy="741937"/>
            </a:xfrm>
          </p:grpSpPr>
          <p:sp>
            <p:nvSpPr>
              <p:cNvPr id="225" name="Oval 224">
                <a:extLst>
                  <a:ext uri="{FF2B5EF4-FFF2-40B4-BE49-F238E27FC236}">
                    <a16:creationId xmlns:a16="http://schemas.microsoft.com/office/drawing/2014/main" id="{20535516-EACE-075A-1E7A-DF97B3A06ADA}"/>
                  </a:ext>
                </a:extLst>
              </p:cNvPr>
              <p:cNvSpPr/>
              <p:nvPr/>
            </p:nvSpPr>
            <p:spPr>
              <a:xfrm>
                <a:off x="8441897" y="3589608"/>
                <a:ext cx="740382" cy="741937"/>
              </a:xfrm>
              <a:prstGeom prst="ellipse">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26" name="people_4" title="Icon of a person">
                <a:extLst>
                  <a:ext uri="{FF2B5EF4-FFF2-40B4-BE49-F238E27FC236}">
                    <a16:creationId xmlns:a16="http://schemas.microsoft.com/office/drawing/2014/main" id="{459F817E-E3F1-9C44-6E1B-36BF480A4974}"/>
                  </a:ext>
                </a:extLst>
              </p:cNvPr>
              <p:cNvSpPr>
                <a:spLocks noChangeAspect="1" noEditPoints="1"/>
              </p:cNvSpPr>
              <p:nvPr/>
            </p:nvSpPr>
            <p:spPr bwMode="auto">
              <a:xfrm>
                <a:off x="8744599" y="3745487"/>
                <a:ext cx="130882" cy="14662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cxnSp>
            <p:nvCxnSpPr>
              <p:cNvPr id="227" name="Straight Arrow Connector 226">
                <a:extLst>
                  <a:ext uri="{FF2B5EF4-FFF2-40B4-BE49-F238E27FC236}">
                    <a16:creationId xmlns:a16="http://schemas.microsoft.com/office/drawing/2014/main" id="{B5425342-4C91-F9B2-C9FB-A0ECEEA6094A}"/>
                  </a:ext>
                </a:extLst>
              </p:cNvPr>
              <p:cNvCxnSpPr>
                <a:cxnSpLocks/>
              </p:cNvCxnSpPr>
              <p:nvPr/>
            </p:nvCxnSpPr>
            <p:spPr>
              <a:xfrm flipH="1">
                <a:off x="8667252" y="3916754"/>
                <a:ext cx="141365" cy="138168"/>
              </a:xfrm>
              <a:prstGeom prst="straightConnector1">
                <a:avLst/>
              </a:prstGeom>
              <a:noFill/>
              <a:ln w="19050" cap="rnd" cmpd="sng" algn="ctr">
                <a:solidFill>
                  <a:srgbClr val="FFFFFF"/>
                </a:solidFill>
                <a:prstDash val="solid"/>
                <a:miter lim="800000"/>
                <a:tailEnd type="arrow" w="sm" len="sm"/>
              </a:ln>
              <a:effectLst/>
            </p:spPr>
          </p:cxnSp>
          <p:cxnSp>
            <p:nvCxnSpPr>
              <p:cNvPr id="228" name="Straight Arrow Connector 227">
                <a:extLst>
                  <a:ext uri="{FF2B5EF4-FFF2-40B4-BE49-F238E27FC236}">
                    <a16:creationId xmlns:a16="http://schemas.microsoft.com/office/drawing/2014/main" id="{FEED44E6-9A64-FA45-FE58-BB6AB5A37396}"/>
                  </a:ext>
                </a:extLst>
              </p:cNvPr>
              <p:cNvCxnSpPr>
                <a:cxnSpLocks/>
              </p:cNvCxnSpPr>
              <p:nvPr/>
            </p:nvCxnSpPr>
            <p:spPr>
              <a:xfrm>
                <a:off x="8808618" y="3916754"/>
                <a:ext cx="125349" cy="131646"/>
              </a:xfrm>
              <a:prstGeom prst="straightConnector1">
                <a:avLst/>
              </a:prstGeom>
              <a:noFill/>
              <a:ln w="19050" cap="rnd" cmpd="sng" algn="ctr">
                <a:solidFill>
                  <a:srgbClr val="FFFFFF"/>
                </a:solidFill>
                <a:prstDash val="solid"/>
                <a:miter lim="800000"/>
                <a:tailEnd type="arrow" w="sm" len="sm"/>
              </a:ln>
              <a:effectLst/>
            </p:spPr>
          </p:cxnSp>
          <p:sp>
            <p:nvSpPr>
              <p:cNvPr id="229" name="Family_EBDA" title="Icon of a family of people">
                <a:extLst>
                  <a:ext uri="{FF2B5EF4-FFF2-40B4-BE49-F238E27FC236}">
                    <a16:creationId xmlns:a16="http://schemas.microsoft.com/office/drawing/2014/main" id="{B60AFEFA-1CFB-DFC6-D842-7496F7996E86}"/>
                  </a:ext>
                </a:extLst>
              </p:cNvPr>
              <p:cNvSpPr>
                <a:spLocks noEditPoints="1"/>
              </p:cNvSpPr>
              <p:nvPr/>
            </p:nvSpPr>
            <p:spPr bwMode="auto">
              <a:xfrm>
                <a:off x="8594953" y="4068431"/>
                <a:ext cx="125360" cy="107177"/>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sp>
            <p:nvSpPr>
              <p:cNvPr id="230" name="people_4" title="Icon of a person">
                <a:extLst>
                  <a:ext uri="{FF2B5EF4-FFF2-40B4-BE49-F238E27FC236}">
                    <a16:creationId xmlns:a16="http://schemas.microsoft.com/office/drawing/2014/main" id="{5B8DD312-9CAA-4695-6B53-911BE1A898C6}"/>
                  </a:ext>
                </a:extLst>
              </p:cNvPr>
              <p:cNvSpPr>
                <a:spLocks noChangeAspect="1" noEditPoints="1"/>
              </p:cNvSpPr>
              <p:nvPr/>
            </p:nvSpPr>
            <p:spPr bwMode="auto">
              <a:xfrm>
                <a:off x="8904918" y="4075728"/>
                <a:ext cx="82639" cy="925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1C1C1C"/>
                  </a:solidFill>
                  <a:effectLst/>
                  <a:uLnTx/>
                  <a:uFillTx/>
                  <a:latin typeface="Segoe Sans Text" panose="020F0502020204030204"/>
                  <a:ea typeface="+mn-ea"/>
                  <a:cs typeface="+mn-cs"/>
                </a:endParaRPr>
              </a:p>
            </p:txBody>
          </p:sp>
        </p:grpSp>
        <p:cxnSp>
          <p:nvCxnSpPr>
            <p:cNvPr id="223" name="Straight Arrow Connector 222">
              <a:extLst>
                <a:ext uri="{FF2B5EF4-FFF2-40B4-BE49-F238E27FC236}">
                  <a16:creationId xmlns:a16="http://schemas.microsoft.com/office/drawing/2014/main" id="{8490CAC9-4E71-AF57-765D-519ABF9F2CE4}"/>
                </a:ext>
              </a:extLst>
            </p:cNvPr>
            <p:cNvCxnSpPr>
              <a:cxnSpLocks/>
            </p:cNvCxnSpPr>
            <p:nvPr/>
          </p:nvCxnSpPr>
          <p:spPr>
            <a:xfrm flipH="1">
              <a:off x="6055114" y="3239347"/>
              <a:ext cx="0" cy="459896"/>
            </a:xfrm>
            <a:prstGeom prst="straightConnector1">
              <a:avLst/>
            </a:prstGeom>
            <a:noFill/>
            <a:ln w="19050" cap="flat" cmpd="sng" algn="ctr">
              <a:solidFill>
                <a:srgbClr val="49C4B0"/>
              </a:solidFill>
              <a:prstDash val="solid"/>
              <a:miter lim="800000"/>
              <a:tailEnd type="triangle"/>
            </a:ln>
            <a:effectLst/>
          </p:spPr>
        </p:cxnSp>
        <p:cxnSp>
          <p:nvCxnSpPr>
            <p:cNvPr id="224" name="Straight Arrow Connector 223">
              <a:extLst>
                <a:ext uri="{FF2B5EF4-FFF2-40B4-BE49-F238E27FC236}">
                  <a16:creationId xmlns:a16="http://schemas.microsoft.com/office/drawing/2014/main" id="{26C1F900-A2A9-85C4-840E-252359D0E0BF}"/>
                </a:ext>
              </a:extLst>
            </p:cNvPr>
            <p:cNvCxnSpPr>
              <a:cxnSpLocks/>
            </p:cNvCxnSpPr>
            <p:nvPr/>
          </p:nvCxnSpPr>
          <p:spPr>
            <a:xfrm flipH="1">
              <a:off x="5492179" y="3130465"/>
              <a:ext cx="313743" cy="275768"/>
            </a:xfrm>
            <a:prstGeom prst="straightConnector1">
              <a:avLst/>
            </a:prstGeom>
            <a:noFill/>
            <a:ln w="19050" cap="flat" cmpd="sng" algn="ctr">
              <a:solidFill>
                <a:srgbClr val="49C4B0"/>
              </a:solidFill>
              <a:prstDash val="solid"/>
              <a:miter lim="800000"/>
              <a:tailEnd type="triangle"/>
            </a:ln>
            <a:effectLst/>
          </p:spPr>
        </p:cxnSp>
      </p:grpSp>
      <p:grpSp>
        <p:nvGrpSpPr>
          <p:cNvPr id="251" name="Group 250">
            <a:extLst>
              <a:ext uri="{FF2B5EF4-FFF2-40B4-BE49-F238E27FC236}">
                <a16:creationId xmlns:a16="http://schemas.microsoft.com/office/drawing/2014/main" id="{1B69225D-1CC3-5FEF-69EB-030A3D7B12ED}"/>
              </a:ext>
            </a:extLst>
          </p:cNvPr>
          <p:cNvGrpSpPr/>
          <p:nvPr/>
        </p:nvGrpSpPr>
        <p:grpSpPr>
          <a:xfrm>
            <a:off x="4347078" y="4851540"/>
            <a:ext cx="3389337" cy="939839"/>
            <a:chOff x="4347078" y="4561281"/>
            <a:chExt cx="3389337" cy="939839"/>
          </a:xfrm>
        </p:grpSpPr>
        <p:sp>
          <p:nvSpPr>
            <p:cNvPr id="252" name="Rounded Rectangle 51">
              <a:extLst>
                <a:ext uri="{FF2B5EF4-FFF2-40B4-BE49-F238E27FC236}">
                  <a16:creationId xmlns:a16="http://schemas.microsoft.com/office/drawing/2014/main" id="{4ADABF35-67B9-A980-F24D-89ABA3A5346A}"/>
                </a:ext>
              </a:extLst>
            </p:cNvPr>
            <p:cNvSpPr/>
            <p:nvPr/>
          </p:nvSpPr>
          <p:spPr>
            <a:xfrm rot="10800000">
              <a:off x="4347078" y="4561281"/>
              <a:ext cx="3389337" cy="939839"/>
            </a:xfrm>
            <a:prstGeom prst="roundRect">
              <a:avLst>
                <a:gd name="adj" fmla="val 17499"/>
              </a:avLst>
            </a:prstGeom>
            <a:solidFill>
              <a:srgbClr val="FFFFFF"/>
            </a:solidFill>
            <a:ln w="50800" cap="rnd" cmpd="sng" algn="ctr">
              <a:solidFill>
                <a:srgbClr val="0078D4"/>
              </a:solidFill>
              <a:prstDash val="solid"/>
              <a:miter lim="800000"/>
            </a:ln>
            <a:effectLst>
              <a:outerShdw blurRad="63500" dist="63500" dir="2700000" algn="ctr" rotWithShape="0">
                <a:srgbClr val="1C1C1C">
                  <a:alpha val="4981"/>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53" name="TextBox 252">
              <a:extLst>
                <a:ext uri="{FF2B5EF4-FFF2-40B4-BE49-F238E27FC236}">
                  <a16:creationId xmlns:a16="http://schemas.microsoft.com/office/drawing/2014/main" id="{BDD4E7E4-6E14-1739-2AD7-A5665C51A2F1}"/>
                </a:ext>
              </a:extLst>
            </p:cNvPr>
            <p:cNvSpPr txBox="1"/>
            <p:nvPr/>
          </p:nvSpPr>
          <p:spPr>
            <a:xfrm>
              <a:off x="4432921" y="4721883"/>
              <a:ext cx="3303494" cy="61863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Responsibility at the Core</a:t>
              </a:r>
            </a:p>
            <a:p>
              <a:pPr marL="285750" marR="0" lvl="0" indent="-2857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78D4"/>
                  </a:solidFill>
                  <a:effectLst/>
                  <a:uLnTx/>
                  <a:uFillTx/>
                  <a:latin typeface="Segoe Sans Text" panose="020F0502020204030204"/>
                  <a:ea typeface="+mn-ea"/>
                  <a:cs typeface="Segoe Sans Display Semibold" pitchFamily="2" charset="0"/>
                </a:rPr>
                <a:t>Agility at the Edge</a:t>
              </a:r>
            </a:p>
          </p:txBody>
        </p:sp>
      </p:grpSp>
      <p:sp>
        <p:nvSpPr>
          <p:cNvPr id="254" name="TextBox 253">
            <a:hlinkClick r:id="rId3"/>
            <a:extLst>
              <a:ext uri="{FF2B5EF4-FFF2-40B4-BE49-F238E27FC236}">
                <a16:creationId xmlns:a16="http://schemas.microsoft.com/office/drawing/2014/main" id="{7E5CE13A-7FA3-A201-477B-168AA1E2DAED}"/>
              </a:ext>
            </a:extLst>
          </p:cNvPr>
          <p:cNvSpPr txBox="1"/>
          <p:nvPr/>
        </p:nvSpPr>
        <p:spPr>
          <a:xfrm>
            <a:off x="563562" y="6256249"/>
            <a:ext cx="3600516" cy="123111"/>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Sans Display" panose="020F0302020204030204"/>
                <a:ea typeface="+mn-ea"/>
                <a:cs typeface="+mn-cs"/>
                <a:hlinkClick r:id="rId3">
                  <a:extLst>
                    <a:ext uri="{A12FA001-AC4F-418D-AE19-62706E023703}">
                      <ahyp:hlinkClr xmlns:ahyp="http://schemas.microsoft.com/office/drawing/2018/hyperlinkcolor" val="tx"/>
                    </a:ext>
                  </a:extLst>
                </a:hlinkClick>
              </a:rPr>
              <a:t>Source : Forrester Research. Map a path to Federated Data Governance </a:t>
            </a:r>
            <a:endParaRPr kumimoji="0" lang="en-US" sz="800" b="0" i="0" u="none" strike="noStrike" kern="1200" cap="none" spc="0" normalizeH="0" baseline="0" noProof="0">
              <a:ln>
                <a:noFill/>
              </a:ln>
              <a:solidFill>
                <a:srgbClr val="0078D4"/>
              </a:solidFill>
              <a:effectLst/>
              <a:uLnTx/>
              <a:uFillTx/>
              <a:latin typeface="Segoe Sans Display" panose="020F0302020204030204"/>
              <a:ea typeface="+mn-ea"/>
              <a:cs typeface="+mn-cs"/>
            </a:endParaRPr>
          </a:p>
        </p:txBody>
      </p:sp>
    </p:spTree>
    <p:extLst>
      <p:ext uri="{BB962C8B-B14F-4D97-AF65-F5344CB8AC3E}">
        <p14:creationId xmlns:p14="http://schemas.microsoft.com/office/powerpoint/2010/main" val="24220811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C233F-A7C7-E730-AA27-96B0F56E9698}"/>
            </a:ext>
          </a:extLst>
        </p:cNvPr>
        <p:cNvGrpSpPr/>
        <p:nvPr/>
      </p:nvGrpSpPr>
      <p:grpSpPr>
        <a:xfrm>
          <a:off x="0" y="0"/>
          <a:ext cx="0" cy="0"/>
          <a:chOff x="0" y="0"/>
          <a:chExt cx="0" cy="0"/>
        </a:xfrm>
      </p:grpSpPr>
      <p:grpSp>
        <p:nvGrpSpPr>
          <p:cNvPr id="3" name="Group 2">
            <a:extLst>
              <a:ext uri="{FF2B5EF4-FFF2-40B4-BE49-F238E27FC236}">
                <a16:creationId xmlns:a16="http://schemas.microsoft.com/office/drawing/2014/main" id="{8C87FE51-582B-8565-F488-516A55A7C17D}"/>
              </a:ext>
            </a:extLst>
          </p:cNvPr>
          <p:cNvGrpSpPr/>
          <p:nvPr/>
        </p:nvGrpSpPr>
        <p:grpSpPr>
          <a:xfrm>
            <a:off x="522818" y="2133004"/>
            <a:ext cx="11064240" cy="4029659"/>
            <a:chOff x="522818" y="1648786"/>
            <a:chExt cx="11064240" cy="4029659"/>
          </a:xfrm>
        </p:grpSpPr>
        <p:sp>
          <p:nvSpPr>
            <p:cNvPr id="4" name="Freeform 46">
              <a:extLst>
                <a:ext uri="{FF2B5EF4-FFF2-40B4-BE49-F238E27FC236}">
                  <a16:creationId xmlns:a16="http://schemas.microsoft.com/office/drawing/2014/main" id="{8580DAA2-15FF-B9DD-A85A-D8842A3663F3}"/>
                </a:ext>
              </a:extLst>
            </p:cNvPr>
            <p:cNvSpPr/>
            <p:nvPr/>
          </p:nvSpPr>
          <p:spPr>
            <a:xfrm>
              <a:off x="522818" y="1648786"/>
              <a:ext cx="11064240" cy="4029659"/>
            </a:xfrm>
            <a:custGeom>
              <a:avLst/>
              <a:gdLst>
                <a:gd name="connsiteX0" fmla="*/ 232164 w 11064240"/>
                <a:gd name="connsiteY0" fmla="*/ 0 h 4029659"/>
                <a:gd name="connsiteX1" fmla="*/ 3642782 w 11064240"/>
                <a:gd name="connsiteY1" fmla="*/ 0 h 4029659"/>
                <a:gd name="connsiteX2" fmla="*/ 3727063 w 11064240"/>
                <a:gd name="connsiteY2" fmla="*/ 84281 h 4029659"/>
                <a:gd name="connsiteX3" fmla="*/ 3727063 w 11064240"/>
                <a:gd name="connsiteY3" fmla="*/ 539806 h 4029659"/>
                <a:gd name="connsiteX4" fmla="*/ 3767803 w 11064240"/>
                <a:gd name="connsiteY4" fmla="*/ 580546 h 4029659"/>
                <a:gd name="connsiteX5" fmla="*/ 3808543 w 11064240"/>
                <a:gd name="connsiteY5" fmla="*/ 539806 h 4029659"/>
                <a:gd name="connsiteX6" fmla="*/ 3808543 w 11064240"/>
                <a:gd name="connsiteY6" fmla="*/ 84281 h 4029659"/>
                <a:gd name="connsiteX7" fmla="*/ 3892824 w 11064240"/>
                <a:gd name="connsiteY7" fmla="*/ 0 h 4029659"/>
                <a:gd name="connsiteX8" fmla="*/ 7201162 w 11064240"/>
                <a:gd name="connsiteY8" fmla="*/ 0 h 4029659"/>
                <a:gd name="connsiteX9" fmla="*/ 7285443 w 11064240"/>
                <a:gd name="connsiteY9" fmla="*/ 84281 h 4029659"/>
                <a:gd name="connsiteX10" fmla="*/ 7285443 w 11064240"/>
                <a:gd name="connsiteY10" fmla="*/ 539806 h 4029659"/>
                <a:gd name="connsiteX11" fmla="*/ 7326183 w 11064240"/>
                <a:gd name="connsiteY11" fmla="*/ 580546 h 4029659"/>
                <a:gd name="connsiteX12" fmla="*/ 7366923 w 11064240"/>
                <a:gd name="connsiteY12" fmla="*/ 539806 h 4029659"/>
                <a:gd name="connsiteX13" fmla="*/ 7366923 w 11064240"/>
                <a:gd name="connsiteY13" fmla="*/ 84281 h 4029659"/>
                <a:gd name="connsiteX14" fmla="*/ 7451204 w 11064240"/>
                <a:gd name="connsiteY14" fmla="*/ 0 h 4029659"/>
                <a:gd name="connsiteX15" fmla="*/ 10832076 w 11064240"/>
                <a:gd name="connsiteY15" fmla="*/ 0 h 4029659"/>
                <a:gd name="connsiteX16" fmla="*/ 11064240 w 11064240"/>
                <a:gd name="connsiteY16" fmla="*/ 232164 h 4029659"/>
                <a:gd name="connsiteX17" fmla="*/ 11064240 w 11064240"/>
                <a:gd name="connsiteY17" fmla="*/ 2203908 h 4029659"/>
                <a:gd name="connsiteX18" fmla="*/ 11064240 w 11064240"/>
                <a:gd name="connsiteY18" fmla="*/ 3294070 h 4029659"/>
                <a:gd name="connsiteX19" fmla="*/ 11064240 w 11064240"/>
                <a:gd name="connsiteY19" fmla="*/ 3783118 h 4029659"/>
                <a:gd name="connsiteX20" fmla="*/ 10817699 w 11064240"/>
                <a:gd name="connsiteY20" fmla="*/ 4029659 h 4029659"/>
                <a:gd name="connsiteX21" fmla="*/ 246541 w 11064240"/>
                <a:gd name="connsiteY21" fmla="*/ 4029659 h 4029659"/>
                <a:gd name="connsiteX22" fmla="*/ 0 w 11064240"/>
                <a:gd name="connsiteY22" fmla="*/ 3783118 h 4029659"/>
                <a:gd name="connsiteX23" fmla="*/ 0 w 11064240"/>
                <a:gd name="connsiteY23" fmla="*/ 3294070 h 4029659"/>
                <a:gd name="connsiteX24" fmla="*/ 0 w 11064240"/>
                <a:gd name="connsiteY24" fmla="*/ 2203908 h 4029659"/>
                <a:gd name="connsiteX25" fmla="*/ 0 w 11064240"/>
                <a:gd name="connsiteY25" fmla="*/ 232164 h 4029659"/>
                <a:gd name="connsiteX26" fmla="*/ 232164 w 11064240"/>
                <a:gd name="connsiteY26" fmla="*/ 0 h 402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64240" h="4029659">
                  <a:moveTo>
                    <a:pt x="232164" y="0"/>
                  </a:moveTo>
                  <a:lnTo>
                    <a:pt x="3642782" y="0"/>
                  </a:lnTo>
                  <a:cubicBezTo>
                    <a:pt x="3689328" y="0"/>
                    <a:pt x="3727063" y="37735"/>
                    <a:pt x="3727063" y="84281"/>
                  </a:cubicBezTo>
                  <a:lnTo>
                    <a:pt x="3727063" y="539806"/>
                  </a:lnTo>
                  <a:cubicBezTo>
                    <a:pt x="3727063" y="562315"/>
                    <a:pt x="3745295"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2203908"/>
                  </a:lnTo>
                  <a:lnTo>
                    <a:pt x="11064240" y="3294070"/>
                  </a:lnTo>
                  <a:lnTo>
                    <a:pt x="11064240" y="3783118"/>
                  </a:lnTo>
                  <a:cubicBezTo>
                    <a:pt x="11064240" y="3919279"/>
                    <a:pt x="10953860" y="4029659"/>
                    <a:pt x="10817699" y="4029659"/>
                  </a:cubicBezTo>
                  <a:lnTo>
                    <a:pt x="246541" y="4029659"/>
                  </a:lnTo>
                  <a:cubicBezTo>
                    <a:pt x="110380" y="4029659"/>
                    <a:pt x="0" y="3919279"/>
                    <a:pt x="0" y="3783118"/>
                  </a:cubicBezTo>
                  <a:lnTo>
                    <a:pt x="0" y="3294070"/>
                  </a:lnTo>
                  <a:lnTo>
                    <a:pt x="0" y="2203908"/>
                  </a:lnTo>
                  <a:lnTo>
                    <a:pt x="0" y="232164"/>
                  </a:lnTo>
                  <a:cubicBezTo>
                    <a:pt x="0" y="103943"/>
                    <a:pt x="103943" y="0"/>
                    <a:pt x="232164" y="0"/>
                  </a:cubicBezTo>
                  <a:close/>
                </a:path>
              </a:pathLst>
            </a:custGeom>
            <a:gradFill>
              <a:gsLst>
                <a:gs pos="100000">
                  <a:srgbClr val="C3E5FF"/>
                </a:gs>
                <a:gs pos="50000">
                  <a:schemeClr val="bg1"/>
                </a:gs>
              </a:gsLst>
              <a:lin ang="2400000" scaled="0"/>
            </a:gradFill>
            <a:ln>
              <a:noFill/>
            </a:ln>
            <a:effectLst>
              <a:outerShdw blurRad="254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5" name="Freeform 47">
              <a:extLst>
                <a:ext uri="{FF2B5EF4-FFF2-40B4-BE49-F238E27FC236}">
                  <a16:creationId xmlns:a16="http://schemas.microsoft.com/office/drawing/2014/main" id="{6FE60D73-7823-6B10-A574-B694C00247D0}"/>
                </a:ext>
              </a:extLst>
            </p:cNvPr>
            <p:cNvSpPr/>
            <p:nvPr/>
          </p:nvSpPr>
          <p:spPr>
            <a:xfrm>
              <a:off x="522818" y="1648786"/>
              <a:ext cx="11064240" cy="4029659"/>
            </a:xfrm>
            <a:custGeom>
              <a:avLst/>
              <a:gdLst>
                <a:gd name="connsiteX0" fmla="*/ 232164 w 11064240"/>
                <a:gd name="connsiteY0" fmla="*/ 0 h 4029659"/>
                <a:gd name="connsiteX1" fmla="*/ 3642782 w 11064240"/>
                <a:gd name="connsiteY1" fmla="*/ 0 h 4029659"/>
                <a:gd name="connsiteX2" fmla="*/ 3727063 w 11064240"/>
                <a:gd name="connsiteY2" fmla="*/ 84281 h 4029659"/>
                <a:gd name="connsiteX3" fmla="*/ 3727063 w 11064240"/>
                <a:gd name="connsiteY3" fmla="*/ 539806 h 4029659"/>
                <a:gd name="connsiteX4" fmla="*/ 3767803 w 11064240"/>
                <a:gd name="connsiteY4" fmla="*/ 580546 h 4029659"/>
                <a:gd name="connsiteX5" fmla="*/ 3808543 w 11064240"/>
                <a:gd name="connsiteY5" fmla="*/ 539806 h 4029659"/>
                <a:gd name="connsiteX6" fmla="*/ 3808543 w 11064240"/>
                <a:gd name="connsiteY6" fmla="*/ 84281 h 4029659"/>
                <a:gd name="connsiteX7" fmla="*/ 3892824 w 11064240"/>
                <a:gd name="connsiteY7" fmla="*/ 0 h 4029659"/>
                <a:gd name="connsiteX8" fmla="*/ 7201162 w 11064240"/>
                <a:gd name="connsiteY8" fmla="*/ 0 h 4029659"/>
                <a:gd name="connsiteX9" fmla="*/ 7285443 w 11064240"/>
                <a:gd name="connsiteY9" fmla="*/ 84281 h 4029659"/>
                <a:gd name="connsiteX10" fmla="*/ 7285443 w 11064240"/>
                <a:gd name="connsiteY10" fmla="*/ 539806 h 4029659"/>
                <a:gd name="connsiteX11" fmla="*/ 7326183 w 11064240"/>
                <a:gd name="connsiteY11" fmla="*/ 580546 h 4029659"/>
                <a:gd name="connsiteX12" fmla="*/ 7366923 w 11064240"/>
                <a:gd name="connsiteY12" fmla="*/ 539806 h 4029659"/>
                <a:gd name="connsiteX13" fmla="*/ 7366923 w 11064240"/>
                <a:gd name="connsiteY13" fmla="*/ 84281 h 4029659"/>
                <a:gd name="connsiteX14" fmla="*/ 7451204 w 11064240"/>
                <a:gd name="connsiteY14" fmla="*/ 0 h 4029659"/>
                <a:gd name="connsiteX15" fmla="*/ 10832076 w 11064240"/>
                <a:gd name="connsiteY15" fmla="*/ 0 h 4029659"/>
                <a:gd name="connsiteX16" fmla="*/ 11064240 w 11064240"/>
                <a:gd name="connsiteY16" fmla="*/ 232164 h 4029659"/>
                <a:gd name="connsiteX17" fmla="*/ 11064240 w 11064240"/>
                <a:gd name="connsiteY17" fmla="*/ 2203908 h 4029659"/>
                <a:gd name="connsiteX18" fmla="*/ 11064240 w 11064240"/>
                <a:gd name="connsiteY18" fmla="*/ 3294070 h 4029659"/>
                <a:gd name="connsiteX19" fmla="*/ 11064240 w 11064240"/>
                <a:gd name="connsiteY19" fmla="*/ 3783118 h 4029659"/>
                <a:gd name="connsiteX20" fmla="*/ 10817699 w 11064240"/>
                <a:gd name="connsiteY20" fmla="*/ 4029659 h 4029659"/>
                <a:gd name="connsiteX21" fmla="*/ 246541 w 11064240"/>
                <a:gd name="connsiteY21" fmla="*/ 4029659 h 4029659"/>
                <a:gd name="connsiteX22" fmla="*/ 0 w 11064240"/>
                <a:gd name="connsiteY22" fmla="*/ 3783118 h 4029659"/>
                <a:gd name="connsiteX23" fmla="*/ 0 w 11064240"/>
                <a:gd name="connsiteY23" fmla="*/ 3294070 h 4029659"/>
                <a:gd name="connsiteX24" fmla="*/ 0 w 11064240"/>
                <a:gd name="connsiteY24" fmla="*/ 2203908 h 4029659"/>
                <a:gd name="connsiteX25" fmla="*/ 0 w 11064240"/>
                <a:gd name="connsiteY25" fmla="*/ 232164 h 4029659"/>
                <a:gd name="connsiteX26" fmla="*/ 232164 w 11064240"/>
                <a:gd name="connsiteY26" fmla="*/ 0 h 402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64240" h="4029659">
                  <a:moveTo>
                    <a:pt x="232164" y="0"/>
                  </a:moveTo>
                  <a:lnTo>
                    <a:pt x="3642782" y="0"/>
                  </a:lnTo>
                  <a:cubicBezTo>
                    <a:pt x="3689328" y="0"/>
                    <a:pt x="3727063" y="37735"/>
                    <a:pt x="3727063" y="84281"/>
                  </a:cubicBezTo>
                  <a:lnTo>
                    <a:pt x="3727063" y="539806"/>
                  </a:lnTo>
                  <a:cubicBezTo>
                    <a:pt x="3727063" y="562315"/>
                    <a:pt x="3745295"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2203908"/>
                  </a:lnTo>
                  <a:lnTo>
                    <a:pt x="11064240" y="3294070"/>
                  </a:lnTo>
                  <a:lnTo>
                    <a:pt x="11064240" y="3783118"/>
                  </a:lnTo>
                  <a:cubicBezTo>
                    <a:pt x="11064240" y="3919279"/>
                    <a:pt x="10953860" y="4029659"/>
                    <a:pt x="10817699" y="4029659"/>
                  </a:cubicBezTo>
                  <a:lnTo>
                    <a:pt x="246541" y="4029659"/>
                  </a:lnTo>
                  <a:cubicBezTo>
                    <a:pt x="110380" y="4029659"/>
                    <a:pt x="0" y="3919279"/>
                    <a:pt x="0" y="3783118"/>
                  </a:cubicBezTo>
                  <a:lnTo>
                    <a:pt x="0" y="3294070"/>
                  </a:lnTo>
                  <a:lnTo>
                    <a:pt x="0" y="2203908"/>
                  </a:lnTo>
                  <a:lnTo>
                    <a:pt x="0" y="232164"/>
                  </a:lnTo>
                  <a:cubicBezTo>
                    <a:pt x="0" y="103943"/>
                    <a:pt x="103943" y="0"/>
                    <a:pt x="232164" y="0"/>
                  </a:cubicBez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grpSp>
      <p:sp>
        <p:nvSpPr>
          <p:cNvPr id="6" name="Title 21">
            <a:extLst>
              <a:ext uri="{FF2B5EF4-FFF2-40B4-BE49-F238E27FC236}">
                <a16:creationId xmlns:a16="http://schemas.microsoft.com/office/drawing/2014/main" id="{F0A50FF1-E25D-5658-1BDC-2BBCDA5871F9}"/>
              </a:ext>
            </a:extLst>
          </p:cNvPr>
          <p:cNvSpPr txBox="1">
            <a:spLocks/>
          </p:cNvSpPr>
          <p:nvPr/>
        </p:nvSpPr>
        <p:spPr>
          <a:xfrm>
            <a:off x="-4968240" y="6761352"/>
            <a:ext cx="11064240" cy="724535"/>
          </a:xfrm>
          <a:prstGeom prst="rect">
            <a:avLst/>
          </a:prstGeom>
        </p:spPr>
        <p:txBody>
          <a:bodyPr>
            <a:normAutofit/>
          </a:bodyPr>
          <a:lstStyle>
            <a:lvl1pPr algn="l" defTabSz="373183" rtl="0" eaLnBrk="1" latinLnBrk="0" hangingPunct="1">
              <a:lnSpc>
                <a:spcPct val="100000"/>
              </a:lnSpc>
              <a:spcBef>
                <a:spcPct val="0"/>
              </a:spcBef>
              <a:buNone/>
              <a:defRPr lang="en-US" sz="3200" b="0" kern="1200" cap="none" spc="-21" baseline="0" dirty="0">
                <a:ln w="3175">
                  <a:noFill/>
                </a:ln>
                <a:gradFill>
                  <a:gsLst>
                    <a:gs pos="100000">
                      <a:srgbClr val="0078D4"/>
                    </a:gs>
                    <a:gs pos="0">
                      <a:srgbClr val="2A446F"/>
                    </a:gs>
                  </a:gsLst>
                  <a:lin ang="2700000" scaled="0"/>
                </a:gradFill>
                <a:effectLst/>
                <a:latin typeface="+mj-lt"/>
                <a:ea typeface="+mn-ea"/>
                <a:cs typeface="Segoe UI" pitchFamily="34" charset="0"/>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GB" sz="3200" b="0" i="0" u="none" strike="noStrike" kern="1200" cap="none" spc="-50" normalizeH="0" baseline="0" noProof="0">
              <a:ln w="3175">
                <a:noFill/>
              </a:ln>
              <a:solidFill>
                <a:srgbClr val="071731"/>
              </a:solidFill>
              <a:effectLst/>
              <a:uLnTx/>
              <a:uFillTx/>
              <a:latin typeface="Segoe Sans Text"/>
              <a:ea typeface="+mn-ea"/>
              <a:cs typeface="Segoe Sans Text"/>
            </a:endParaRPr>
          </a:p>
        </p:txBody>
      </p:sp>
      <p:sp>
        <p:nvSpPr>
          <p:cNvPr id="8" name="Rectangle: Rounded Corners 7" descr="Microsoft Cloud">
            <a:extLst>
              <a:ext uri="{FF2B5EF4-FFF2-40B4-BE49-F238E27FC236}">
                <a16:creationId xmlns:a16="http://schemas.microsoft.com/office/drawing/2014/main" id="{EA94DA38-11A2-0147-1DEA-D887906AA0F1}"/>
              </a:ext>
            </a:extLst>
          </p:cNvPr>
          <p:cNvSpPr/>
          <p:nvPr/>
        </p:nvSpPr>
        <p:spPr bwMode="auto">
          <a:xfrm>
            <a:off x="4555508" y="2367339"/>
            <a:ext cx="3036636" cy="3621385"/>
          </a:xfrm>
          <a:prstGeom prst="roundRect">
            <a:avLst>
              <a:gd name="adj" fmla="val 4168"/>
            </a:avLst>
          </a:prstGeom>
          <a:solidFill>
            <a:srgbClr val="FFFFFF"/>
          </a:solidFill>
          <a:ln w="9525" cap="flat" cmpd="sng" algn="ctr">
            <a:noFill/>
            <a:prstDash val="solid"/>
            <a:headEnd type="none" w="med" len="med"/>
            <a:tailEnd type="none" w="med" len="med"/>
          </a:ln>
          <a:effectLst>
            <a:outerShdw blurRad="262230" dist="38100" dir="2700000" algn="tl" rotWithShape="0">
              <a:schemeClr val="bg1">
                <a:lumMod val="50000"/>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9" name="Rectangle: Rounded Corners 5" descr="Microsoft Cloud">
            <a:extLst>
              <a:ext uri="{FF2B5EF4-FFF2-40B4-BE49-F238E27FC236}">
                <a16:creationId xmlns:a16="http://schemas.microsoft.com/office/drawing/2014/main" id="{B58A3EED-D79F-AF03-F1C1-17DE5E4757F7}"/>
              </a:ext>
            </a:extLst>
          </p:cNvPr>
          <p:cNvSpPr/>
          <p:nvPr/>
        </p:nvSpPr>
        <p:spPr bwMode="auto">
          <a:xfrm>
            <a:off x="983783" y="2367339"/>
            <a:ext cx="3036636" cy="3621385"/>
          </a:xfrm>
          <a:prstGeom prst="roundRect">
            <a:avLst>
              <a:gd name="adj" fmla="val 4168"/>
            </a:avLst>
          </a:prstGeom>
          <a:solidFill>
            <a:srgbClr val="FFFFFF"/>
          </a:solidFill>
          <a:ln w="9525" cap="flat" cmpd="sng" algn="ctr">
            <a:noFill/>
            <a:prstDash val="solid"/>
            <a:headEnd type="none" w="med" len="med"/>
            <a:tailEnd type="none" w="med" len="med"/>
          </a:ln>
          <a:effectLst>
            <a:outerShdw blurRad="262230" dist="38100" dir="2700000" algn="tl" rotWithShape="0">
              <a:schemeClr val="bg1">
                <a:lumMod val="50000"/>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 name="Rectangle: Rounded Corners 5" descr="Microsoft Cloud">
            <a:extLst>
              <a:ext uri="{FF2B5EF4-FFF2-40B4-BE49-F238E27FC236}">
                <a16:creationId xmlns:a16="http://schemas.microsoft.com/office/drawing/2014/main" id="{8D81509B-3D15-A068-D3D1-329A5495CFE7}"/>
              </a:ext>
            </a:extLst>
          </p:cNvPr>
          <p:cNvSpPr/>
          <p:nvPr/>
        </p:nvSpPr>
        <p:spPr bwMode="auto">
          <a:xfrm>
            <a:off x="8125984" y="2367339"/>
            <a:ext cx="3036636" cy="3621385"/>
          </a:xfrm>
          <a:prstGeom prst="roundRect">
            <a:avLst>
              <a:gd name="adj" fmla="val 4168"/>
            </a:avLst>
          </a:prstGeom>
          <a:solidFill>
            <a:srgbClr val="FFFFFF"/>
          </a:solidFill>
          <a:ln w="9525" cap="flat" cmpd="sng" algn="ctr">
            <a:noFill/>
            <a:prstDash val="solid"/>
            <a:headEnd type="none" w="med" len="med"/>
            <a:tailEnd type="none" w="med" len="med"/>
          </a:ln>
          <a:effectLst>
            <a:outerShdw blurRad="262230" dist="38100" dir="2700000" algn="tl" rotWithShape="0">
              <a:schemeClr val="bg1">
                <a:lumMod val="50000"/>
                <a:alpha val="20000"/>
              </a:schemeClr>
            </a:outerShdw>
          </a:effectLst>
        </p:spPr>
        <p:txBody>
          <a:bodyPr rot="0" spcFirstLastPara="0" vertOverflow="overflow" horzOverflow="overflow" vert="horz" wrap="square" lIns="72000" tIns="146304" rIns="182880" bIns="7200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 name="TextBox 11">
            <a:extLst>
              <a:ext uri="{FF2B5EF4-FFF2-40B4-BE49-F238E27FC236}">
                <a16:creationId xmlns:a16="http://schemas.microsoft.com/office/drawing/2014/main" id="{983E8E1F-3B4F-8477-3A58-6615E5FE9A4E}"/>
              </a:ext>
            </a:extLst>
          </p:cNvPr>
          <p:cNvSpPr txBox="1"/>
          <p:nvPr/>
        </p:nvSpPr>
        <p:spPr>
          <a:xfrm>
            <a:off x="1260103" y="3995433"/>
            <a:ext cx="2483996" cy="2215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UI"/>
                <a:ea typeface="+mn-ea"/>
                <a:cs typeface="Segoe Sans Display Semibold" pitchFamily="2" charset="0"/>
              </a:rPr>
              <a:t>AI-Powered</a:t>
            </a:r>
          </a:p>
        </p:txBody>
      </p:sp>
      <p:sp>
        <p:nvSpPr>
          <p:cNvPr id="13" name="Oval 12">
            <a:extLst>
              <a:ext uri="{FF2B5EF4-FFF2-40B4-BE49-F238E27FC236}">
                <a16:creationId xmlns:a16="http://schemas.microsoft.com/office/drawing/2014/main" id="{41C63407-0934-8025-655A-EF573E4E9C8F}"/>
              </a:ext>
            </a:extLst>
          </p:cNvPr>
          <p:cNvSpPr/>
          <p:nvPr/>
        </p:nvSpPr>
        <p:spPr>
          <a:xfrm>
            <a:off x="1977675" y="2690786"/>
            <a:ext cx="1048852" cy="1048850"/>
          </a:xfrm>
          <a:prstGeom prst="ellipse">
            <a:avLst/>
          </a:prstGeom>
          <a:solidFill>
            <a:schemeClr val="tx2"/>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4" name="TextBox 13">
            <a:extLst>
              <a:ext uri="{FF2B5EF4-FFF2-40B4-BE49-F238E27FC236}">
                <a16:creationId xmlns:a16="http://schemas.microsoft.com/office/drawing/2014/main" id="{E16B1F41-4516-D033-61CC-9D2492D043A0}"/>
              </a:ext>
            </a:extLst>
          </p:cNvPr>
          <p:cNvSpPr txBox="1"/>
          <p:nvPr/>
        </p:nvSpPr>
        <p:spPr>
          <a:xfrm>
            <a:off x="1192693" y="4557281"/>
            <a:ext cx="2618816" cy="738664"/>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1731"/>
                </a:solidFill>
                <a:effectLst/>
                <a:uLnTx/>
                <a:uFillTx/>
                <a:latin typeface="Segoe UI"/>
                <a:ea typeface="+mn-ea"/>
                <a:cs typeface="Arial"/>
              </a:rPr>
              <a:t>Drive dramatic efficiency in data governance setup, management, and ongoing interaction with AI built-in across the product experience.</a:t>
            </a:r>
          </a:p>
        </p:txBody>
      </p:sp>
      <p:grpSp>
        <p:nvGrpSpPr>
          <p:cNvPr id="15" name="Group 14">
            <a:extLst>
              <a:ext uri="{FF2B5EF4-FFF2-40B4-BE49-F238E27FC236}">
                <a16:creationId xmlns:a16="http://schemas.microsoft.com/office/drawing/2014/main" id="{C56EC29B-78C6-7525-D275-737383F73C92}"/>
              </a:ext>
            </a:extLst>
          </p:cNvPr>
          <p:cNvGrpSpPr/>
          <p:nvPr/>
        </p:nvGrpSpPr>
        <p:grpSpPr>
          <a:xfrm>
            <a:off x="4728949" y="2668101"/>
            <a:ext cx="2606571" cy="2835195"/>
            <a:chOff x="4728949" y="2087322"/>
            <a:chExt cx="2606571" cy="2835195"/>
          </a:xfrm>
        </p:grpSpPr>
        <p:sp>
          <p:nvSpPr>
            <p:cNvPr id="16" name="TextBox 15">
              <a:extLst>
                <a:ext uri="{FF2B5EF4-FFF2-40B4-BE49-F238E27FC236}">
                  <a16:creationId xmlns:a16="http://schemas.microsoft.com/office/drawing/2014/main" id="{12209D49-AC5F-9CDF-188E-44E49108D15F}"/>
                </a:ext>
              </a:extLst>
            </p:cNvPr>
            <p:cNvSpPr txBox="1"/>
            <p:nvPr/>
          </p:nvSpPr>
          <p:spPr>
            <a:xfrm>
              <a:off x="4858098" y="3391969"/>
              <a:ext cx="2431456" cy="2215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Business Friendly</a:t>
              </a:r>
            </a:p>
          </p:txBody>
        </p:sp>
        <p:sp>
          <p:nvSpPr>
            <p:cNvPr id="17" name="Oval 16">
              <a:extLst>
                <a:ext uri="{FF2B5EF4-FFF2-40B4-BE49-F238E27FC236}">
                  <a16:creationId xmlns:a16="http://schemas.microsoft.com/office/drawing/2014/main" id="{A079C452-8A4B-731A-6972-E9BBCD12474C}"/>
                </a:ext>
              </a:extLst>
            </p:cNvPr>
            <p:cNvSpPr/>
            <p:nvPr/>
          </p:nvSpPr>
          <p:spPr>
            <a:xfrm>
              <a:off x="5549400" y="2087322"/>
              <a:ext cx="1048852" cy="1048850"/>
            </a:xfrm>
            <a:prstGeom prst="ellipse">
              <a:avLst/>
            </a:prstGeom>
            <a:solidFill>
              <a:schemeClr val="tx2"/>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18" name="TextBox 17">
              <a:extLst>
                <a:ext uri="{FF2B5EF4-FFF2-40B4-BE49-F238E27FC236}">
                  <a16:creationId xmlns:a16="http://schemas.microsoft.com/office/drawing/2014/main" id="{CD0D044D-2AD8-2BBE-2409-6807E1E4D593}"/>
                </a:ext>
              </a:extLst>
            </p:cNvPr>
            <p:cNvSpPr txBox="1"/>
            <p:nvPr/>
          </p:nvSpPr>
          <p:spPr>
            <a:xfrm>
              <a:off x="4728949" y="3999187"/>
              <a:ext cx="260657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71731"/>
                  </a:solidFill>
                  <a:effectLst/>
                  <a:uLnTx/>
                  <a:uFillTx/>
                  <a:latin typeface="Segoe UI" panose="020B0502040204020203" pitchFamily="34" charset="0"/>
                  <a:ea typeface="+mn-ea"/>
                  <a:cs typeface="Segoe UI" panose="020B0502040204020203" pitchFamily="34" charset="0"/>
                </a:rPr>
                <a:t>Accelerate adoption and success across the business with friendly terms and experience that empowers every user with experiences built for their unique role</a:t>
              </a:r>
            </a:p>
          </p:txBody>
        </p:sp>
      </p:grpSp>
      <p:grpSp>
        <p:nvGrpSpPr>
          <p:cNvPr id="19" name="Group 18">
            <a:extLst>
              <a:ext uri="{FF2B5EF4-FFF2-40B4-BE49-F238E27FC236}">
                <a16:creationId xmlns:a16="http://schemas.microsoft.com/office/drawing/2014/main" id="{AFCE156B-CD67-5C38-00A6-5CED997044E4}"/>
              </a:ext>
            </a:extLst>
          </p:cNvPr>
          <p:cNvGrpSpPr/>
          <p:nvPr/>
        </p:nvGrpSpPr>
        <p:grpSpPr>
          <a:xfrm>
            <a:off x="8350939" y="2690786"/>
            <a:ext cx="2615184" cy="2789825"/>
            <a:chOff x="8350939" y="2087322"/>
            <a:chExt cx="2615184" cy="2789825"/>
          </a:xfrm>
        </p:grpSpPr>
        <p:sp>
          <p:nvSpPr>
            <p:cNvPr id="20" name="TextBox 19">
              <a:extLst>
                <a:ext uri="{FF2B5EF4-FFF2-40B4-BE49-F238E27FC236}">
                  <a16:creationId xmlns:a16="http://schemas.microsoft.com/office/drawing/2014/main" id="{3A73CD8F-CA2D-9653-DE9C-0D838BE6A06A}"/>
                </a:ext>
              </a:extLst>
            </p:cNvPr>
            <p:cNvSpPr txBox="1"/>
            <p:nvPr/>
          </p:nvSpPr>
          <p:spPr>
            <a:xfrm>
              <a:off x="8424003" y="3391969"/>
              <a:ext cx="2440598" cy="2215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Unified &amp; Actionable </a:t>
              </a:r>
            </a:p>
          </p:txBody>
        </p:sp>
        <p:sp>
          <p:nvSpPr>
            <p:cNvPr id="21" name="Oval 20">
              <a:extLst>
                <a:ext uri="{FF2B5EF4-FFF2-40B4-BE49-F238E27FC236}">
                  <a16:creationId xmlns:a16="http://schemas.microsoft.com/office/drawing/2014/main" id="{CB3EA8CE-8161-905F-34BD-D8E4BE4FD334}"/>
                </a:ext>
              </a:extLst>
            </p:cNvPr>
            <p:cNvSpPr/>
            <p:nvPr/>
          </p:nvSpPr>
          <p:spPr>
            <a:xfrm>
              <a:off x="9119876" y="2087322"/>
              <a:ext cx="1048852" cy="1048850"/>
            </a:xfrm>
            <a:prstGeom prst="ellipse">
              <a:avLst/>
            </a:prstGeom>
            <a:solidFill>
              <a:schemeClr val="tx2"/>
            </a:solidFill>
            <a:ln w="6350">
              <a:noFill/>
            </a:ln>
            <a:effectLst>
              <a:outerShdw blurRad="25400" algn="ctr" rotWithShape="0">
                <a:srgbClr val="000000">
                  <a:alpha val="9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Text" panose="020F0502020204030204"/>
                <a:ea typeface="+mn-ea"/>
                <a:cs typeface="+mn-cs"/>
              </a:endParaRPr>
            </a:p>
          </p:txBody>
        </p:sp>
        <p:sp>
          <p:nvSpPr>
            <p:cNvPr id="22" name="TextBox 21">
              <a:extLst>
                <a:ext uri="{FF2B5EF4-FFF2-40B4-BE49-F238E27FC236}">
                  <a16:creationId xmlns:a16="http://schemas.microsoft.com/office/drawing/2014/main" id="{3A5AB66A-987E-7095-3AA9-11CA876CE868}"/>
                </a:ext>
              </a:extLst>
            </p:cNvPr>
            <p:cNvSpPr txBox="1"/>
            <p:nvPr/>
          </p:nvSpPr>
          <p:spPr>
            <a:xfrm>
              <a:off x="8350939" y="3953817"/>
              <a:ext cx="2615184"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71731"/>
                  </a:solidFill>
                  <a:effectLst/>
                  <a:uLnTx/>
                  <a:uFillTx/>
                  <a:latin typeface="Segoe UI" panose="020B0502040204020203" pitchFamily="34" charset="0"/>
                  <a:ea typeface="+mn-ea"/>
                  <a:cs typeface="Segoe UI" panose="020B0502040204020203" pitchFamily="34" charset="0"/>
                </a:rPr>
                <a:t>Enable a vibrant, healthy data governance practice with real-time reports and actions that surface insights and drive federated accountability.</a:t>
              </a:r>
            </a:p>
          </p:txBody>
        </p:sp>
      </p:grpSp>
      <p:sp>
        <p:nvSpPr>
          <p:cNvPr id="24" name="Data &amp; AI" title="Icon of several circles connected to eachother by lines">
            <a:extLst>
              <a:ext uri="{FF2B5EF4-FFF2-40B4-BE49-F238E27FC236}">
                <a16:creationId xmlns:a16="http://schemas.microsoft.com/office/drawing/2014/main" id="{95E0E554-F6F2-57A5-BAE4-D41F1BD5DEC7}"/>
              </a:ext>
            </a:extLst>
          </p:cNvPr>
          <p:cNvSpPr>
            <a:spLocks noChangeAspect="1" noEditPoints="1"/>
          </p:cNvSpPr>
          <p:nvPr/>
        </p:nvSpPr>
        <p:spPr bwMode="auto">
          <a:xfrm>
            <a:off x="2206783" y="2986611"/>
            <a:ext cx="571782" cy="457200"/>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Sans Text" panose="020F0502020204030204"/>
              <a:ea typeface="+mn-ea"/>
              <a:cs typeface="+mn-cs"/>
            </a:endParaRPr>
          </a:p>
        </p:txBody>
      </p:sp>
      <p:sp>
        <p:nvSpPr>
          <p:cNvPr id="25" name="Teamwork_EA12" title="Icon of three people with an award or ribbon to the lower right">
            <a:extLst>
              <a:ext uri="{FF2B5EF4-FFF2-40B4-BE49-F238E27FC236}">
                <a16:creationId xmlns:a16="http://schemas.microsoft.com/office/drawing/2014/main" id="{E6A959FA-A7DF-0FB0-1FCB-41B74417FCB6}"/>
              </a:ext>
            </a:extLst>
          </p:cNvPr>
          <p:cNvSpPr>
            <a:spLocks noChangeAspect="1" noEditPoints="1"/>
          </p:cNvSpPr>
          <p:nvPr/>
        </p:nvSpPr>
        <p:spPr bwMode="auto">
          <a:xfrm>
            <a:off x="5818550" y="2986611"/>
            <a:ext cx="472775" cy="457200"/>
          </a:xfrm>
          <a:custGeom>
            <a:avLst/>
            <a:gdLst>
              <a:gd name="T0" fmla="*/ 3621 w 3746"/>
              <a:gd name="T1" fmla="*/ 2622 h 3621"/>
              <a:gd name="T2" fmla="*/ 3122 w 3746"/>
              <a:gd name="T3" fmla="*/ 3122 h 3621"/>
              <a:gd name="T4" fmla="*/ 2622 w 3746"/>
              <a:gd name="T5" fmla="*/ 2622 h 3621"/>
              <a:gd name="T6" fmla="*/ 3122 w 3746"/>
              <a:gd name="T7" fmla="*/ 2123 h 3621"/>
              <a:gd name="T8" fmla="*/ 3621 w 3746"/>
              <a:gd name="T9" fmla="*/ 2622 h 3621"/>
              <a:gd name="T10" fmla="*/ 2747 w 3746"/>
              <a:gd name="T11" fmla="*/ 2997 h 3621"/>
              <a:gd name="T12" fmla="*/ 2747 w 3746"/>
              <a:gd name="T13" fmla="*/ 3621 h 3621"/>
              <a:gd name="T14" fmla="*/ 3122 w 3746"/>
              <a:gd name="T15" fmla="*/ 3434 h 3621"/>
              <a:gd name="T16" fmla="*/ 3496 w 3746"/>
              <a:gd name="T17" fmla="*/ 3621 h 3621"/>
              <a:gd name="T18" fmla="*/ 3496 w 3746"/>
              <a:gd name="T19" fmla="*/ 2997 h 3621"/>
              <a:gd name="T20" fmla="*/ 1873 w 3746"/>
              <a:gd name="T21" fmla="*/ 749 h 3621"/>
              <a:gd name="T22" fmla="*/ 1249 w 3746"/>
              <a:gd name="T23" fmla="*/ 1374 h 3621"/>
              <a:gd name="T24" fmla="*/ 1873 w 3746"/>
              <a:gd name="T25" fmla="*/ 1998 h 3621"/>
              <a:gd name="T26" fmla="*/ 2497 w 3746"/>
              <a:gd name="T27" fmla="*/ 1374 h 3621"/>
              <a:gd name="T28" fmla="*/ 1873 w 3746"/>
              <a:gd name="T29" fmla="*/ 749 h 3621"/>
              <a:gd name="T30" fmla="*/ 1873 w 3746"/>
              <a:gd name="T31" fmla="*/ 1998 h 3621"/>
              <a:gd name="T32" fmla="*/ 999 w 3746"/>
              <a:gd name="T33" fmla="*/ 2872 h 3621"/>
              <a:gd name="T34" fmla="*/ 624 w 3746"/>
              <a:gd name="T35" fmla="*/ 0 h 3621"/>
              <a:gd name="T36" fmla="*/ 250 w 3746"/>
              <a:gd name="T37" fmla="*/ 375 h 3621"/>
              <a:gd name="T38" fmla="*/ 624 w 3746"/>
              <a:gd name="T39" fmla="*/ 749 h 3621"/>
              <a:gd name="T40" fmla="*/ 999 w 3746"/>
              <a:gd name="T41" fmla="*/ 375 h 3621"/>
              <a:gd name="T42" fmla="*/ 624 w 3746"/>
              <a:gd name="T43" fmla="*/ 0 h 3621"/>
              <a:gd name="T44" fmla="*/ 1249 w 3746"/>
              <a:gd name="T45" fmla="*/ 1374 h 3621"/>
              <a:gd name="T46" fmla="*/ 624 w 3746"/>
              <a:gd name="T47" fmla="*/ 749 h 3621"/>
              <a:gd name="T48" fmla="*/ 0 w 3746"/>
              <a:gd name="T49" fmla="*/ 1374 h 3621"/>
              <a:gd name="T50" fmla="*/ 3122 w 3746"/>
              <a:gd name="T51" fmla="*/ 0 h 3621"/>
              <a:gd name="T52" fmla="*/ 2747 w 3746"/>
              <a:gd name="T53" fmla="*/ 375 h 3621"/>
              <a:gd name="T54" fmla="*/ 3122 w 3746"/>
              <a:gd name="T55" fmla="*/ 749 h 3621"/>
              <a:gd name="T56" fmla="*/ 3496 w 3746"/>
              <a:gd name="T57" fmla="*/ 375 h 3621"/>
              <a:gd name="T58" fmla="*/ 3122 w 3746"/>
              <a:gd name="T59" fmla="*/ 0 h 3621"/>
              <a:gd name="T60" fmla="*/ 3746 w 3746"/>
              <a:gd name="T61" fmla="*/ 1374 h 3621"/>
              <a:gd name="T62" fmla="*/ 3122 w 3746"/>
              <a:gd name="T63" fmla="*/ 749 h 3621"/>
              <a:gd name="T64" fmla="*/ 2497 w 3746"/>
              <a:gd name="T65" fmla="*/ 1374 h 3621"/>
              <a:gd name="T66" fmla="*/ 2381 w 3746"/>
              <a:gd name="T67" fmla="*/ 2163 h 3621"/>
              <a:gd name="T68" fmla="*/ 1873 w 3746"/>
              <a:gd name="T69" fmla="*/ 1998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6" h="3621">
                <a:moveTo>
                  <a:pt x="3621" y="2622"/>
                </a:moveTo>
                <a:cubicBezTo>
                  <a:pt x="3621" y="2898"/>
                  <a:pt x="3398" y="3122"/>
                  <a:pt x="3122" y="3122"/>
                </a:cubicBezTo>
                <a:cubicBezTo>
                  <a:pt x="2846" y="3122"/>
                  <a:pt x="2622" y="2898"/>
                  <a:pt x="2622" y="2622"/>
                </a:cubicBezTo>
                <a:cubicBezTo>
                  <a:pt x="2622" y="2346"/>
                  <a:pt x="2846" y="2123"/>
                  <a:pt x="3122" y="2123"/>
                </a:cubicBezTo>
                <a:cubicBezTo>
                  <a:pt x="3398" y="2123"/>
                  <a:pt x="3621" y="2346"/>
                  <a:pt x="3621" y="2622"/>
                </a:cubicBezTo>
                <a:close/>
                <a:moveTo>
                  <a:pt x="2747" y="2997"/>
                </a:moveTo>
                <a:cubicBezTo>
                  <a:pt x="2747" y="3621"/>
                  <a:pt x="2747" y="3621"/>
                  <a:pt x="2747" y="3621"/>
                </a:cubicBezTo>
                <a:cubicBezTo>
                  <a:pt x="3122" y="3434"/>
                  <a:pt x="3122" y="3434"/>
                  <a:pt x="3122" y="3434"/>
                </a:cubicBezTo>
                <a:cubicBezTo>
                  <a:pt x="3496" y="3621"/>
                  <a:pt x="3496" y="3621"/>
                  <a:pt x="3496" y="3621"/>
                </a:cubicBezTo>
                <a:cubicBezTo>
                  <a:pt x="3496" y="2997"/>
                  <a:pt x="3496" y="2997"/>
                  <a:pt x="3496" y="2997"/>
                </a:cubicBezTo>
                <a:moveTo>
                  <a:pt x="1873" y="749"/>
                </a:moveTo>
                <a:cubicBezTo>
                  <a:pt x="1528" y="749"/>
                  <a:pt x="1249" y="1029"/>
                  <a:pt x="1249" y="1374"/>
                </a:cubicBezTo>
                <a:cubicBezTo>
                  <a:pt x="1249" y="1718"/>
                  <a:pt x="1528" y="1998"/>
                  <a:pt x="1873" y="1998"/>
                </a:cubicBezTo>
                <a:cubicBezTo>
                  <a:pt x="2218" y="1998"/>
                  <a:pt x="2497" y="1718"/>
                  <a:pt x="2497" y="1374"/>
                </a:cubicBezTo>
                <a:cubicBezTo>
                  <a:pt x="2497" y="1029"/>
                  <a:pt x="2218" y="749"/>
                  <a:pt x="1873" y="749"/>
                </a:cubicBezTo>
                <a:close/>
                <a:moveTo>
                  <a:pt x="1873" y="1998"/>
                </a:moveTo>
                <a:cubicBezTo>
                  <a:pt x="1390" y="1998"/>
                  <a:pt x="999" y="2389"/>
                  <a:pt x="999" y="2872"/>
                </a:cubicBezTo>
                <a:moveTo>
                  <a:pt x="624" y="0"/>
                </a:moveTo>
                <a:cubicBezTo>
                  <a:pt x="417" y="0"/>
                  <a:pt x="250" y="168"/>
                  <a:pt x="250" y="375"/>
                </a:cubicBezTo>
                <a:cubicBezTo>
                  <a:pt x="250" y="581"/>
                  <a:pt x="417" y="749"/>
                  <a:pt x="624" y="749"/>
                </a:cubicBezTo>
                <a:cubicBezTo>
                  <a:pt x="831" y="749"/>
                  <a:pt x="999" y="581"/>
                  <a:pt x="999" y="375"/>
                </a:cubicBezTo>
                <a:cubicBezTo>
                  <a:pt x="999" y="168"/>
                  <a:pt x="831" y="0"/>
                  <a:pt x="624" y="0"/>
                </a:cubicBezTo>
                <a:close/>
                <a:moveTo>
                  <a:pt x="1249" y="1374"/>
                </a:moveTo>
                <a:cubicBezTo>
                  <a:pt x="1249" y="1029"/>
                  <a:pt x="969" y="749"/>
                  <a:pt x="624" y="749"/>
                </a:cubicBezTo>
                <a:cubicBezTo>
                  <a:pt x="279" y="749"/>
                  <a:pt x="0" y="1029"/>
                  <a:pt x="0" y="1374"/>
                </a:cubicBezTo>
                <a:moveTo>
                  <a:pt x="3122" y="0"/>
                </a:moveTo>
                <a:cubicBezTo>
                  <a:pt x="2915" y="0"/>
                  <a:pt x="2747" y="168"/>
                  <a:pt x="2747" y="375"/>
                </a:cubicBezTo>
                <a:cubicBezTo>
                  <a:pt x="2747" y="581"/>
                  <a:pt x="2915" y="749"/>
                  <a:pt x="3122" y="749"/>
                </a:cubicBezTo>
                <a:cubicBezTo>
                  <a:pt x="3329" y="749"/>
                  <a:pt x="3496" y="581"/>
                  <a:pt x="3496" y="375"/>
                </a:cubicBezTo>
                <a:cubicBezTo>
                  <a:pt x="3496" y="168"/>
                  <a:pt x="3329" y="0"/>
                  <a:pt x="3122" y="0"/>
                </a:cubicBezTo>
                <a:close/>
                <a:moveTo>
                  <a:pt x="3746" y="1374"/>
                </a:moveTo>
                <a:cubicBezTo>
                  <a:pt x="3746" y="1029"/>
                  <a:pt x="3467" y="749"/>
                  <a:pt x="3122" y="749"/>
                </a:cubicBezTo>
                <a:cubicBezTo>
                  <a:pt x="2777" y="749"/>
                  <a:pt x="2497" y="1029"/>
                  <a:pt x="2497" y="1374"/>
                </a:cubicBezTo>
                <a:moveTo>
                  <a:pt x="2381" y="2163"/>
                </a:moveTo>
                <a:cubicBezTo>
                  <a:pt x="2238" y="2060"/>
                  <a:pt x="2063" y="1998"/>
                  <a:pt x="1873" y="1998"/>
                </a:cubicBezTo>
              </a:path>
            </a:pathLst>
          </a:custGeom>
          <a:noFill/>
          <a:ln w="254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
        <p:nvSpPr>
          <p:cNvPr id="26" name="Trackers_EADF" title="Icon of a clipboard with a checklist on it">
            <a:extLst>
              <a:ext uri="{FF2B5EF4-FFF2-40B4-BE49-F238E27FC236}">
                <a16:creationId xmlns:a16="http://schemas.microsoft.com/office/drawing/2014/main" id="{599A1164-425E-1318-CC7A-BE3FEB83E9E2}"/>
              </a:ext>
            </a:extLst>
          </p:cNvPr>
          <p:cNvSpPr>
            <a:spLocks noChangeAspect="1" noEditPoints="1"/>
          </p:cNvSpPr>
          <p:nvPr/>
        </p:nvSpPr>
        <p:spPr bwMode="auto">
          <a:xfrm>
            <a:off x="9460638" y="2970401"/>
            <a:ext cx="367327" cy="50086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
        <p:nvSpPr>
          <p:cNvPr id="2" name="Title 1">
            <a:extLst>
              <a:ext uri="{FF2B5EF4-FFF2-40B4-BE49-F238E27FC236}">
                <a16:creationId xmlns:a16="http://schemas.microsoft.com/office/drawing/2014/main" id="{76E9D459-F0CD-4D86-F0F8-BAD2DFF8912B}"/>
              </a:ext>
            </a:extLst>
          </p:cNvPr>
          <p:cNvSpPr txBox="1">
            <a:spLocks/>
          </p:cNvSpPr>
          <p:nvPr/>
        </p:nvSpPr>
        <p:spPr>
          <a:xfrm>
            <a:off x="563880" y="621940"/>
            <a:ext cx="11628120" cy="72453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j-ea"/>
                <a:cs typeface="Segoe UI" panose="020B0502040204020203" pitchFamily="34" charset="0"/>
              </a:rPr>
              <a:t>Confidently activate your data and accelerate value creation </a:t>
            </a:r>
          </a:p>
        </p:txBody>
      </p:sp>
    </p:spTree>
    <p:extLst>
      <p:ext uri="{BB962C8B-B14F-4D97-AF65-F5344CB8AC3E}">
        <p14:creationId xmlns:p14="http://schemas.microsoft.com/office/powerpoint/2010/main" val="27542323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24752F-AAA3-8F43-E437-0E0B76ADB16F}"/>
              </a:ext>
            </a:extLst>
          </p:cNvPr>
          <p:cNvPicPr>
            <a:picLocks noChangeAspect="1"/>
          </p:cNvPicPr>
          <p:nvPr/>
        </p:nvPicPr>
        <p:blipFill>
          <a:blip r:embed="rId3"/>
          <a:stretch>
            <a:fillRect/>
          </a:stretch>
        </p:blipFill>
        <p:spPr>
          <a:xfrm>
            <a:off x="1428274" y="806326"/>
            <a:ext cx="9335447" cy="5448548"/>
          </a:xfrm>
          <a:prstGeom prst="rect">
            <a:avLst/>
          </a:prstGeom>
        </p:spPr>
      </p:pic>
      <p:sp>
        <p:nvSpPr>
          <p:cNvPr id="3" name="Title 1">
            <a:extLst>
              <a:ext uri="{FF2B5EF4-FFF2-40B4-BE49-F238E27FC236}">
                <a16:creationId xmlns:a16="http://schemas.microsoft.com/office/drawing/2014/main" id="{94ABDD48-1659-6FCE-8DFC-876DB86A42DF}"/>
              </a:ext>
            </a:extLst>
          </p:cNvPr>
          <p:cNvSpPr txBox="1">
            <a:spLocks/>
          </p:cNvSpPr>
          <p:nvPr/>
        </p:nvSpPr>
        <p:spPr>
          <a:xfrm>
            <a:off x="2261260" y="318684"/>
            <a:ext cx="7669473" cy="42958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21" normalizeH="0" baseline="0" noProof="0" dirty="0">
                <a:ln w="3175">
                  <a:noFill/>
                </a:ln>
                <a:gradFill>
                  <a:gsLst>
                    <a:gs pos="100000">
                      <a:srgbClr val="0078D4"/>
                    </a:gs>
                    <a:gs pos="0">
                      <a:srgbClr val="2A446F"/>
                    </a:gs>
                  </a:gsLst>
                  <a:lin ang="2700000" scaled="0"/>
                </a:gradFill>
                <a:effectLst/>
                <a:uLnTx/>
                <a:uFillTx/>
                <a:latin typeface="Segoe UI" panose="020B0502040204020203" pitchFamily="34" charset="0"/>
                <a:ea typeface="+mj-ea"/>
                <a:cs typeface="Segoe UI" pitchFamily="34" charset="0"/>
              </a:rPr>
              <a:t>Microsoft Purview High Level Architecture</a:t>
            </a:r>
          </a:p>
        </p:txBody>
      </p:sp>
    </p:spTree>
    <p:extLst>
      <p:ext uri="{BB962C8B-B14F-4D97-AF65-F5344CB8AC3E}">
        <p14:creationId xmlns:p14="http://schemas.microsoft.com/office/powerpoint/2010/main" val="270376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A2039-D58D-08FE-CEDB-64E201C8D412}"/>
            </a:ext>
          </a:extLst>
        </p:cNvPr>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CAB54812-7654-2371-3B1E-9037E52A3AAD}"/>
              </a:ext>
            </a:extLst>
          </p:cNvPr>
          <p:cNvSpPr/>
          <p:nvPr/>
        </p:nvSpPr>
        <p:spPr>
          <a:xfrm>
            <a:off x="1924693" y="782587"/>
            <a:ext cx="8343821" cy="5782860"/>
          </a:xfrm>
          <a:prstGeom prst="roundRect">
            <a:avLst>
              <a:gd name="adj" fmla="val 3317"/>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8" name="Rectangle: Rounded Corners 17">
            <a:extLst>
              <a:ext uri="{FF2B5EF4-FFF2-40B4-BE49-F238E27FC236}">
                <a16:creationId xmlns:a16="http://schemas.microsoft.com/office/drawing/2014/main" id="{8F220388-BB1F-C0D4-21B6-17352EDF8754}"/>
              </a:ext>
            </a:extLst>
          </p:cNvPr>
          <p:cNvSpPr/>
          <p:nvPr/>
        </p:nvSpPr>
        <p:spPr>
          <a:xfrm>
            <a:off x="2141890" y="1110785"/>
            <a:ext cx="7908220" cy="4253451"/>
          </a:xfrm>
          <a:prstGeom prst="roundRect">
            <a:avLst>
              <a:gd name="adj" fmla="val 5287"/>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19" name="Rectangle: Rounded Corners 18">
            <a:extLst>
              <a:ext uri="{FF2B5EF4-FFF2-40B4-BE49-F238E27FC236}">
                <a16:creationId xmlns:a16="http://schemas.microsoft.com/office/drawing/2014/main" id="{8412766D-93A7-D5A4-158A-B907A9328DBD}"/>
              </a:ext>
            </a:extLst>
          </p:cNvPr>
          <p:cNvSpPr/>
          <p:nvPr/>
        </p:nvSpPr>
        <p:spPr>
          <a:xfrm>
            <a:off x="5082637" y="1377960"/>
            <a:ext cx="4778490" cy="3852484"/>
          </a:xfrm>
          <a:prstGeom prst="roundRect">
            <a:avLst>
              <a:gd name="adj" fmla="val 4417"/>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1" name="Rectangle: Rounded Corners 20">
            <a:extLst>
              <a:ext uri="{FF2B5EF4-FFF2-40B4-BE49-F238E27FC236}">
                <a16:creationId xmlns:a16="http://schemas.microsoft.com/office/drawing/2014/main" id="{677E3787-C53E-4FC4-A33C-351DC42F9EBB}"/>
              </a:ext>
            </a:extLst>
          </p:cNvPr>
          <p:cNvSpPr/>
          <p:nvPr/>
        </p:nvSpPr>
        <p:spPr>
          <a:xfrm>
            <a:off x="2416778" y="1377960"/>
            <a:ext cx="2636357" cy="3852483"/>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5" name="Rectangle: Rounded Corners 24">
            <a:extLst>
              <a:ext uri="{FF2B5EF4-FFF2-40B4-BE49-F238E27FC236}">
                <a16:creationId xmlns:a16="http://schemas.microsoft.com/office/drawing/2014/main" id="{E50E52A9-BDE4-F251-6CA9-3CD97554CEF0}"/>
              </a:ext>
            </a:extLst>
          </p:cNvPr>
          <p:cNvSpPr/>
          <p:nvPr/>
        </p:nvSpPr>
        <p:spPr>
          <a:xfrm>
            <a:off x="2705319" y="2597999"/>
            <a:ext cx="2111339" cy="2377980"/>
          </a:xfrm>
          <a:prstGeom prst="roundRect">
            <a:avLst>
              <a:gd name="adj" fmla="val 5025"/>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26" name="Rectangle: Rounded Corners 25">
            <a:extLst>
              <a:ext uri="{FF2B5EF4-FFF2-40B4-BE49-F238E27FC236}">
                <a16:creationId xmlns:a16="http://schemas.microsoft.com/office/drawing/2014/main" id="{CD7881B9-06D5-9C2E-2F45-B70F28AA20CC}"/>
              </a:ext>
            </a:extLst>
          </p:cNvPr>
          <p:cNvSpPr/>
          <p:nvPr/>
        </p:nvSpPr>
        <p:spPr>
          <a:xfrm>
            <a:off x="3076910" y="3143680"/>
            <a:ext cx="1315092" cy="160881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tase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shboards/Repor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Models</a:t>
            </a:r>
          </a:p>
        </p:txBody>
      </p:sp>
      <p:sp>
        <p:nvSpPr>
          <p:cNvPr id="33" name="TextBox 32">
            <a:extLst>
              <a:ext uri="{FF2B5EF4-FFF2-40B4-BE49-F238E27FC236}">
                <a16:creationId xmlns:a16="http://schemas.microsoft.com/office/drawing/2014/main" id="{4301E564-4E30-E232-18B6-358E78BBE390}"/>
              </a:ext>
            </a:extLst>
          </p:cNvPr>
          <p:cNvSpPr txBox="1"/>
          <p:nvPr/>
        </p:nvSpPr>
        <p:spPr>
          <a:xfrm>
            <a:off x="2532589" y="1531074"/>
            <a:ext cx="23676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Governance Domain</a:t>
            </a:r>
          </a:p>
        </p:txBody>
      </p:sp>
      <p:sp>
        <p:nvSpPr>
          <p:cNvPr id="47" name="TextBox 46">
            <a:extLst>
              <a:ext uri="{FF2B5EF4-FFF2-40B4-BE49-F238E27FC236}">
                <a16:creationId xmlns:a16="http://schemas.microsoft.com/office/drawing/2014/main" id="{34BFEC37-0C1E-0021-DB87-1B0F9B34A570}"/>
              </a:ext>
            </a:extLst>
          </p:cNvPr>
          <p:cNvSpPr txBox="1"/>
          <p:nvPr/>
        </p:nvSpPr>
        <p:spPr>
          <a:xfrm>
            <a:off x="2141890" y="782587"/>
            <a:ext cx="359829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Microsoft Purview Tenant</a:t>
            </a:r>
          </a:p>
        </p:txBody>
      </p:sp>
      <p:sp>
        <p:nvSpPr>
          <p:cNvPr id="48" name="TextBox 47">
            <a:extLst>
              <a:ext uri="{FF2B5EF4-FFF2-40B4-BE49-F238E27FC236}">
                <a16:creationId xmlns:a16="http://schemas.microsoft.com/office/drawing/2014/main" id="{839F6972-A363-A5CA-E06C-C2D03BD555E8}"/>
              </a:ext>
            </a:extLst>
          </p:cNvPr>
          <p:cNvSpPr txBox="1"/>
          <p:nvPr/>
        </p:nvSpPr>
        <p:spPr>
          <a:xfrm>
            <a:off x="2270025" y="1095061"/>
            <a:ext cx="2952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Catalog and Data Estate Health</a:t>
            </a:r>
          </a:p>
        </p:txBody>
      </p:sp>
      <p:sp>
        <p:nvSpPr>
          <p:cNvPr id="49" name="Rectangle: Rounded Corners 48">
            <a:extLst>
              <a:ext uri="{FF2B5EF4-FFF2-40B4-BE49-F238E27FC236}">
                <a16:creationId xmlns:a16="http://schemas.microsoft.com/office/drawing/2014/main" id="{DFB28A4A-6E3A-7320-6CD2-D2EE3B3E2044}"/>
              </a:ext>
            </a:extLst>
          </p:cNvPr>
          <p:cNvSpPr/>
          <p:nvPr/>
        </p:nvSpPr>
        <p:spPr>
          <a:xfrm>
            <a:off x="2675364" y="1874192"/>
            <a:ext cx="905011" cy="60289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ritical Data Elements</a:t>
            </a:r>
          </a:p>
        </p:txBody>
      </p:sp>
      <p:sp>
        <p:nvSpPr>
          <p:cNvPr id="51" name="TextBox 50">
            <a:extLst>
              <a:ext uri="{FF2B5EF4-FFF2-40B4-BE49-F238E27FC236}">
                <a16:creationId xmlns:a16="http://schemas.microsoft.com/office/drawing/2014/main" id="{29B6487C-9805-326B-2705-E483B2CD351A}"/>
              </a:ext>
            </a:extLst>
          </p:cNvPr>
          <p:cNvSpPr txBox="1"/>
          <p:nvPr/>
        </p:nvSpPr>
        <p:spPr>
          <a:xfrm>
            <a:off x="5334466" y="1539310"/>
            <a:ext cx="23676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Governance Domain</a:t>
            </a:r>
          </a:p>
        </p:txBody>
      </p:sp>
      <p:sp>
        <p:nvSpPr>
          <p:cNvPr id="53" name="Rectangle: Rounded Corners 52">
            <a:extLst>
              <a:ext uri="{FF2B5EF4-FFF2-40B4-BE49-F238E27FC236}">
                <a16:creationId xmlns:a16="http://schemas.microsoft.com/office/drawing/2014/main" id="{05143DC6-0BE3-01F1-EB90-88843A4F3F6A}"/>
              </a:ext>
            </a:extLst>
          </p:cNvPr>
          <p:cNvSpPr/>
          <p:nvPr/>
        </p:nvSpPr>
        <p:spPr>
          <a:xfrm>
            <a:off x="5345791" y="2604039"/>
            <a:ext cx="2111339" cy="2377980"/>
          </a:xfrm>
          <a:prstGeom prst="roundRect">
            <a:avLst>
              <a:gd name="adj" fmla="val 5956"/>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4" name="Rectangle: Rounded Corners 53">
            <a:extLst>
              <a:ext uri="{FF2B5EF4-FFF2-40B4-BE49-F238E27FC236}">
                <a16:creationId xmlns:a16="http://schemas.microsoft.com/office/drawing/2014/main" id="{FAED9D75-6AEE-89C0-03D4-A9E9FBA9E1EB}"/>
              </a:ext>
            </a:extLst>
          </p:cNvPr>
          <p:cNvSpPr/>
          <p:nvPr/>
        </p:nvSpPr>
        <p:spPr>
          <a:xfrm>
            <a:off x="5717382" y="3149720"/>
            <a:ext cx="1315092" cy="160881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tase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shboards/Repor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Models</a:t>
            </a:r>
          </a:p>
        </p:txBody>
      </p:sp>
      <p:sp>
        <p:nvSpPr>
          <p:cNvPr id="55" name="TextBox 54">
            <a:extLst>
              <a:ext uri="{FF2B5EF4-FFF2-40B4-BE49-F238E27FC236}">
                <a16:creationId xmlns:a16="http://schemas.microsoft.com/office/drawing/2014/main" id="{FD42323B-AA3E-C7E8-8A38-9A05ACF7F8A3}"/>
              </a:ext>
            </a:extLst>
          </p:cNvPr>
          <p:cNvSpPr txBox="1"/>
          <p:nvPr/>
        </p:nvSpPr>
        <p:spPr>
          <a:xfrm>
            <a:off x="5566705" y="2647223"/>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56" name="Rectangle: Rounded Corners 55">
            <a:extLst>
              <a:ext uri="{FF2B5EF4-FFF2-40B4-BE49-F238E27FC236}">
                <a16:creationId xmlns:a16="http://schemas.microsoft.com/office/drawing/2014/main" id="{042B1D85-0E8E-B5C1-44D0-49BF999B799F}"/>
              </a:ext>
            </a:extLst>
          </p:cNvPr>
          <p:cNvSpPr/>
          <p:nvPr/>
        </p:nvSpPr>
        <p:spPr>
          <a:xfrm>
            <a:off x="7620188" y="2568945"/>
            <a:ext cx="2111339" cy="2377980"/>
          </a:xfrm>
          <a:prstGeom prst="roundRect">
            <a:avLst>
              <a:gd name="adj" fmla="val 5956"/>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57" name="Rectangle: Rounded Corners 56">
            <a:extLst>
              <a:ext uri="{FF2B5EF4-FFF2-40B4-BE49-F238E27FC236}">
                <a16:creationId xmlns:a16="http://schemas.microsoft.com/office/drawing/2014/main" id="{D56D4ACA-0227-0966-7620-6B7431891D0D}"/>
              </a:ext>
            </a:extLst>
          </p:cNvPr>
          <p:cNvSpPr/>
          <p:nvPr/>
        </p:nvSpPr>
        <p:spPr>
          <a:xfrm>
            <a:off x="7991779" y="3114626"/>
            <a:ext cx="1315092" cy="160881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tase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Dashboards/Repor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Models</a:t>
            </a:r>
          </a:p>
        </p:txBody>
      </p:sp>
      <p:sp>
        <p:nvSpPr>
          <p:cNvPr id="58" name="TextBox 57">
            <a:extLst>
              <a:ext uri="{FF2B5EF4-FFF2-40B4-BE49-F238E27FC236}">
                <a16:creationId xmlns:a16="http://schemas.microsoft.com/office/drawing/2014/main" id="{7A0BD57F-30FB-BD57-41EA-63D877D04FB0}"/>
              </a:ext>
            </a:extLst>
          </p:cNvPr>
          <p:cNvSpPr txBox="1"/>
          <p:nvPr/>
        </p:nvSpPr>
        <p:spPr>
          <a:xfrm>
            <a:off x="7841102" y="2612129"/>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59" name="Rectangle: Rounded Corners 58">
            <a:extLst>
              <a:ext uri="{FF2B5EF4-FFF2-40B4-BE49-F238E27FC236}">
                <a16:creationId xmlns:a16="http://schemas.microsoft.com/office/drawing/2014/main" id="{F4B97832-1198-D6C8-D9EF-86DBBEAF5308}"/>
              </a:ext>
            </a:extLst>
          </p:cNvPr>
          <p:cNvSpPr/>
          <p:nvPr/>
        </p:nvSpPr>
        <p:spPr>
          <a:xfrm>
            <a:off x="2141890" y="5438960"/>
            <a:ext cx="7908220" cy="1020044"/>
          </a:xfrm>
          <a:prstGeom prst="roundRect">
            <a:avLst/>
          </a:prstGeom>
          <a:solidFill>
            <a:srgbClr val="419FD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60" name="TextBox 59">
            <a:extLst>
              <a:ext uri="{FF2B5EF4-FFF2-40B4-BE49-F238E27FC236}">
                <a16:creationId xmlns:a16="http://schemas.microsoft.com/office/drawing/2014/main" id="{608AC235-8D8C-D5B6-E6ED-EA0275461C23}"/>
              </a:ext>
            </a:extLst>
          </p:cNvPr>
          <p:cNvSpPr txBox="1"/>
          <p:nvPr/>
        </p:nvSpPr>
        <p:spPr>
          <a:xfrm>
            <a:off x="2270025" y="5474809"/>
            <a:ext cx="12055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Map</a:t>
            </a:r>
          </a:p>
        </p:txBody>
      </p:sp>
      <p:sp>
        <p:nvSpPr>
          <p:cNvPr id="61" name="Rectangle: Rounded Corners 60">
            <a:extLst>
              <a:ext uri="{FF2B5EF4-FFF2-40B4-BE49-F238E27FC236}">
                <a16:creationId xmlns:a16="http://schemas.microsoft.com/office/drawing/2014/main" id="{4C41FC4E-B21C-D994-09F0-8368264D80EE}"/>
              </a:ext>
            </a:extLst>
          </p:cNvPr>
          <p:cNvSpPr/>
          <p:nvPr/>
        </p:nvSpPr>
        <p:spPr>
          <a:xfrm>
            <a:off x="3147567" y="5516794"/>
            <a:ext cx="2124637" cy="88189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62" name="Rectangle: Rounded Corners 61">
            <a:extLst>
              <a:ext uri="{FF2B5EF4-FFF2-40B4-BE49-F238E27FC236}">
                <a16:creationId xmlns:a16="http://schemas.microsoft.com/office/drawing/2014/main" id="{201C74AE-D6BE-8C88-2444-C88EAA2D775D}"/>
              </a:ext>
            </a:extLst>
          </p:cNvPr>
          <p:cNvSpPr/>
          <p:nvPr/>
        </p:nvSpPr>
        <p:spPr>
          <a:xfrm>
            <a:off x="5445662" y="5503306"/>
            <a:ext cx="2124637" cy="88189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63" name="Rectangle: Rounded Corners 62">
            <a:extLst>
              <a:ext uri="{FF2B5EF4-FFF2-40B4-BE49-F238E27FC236}">
                <a16:creationId xmlns:a16="http://schemas.microsoft.com/office/drawing/2014/main" id="{E3868D86-82B1-9D1B-7853-2C901D283B8E}"/>
              </a:ext>
            </a:extLst>
          </p:cNvPr>
          <p:cNvSpPr/>
          <p:nvPr/>
        </p:nvSpPr>
        <p:spPr>
          <a:xfrm>
            <a:off x="7702126" y="5498451"/>
            <a:ext cx="2124637" cy="881895"/>
          </a:xfrm>
          <a:prstGeom prst="roundRect">
            <a:avLst>
              <a:gd name="adj" fmla="val 7343"/>
            </a:avLst>
          </a:prstGeom>
          <a:solidFill>
            <a:srgbClr val="23395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Sans Text" panose="020F0502020204030204"/>
              <a:ea typeface="+mn-ea"/>
              <a:cs typeface="+mn-cs"/>
            </a:endParaRPr>
          </a:p>
        </p:txBody>
      </p:sp>
      <p:sp>
        <p:nvSpPr>
          <p:cNvPr id="64" name="TextBox 63">
            <a:extLst>
              <a:ext uri="{FF2B5EF4-FFF2-40B4-BE49-F238E27FC236}">
                <a16:creationId xmlns:a16="http://schemas.microsoft.com/office/drawing/2014/main" id="{297BE02D-4A9C-B767-7449-07646BFF25E0}"/>
              </a:ext>
            </a:extLst>
          </p:cNvPr>
          <p:cNvSpPr txBox="1"/>
          <p:nvPr/>
        </p:nvSpPr>
        <p:spPr>
          <a:xfrm>
            <a:off x="2926233" y="2641183"/>
            <a:ext cx="1805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Data Product</a:t>
            </a:r>
          </a:p>
        </p:txBody>
      </p:sp>
      <p:sp>
        <p:nvSpPr>
          <p:cNvPr id="65" name="TextBox 64">
            <a:extLst>
              <a:ext uri="{FF2B5EF4-FFF2-40B4-BE49-F238E27FC236}">
                <a16:creationId xmlns:a16="http://schemas.microsoft.com/office/drawing/2014/main" id="{E539B971-65D0-0AE1-BB7D-F9A357471DD5}"/>
              </a:ext>
            </a:extLst>
          </p:cNvPr>
          <p:cNvSpPr txBox="1"/>
          <p:nvPr/>
        </p:nvSpPr>
        <p:spPr>
          <a:xfrm>
            <a:off x="3155951" y="5487871"/>
            <a:ext cx="18056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Platform/Technical Domain</a:t>
            </a:r>
          </a:p>
        </p:txBody>
      </p:sp>
      <p:sp>
        <p:nvSpPr>
          <p:cNvPr id="66" name="Rectangle: Rounded Corners 65">
            <a:extLst>
              <a:ext uri="{FF2B5EF4-FFF2-40B4-BE49-F238E27FC236}">
                <a16:creationId xmlns:a16="http://schemas.microsoft.com/office/drawing/2014/main" id="{282653DA-006F-361B-2C2D-53EA89AC3581}"/>
              </a:ext>
            </a:extLst>
          </p:cNvPr>
          <p:cNvSpPr/>
          <p:nvPr/>
        </p:nvSpPr>
        <p:spPr>
          <a:xfrm>
            <a:off x="3231011" y="5948413"/>
            <a:ext cx="928349" cy="276999"/>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ollection</a:t>
            </a:r>
          </a:p>
        </p:txBody>
      </p:sp>
      <p:sp>
        <p:nvSpPr>
          <p:cNvPr id="67" name="Rectangle: Rounded Corners 66">
            <a:extLst>
              <a:ext uri="{FF2B5EF4-FFF2-40B4-BE49-F238E27FC236}">
                <a16:creationId xmlns:a16="http://schemas.microsoft.com/office/drawing/2014/main" id="{7C6D18F4-B5A7-840F-3EC8-574762564365}"/>
              </a:ext>
            </a:extLst>
          </p:cNvPr>
          <p:cNvSpPr/>
          <p:nvPr/>
        </p:nvSpPr>
        <p:spPr>
          <a:xfrm>
            <a:off x="3701691" y="1868864"/>
            <a:ext cx="905011" cy="59534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Glossary  Terms</a:t>
            </a:r>
          </a:p>
        </p:txBody>
      </p:sp>
      <p:sp>
        <p:nvSpPr>
          <p:cNvPr id="68" name="TextBox 67">
            <a:extLst>
              <a:ext uri="{FF2B5EF4-FFF2-40B4-BE49-F238E27FC236}">
                <a16:creationId xmlns:a16="http://schemas.microsoft.com/office/drawing/2014/main" id="{DA6B5B4B-FFC2-5921-71E4-10CB948DACC1}"/>
              </a:ext>
            </a:extLst>
          </p:cNvPr>
          <p:cNvSpPr txBox="1"/>
          <p:nvPr/>
        </p:nvSpPr>
        <p:spPr>
          <a:xfrm>
            <a:off x="5430284" y="5520796"/>
            <a:ext cx="18056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Platform/Technical Domain</a:t>
            </a:r>
          </a:p>
        </p:txBody>
      </p:sp>
      <p:sp>
        <p:nvSpPr>
          <p:cNvPr id="69" name="Rectangle: Rounded Corners 68">
            <a:extLst>
              <a:ext uri="{FF2B5EF4-FFF2-40B4-BE49-F238E27FC236}">
                <a16:creationId xmlns:a16="http://schemas.microsoft.com/office/drawing/2014/main" id="{BFF95565-B154-CAF9-12B5-CCB205355BAD}"/>
              </a:ext>
            </a:extLst>
          </p:cNvPr>
          <p:cNvSpPr/>
          <p:nvPr/>
        </p:nvSpPr>
        <p:spPr>
          <a:xfrm>
            <a:off x="5505344" y="5981338"/>
            <a:ext cx="928349" cy="276999"/>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ollection</a:t>
            </a:r>
          </a:p>
        </p:txBody>
      </p:sp>
      <p:sp>
        <p:nvSpPr>
          <p:cNvPr id="70" name="Rectangle: Rounded Corners 69">
            <a:extLst>
              <a:ext uri="{FF2B5EF4-FFF2-40B4-BE49-F238E27FC236}">
                <a16:creationId xmlns:a16="http://schemas.microsoft.com/office/drawing/2014/main" id="{EECED342-FC1C-E08D-7E2C-9E274418C2D0}"/>
              </a:ext>
            </a:extLst>
          </p:cNvPr>
          <p:cNvSpPr/>
          <p:nvPr/>
        </p:nvSpPr>
        <p:spPr>
          <a:xfrm>
            <a:off x="6568299" y="5981337"/>
            <a:ext cx="928349" cy="276999"/>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ollection</a:t>
            </a:r>
          </a:p>
        </p:txBody>
      </p:sp>
      <p:sp>
        <p:nvSpPr>
          <p:cNvPr id="71" name="TextBox 70">
            <a:extLst>
              <a:ext uri="{FF2B5EF4-FFF2-40B4-BE49-F238E27FC236}">
                <a16:creationId xmlns:a16="http://schemas.microsoft.com/office/drawing/2014/main" id="{F03DC123-9E39-DFE6-8C9F-86A160B4225A}"/>
              </a:ext>
            </a:extLst>
          </p:cNvPr>
          <p:cNvSpPr txBox="1"/>
          <p:nvPr/>
        </p:nvSpPr>
        <p:spPr>
          <a:xfrm>
            <a:off x="7726118" y="5545380"/>
            <a:ext cx="18056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Sans Text" panose="020F0502020204030204"/>
                <a:ea typeface="+mn-ea"/>
                <a:cs typeface="+mn-cs"/>
              </a:rPr>
              <a:t>Platform/Technical Domain</a:t>
            </a:r>
          </a:p>
        </p:txBody>
      </p:sp>
      <p:sp>
        <p:nvSpPr>
          <p:cNvPr id="72" name="TextBox 71">
            <a:extLst>
              <a:ext uri="{FF2B5EF4-FFF2-40B4-BE49-F238E27FC236}">
                <a16:creationId xmlns:a16="http://schemas.microsoft.com/office/drawing/2014/main" id="{E4DB05D1-20E9-395B-E06F-F62649483C72}"/>
              </a:ext>
            </a:extLst>
          </p:cNvPr>
          <p:cNvSpPr txBox="1"/>
          <p:nvPr/>
        </p:nvSpPr>
        <p:spPr>
          <a:xfrm>
            <a:off x="4061174" y="7857016"/>
            <a:ext cx="372943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C1C1C"/>
                </a:solidFill>
                <a:effectLst/>
                <a:uLnTx/>
                <a:uFillTx/>
                <a:latin typeface="Segoe Sans Text" panose="020F0502020204030204"/>
                <a:ea typeface="+mn-ea"/>
                <a:cs typeface="+mn-cs"/>
              </a:rPr>
              <a:t>Technical Domains are Previously Purview “Accounts” and each tenant may have up to 5 technical domains.</a:t>
            </a:r>
          </a:p>
        </p:txBody>
      </p:sp>
      <p:cxnSp>
        <p:nvCxnSpPr>
          <p:cNvPr id="73" name="Straight Arrow Connector 72">
            <a:extLst>
              <a:ext uri="{FF2B5EF4-FFF2-40B4-BE49-F238E27FC236}">
                <a16:creationId xmlns:a16="http://schemas.microsoft.com/office/drawing/2014/main" id="{6844EA6B-7C74-7265-9339-F223308EB94E}"/>
              </a:ext>
            </a:extLst>
          </p:cNvPr>
          <p:cNvCxnSpPr>
            <a:cxnSpLocks/>
            <a:stCxn id="72" idx="1"/>
          </p:cNvCxnSpPr>
          <p:nvPr/>
        </p:nvCxnSpPr>
        <p:spPr>
          <a:xfrm flipH="1">
            <a:off x="2988233" y="8272515"/>
            <a:ext cx="1072941" cy="0"/>
          </a:xfrm>
          <a:prstGeom prst="straightConnector1">
            <a:avLst/>
          </a:prstGeom>
          <a:noFill/>
          <a:ln w="6350" cap="flat" cmpd="sng" algn="ctr">
            <a:solidFill>
              <a:srgbClr val="FFFFFF"/>
            </a:solidFill>
            <a:prstDash val="solid"/>
            <a:miter lim="800000"/>
            <a:tailEnd type="triangle"/>
          </a:ln>
          <a:effectLst/>
        </p:spPr>
      </p:cxnSp>
      <p:sp>
        <p:nvSpPr>
          <p:cNvPr id="74" name="Title 1">
            <a:extLst>
              <a:ext uri="{FF2B5EF4-FFF2-40B4-BE49-F238E27FC236}">
                <a16:creationId xmlns:a16="http://schemas.microsoft.com/office/drawing/2014/main" id="{0E4852A7-9B39-8C48-547E-D6BC78F30C2E}"/>
              </a:ext>
            </a:extLst>
          </p:cNvPr>
          <p:cNvSpPr txBox="1">
            <a:spLocks/>
          </p:cNvSpPr>
          <p:nvPr/>
        </p:nvSpPr>
        <p:spPr>
          <a:xfrm>
            <a:off x="803175" y="135258"/>
            <a:ext cx="11064240" cy="42958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j-ea"/>
                <a:cs typeface="Segoe UI" pitchFamily="34" charset="0"/>
              </a:rPr>
              <a:t>The new Purview Data Governance Experience structure</a:t>
            </a:r>
          </a:p>
        </p:txBody>
      </p:sp>
      <p:sp>
        <p:nvSpPr>
          <p:cNvPr id="75" name="Rectangle: Rounded Corners 74">
            <a:extLst>
              <a:ext uri="{FF2B5EF4-FFF2-40B4-BE49-F238E27FC236}">
                <a16:creationId xmlns:a16="http://schemas.microsoft.com/office/drawing/2014/main" id="{404FEB54-242E-0BAE-2242-C9CC3BF0B072}"/>
              </a:ext>
            </a:extLst>
          </p:cNvPr>
          <p:cNvSpPr/>
          <p:nvPr/>
        </p:nvSpPr>
        <p:spPr>
          <a:xfrm>
            <a:off x="5430284" y="1879520"/>
            <a:ext cx="905011" cy="60289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ritical Data Elements</a:t>
            </a:r>
          </a:p>
        </p:txBody>
      </p:sp>
      <p:sp>
        <p:nvSpPr>
          <p:cNvPr id="76" name="Rectangle: Rounded Corners 75">
            <a:extLst>
              <a:ext uri="{FF2B5EF4-FFF2-40B4-BE49-F238E27FC236}">
                <a16:creationId xmlns:a16="http://schemas.microsoft.com/office/drawing/2014/main" id="{5AC862EF-0E3C-8971-E21C-8ECFBD55E705}"/>
              </a:ext>
            </a:extLst>
          </p:cNvPr>
          <p:cNvSpPr/>
          <p:nvPr/>
        </p:nvSpPr>
        <p:spPr>
          <a:xfrm>
            <a:off x="6456611" y="1874192"/>
            <a:ext cx="905011" cy="595342"/>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Glossary  Terms</a:t>
            </a:r>
          </a:p>
        </p:txBody>
      </p:sp>
      <p:sp>
        <p:nvSpPr>
          <p:cNvPr id="77" name="Rectangle: Rounded Corners 76">
            <a:extLst>
              <a:ext uri="{FF2B5EF4-FFF2-40B4-BE49-F238E27FC236}">
                <a16:creationId xmlns:a16="http://schemas.microsoft.com/office/drawing/2014/main" id="{9E62D20C-2879-799C-D6D6-407F9652003E}"/>
              </a:ext>
            </a:extLst>
          </p:cNvPr>
          <p:cNvSpPr/>
          <p:nvPr/>
        </p:nvSpPr>
        <p:spPr>
          <a:xfrm>
            <a:off x="7881855" y="5985115"/>
            <a:ext cx="928349" cy="276999"/>
          </a:xfrm>
          <a:prstGeom prst="roundRect">
            <a:avLst/>
          </a:prstGeom>
          <a:noFill/>
          <a:ln w="12700" cap="flat" cmpd="sng" algn="ctr">
            <a:solidFill>
              <a:srgbClr val="FFFFFF"/>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Sans Text" panose="020F0502020204030204"/>
                <a:ea typeface="+mn-ea"/>
                <a:cs typeface="+mn-cs"/>
              </a:rPr>
              <a:t>Collection</a:t>
            </a:r>
          </a:p>
        </p:txBody>
      </p:sp>
    </p:spTree>
    <p:extLst>
      <p:ext uri="{BB962C8B-B14F-4D97-AF65-F5344CB8AC3E}">
        <p14:creationId xmlns:p14="http://schemas.microsoft.com/office/powerpoint/2010/main" val="36272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D9D1F73-2591-60C5-6405-B81844F1ABCE}"/>
              </a:ext>
            </a:extLst>
          </p:cNvPr>
          <p:cNvSpPr txBox="1"/>
          <p:nvPr/>
        </p:nvSpPr>
        <p:spPr>
          <a:xfrm>
            <a:off x="6207595" y="1158948"/>
            <a:ext cx="532042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Business domain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re a new way of organizing your data estate. You want and need to access your entire data estate, but a single, uncategorized list is overwhelming. A business domain is a boundary that aligns your data estate to your organization; think of it as a mini catalog inside your data catalog.</a:t>
            </a:r>
          </a:p>
        </p:txBody>
      </p:sp>
      <p:sp>
        <p:nvSpPr>
          <p:cNvPr id="19" name="TextBox 18">
            <a:extLst>
              <a:ext uri="{FF2B5EF4-FFF2-40B4-BE49-F238E27FC236}">
                <a16:creationId xmlns:a16="http://schemas.microsoft.com/office/drawing/2014/main" id="{C1D6DBFD-7C88-5CF6-D451-524B2647D752}"/>
              </a:ext>
            </a:extLst>
          </p:cNvPr>
          <p:cNvSpPr txBox="1"/>
          <p:nvPr/>
        </p:nvSpPr>
        <p:spPr>
          <a:xfrm>
            <a:off x="6207595" y="2158978"/>
            <a:ext cx="532042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Critical data element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re a logical grouping of important pieces of information across your data estate. For example: A "Customer ID" critical data element can map "</a:t>
            </a:r>
            <a:r>
              <a:rPr kumimoji="0" lang="en-US" sz="1200" b="0" i="0" u="none" strike="noStrike" kern="1200" cap="none" spc="0" normalizeH="0" baseline="0" noProof="0" err="1">
                <a:ln>
                  <a:noFill/>
                </a:ln>
                <a:solidFill>
                  <a:srgbClr val="1C1C1C"/>
                </a:solidFill>
                <a:effectLst/>
                <a:uLnTx/>
                <a:uFillTx/>
                <a:latin typeface="Segoe Sans Text" panose="020F0502020204030204"/>
                <a:ea typeface="+mn-ea"/>
                <a:cs typeface="+mn-cs"/>
              </a:rPr>
              <a:t>CustID</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 from one table and "CID" from another table into the same logical container. These groupings can make data easier to understand as well as promoting standardization. Data quality rules and access policies can be attached to these elements to further secure sensitive information across your data estate.</a:t>
            </a:r>
          </a:p>
        </p:txBody>
      </p:sp>
      <p:sp>
        <p:nvSpPr>
          <p:cNvPr id="21" name="TextBox 20">
            <a:extLst>
              <a:ext uri="{FF2B5EF4-FFF2-40B4-BE49-F238E27FC236}">
                <a16:creationId xmlns:a16="http://schemas.microsoft.com/office/drawing/2014/main" id="{8A40024F-E9F1-18C4-30FE-C8F6766A994D}"/>
              </a:ext>
            </a:extLst>
          </p:cNvPr>
          <p:cNvSpPr txBox="1"/>
          <p:nvPr/>
        </p:nvSpPr>
        <p:spPr>
          <a:xfrm>
            <a:off x="6207595" y="4776262"/>
            <a:ext cx="519685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A </a:t>
            </a: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data product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is a group of data assets (tables, files, PBI reports, etc.), a packaged offering to an enterprise that provides assets with a use case to be shared to data consumers. A business domain can house many data products, but a data product is managed by a single business domain and can be discovered across many domains.</a:t>
            </a:r>
          </a:p>
        </p:txBody>
      </p:sp>
      <p:sp>
        <p:nvSpPr>
          <p:cNvPr id="27" name="TextBox 26">
            <a:extLst>
              <a:ext uri="{FF2B5EF4-FFF2-40B4-BE49-F238E27FC236}">
                <a16:creationId xmlns:a16="http://schemas.microsoft.com/office/drawing/2014/main" id="{D0DC6263-24C9-A22E-1F43-5FE71AC9C355}"/>
              </a:ext>
            </a:extLst>
          </p:cNvPr>
          <p:cNvSpPr txBox="1"/>
          <p:nvPr/>
        </p:nvSpPr>
        <p:spPr>
          <a:xfrm>
            <a:off x="6207595" y="3652286"/>
            <a:ext cx="580556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1C1C"/>
                </a:solidFill>
                <a:effectLst/>
                <a:uLnTx/>
                <a:uFillTx/>
                <a:latin typeface="Segoe Sans Text" panose="020F0502020204030204"/>
                <a:ea typeface="+mn-ea"/>
                <a:cs typeface="+mn-cs"/>
              </a:rPr>
              <a:t>Glossary terms </a:t>
            </a:r>
            <a:r>
              <a:rPr kumimoji="0" lang="en-US" sz="1200" b="0" i="0" u="none" strike="noStrike" kern="1200" cap="none" spc="0" normalizeH="0" baseline="0" noProof="0">
                <a:ln>
                  <a:noFill/>
                </a:ln>
                <a:solidFill>
                  <a:srgbClr val="1C1C1C"/>
                </a:solidFill>
                <a:effectLst/>
                <a:uLnTx/>
                <a:uFillTx/>
                <a:latin typeface="Segoe Sans Text" panose="020F0502020204030204"/>
                <a:ea typeface="+mn-ea"/>
                <a:cs typeface="+mn-cs"/>
              </a:rPr>
              <a:t>provide a vocabulary for business users. It consists of business terms that can be related to each other and allows them to be categorized so that they can be understood in different contexts. This helps in abstracting the technical jargon associated with the data repositories and allows the business user to discover and work with data in the vocabulary that is more familiar to them.</a:t>
            </a:r>
          </a:p>
        </p:txBody>
      </p:sp>
      <p:sp>
        <p:nvSpPr>
          <p:cNvPr id="49" name="Title 1">
            <a:extLst>
              <a:ext uri="{FF2B5EF4-FFF2-40B4-BE49-F238E27FC236}">
                <a16:creationId xmlns:a16="http://schemas.microsoft.com/office/drawing/2014/main" id="{63CDBFC4-46AD-B652-C8BC-DE26AF151D8F}"/>
              </a:ext>
            </a:extLst>
          </p:cNvPr>
          <p:cNvSpPr>
            <a:spLocks noGrp="1"/>
          </p:cNvSpPr>
          <p:nvPr>
            <p:ph type="title"/>
          </p:nvPr>
        </p:nvSpPr>
        <p:spPr>
          <a:xfrm>
            <a:off x="159790" y="160815"/>
            <a:ext cx="11064240" cy="572832"/>
          </a:xfrm>
        </p:spPr>
        <p:txBody>
          <a:bodyPr>
            <a:noAutofit/>
          </a:bodyPr>
          <a:lstStyle/>
          <a:p>
            <a:r>
              <a:rPr lang="en-US"/>
              <a:t>The new Purview Data Governance Experience structure</a:t>
            </a:r>
          </a:p>
        </p:txBody>
      </p:sp>
      <p:pic>
        <p:nvPicPr>
          <p:cNvPr id="3" name="Picture 2">
            <a:extLst>
              <a:ext uri="{FF2B5EF4-FFF2-40B4-BE49-F238E27FC236}">
                <a16:creationId xmlns:a16="http://schemas.microsoft.com/office/drawing/2014/main" id="{F34D209F-BEEE-99BA-5278-4631F2221B96}"/>
              </a:ext>
            </a:extLst>
          </p:cNvPr>
          <p:cNvPicPr>
            <a:picLocks noChangeAspect="1"/>
          </p:cNvPicPr>
          <p:nvPr/>
        </p:nvPicPr>
        <p:blipFill>
          <a:blip r:embed="rId3"/>
          <a:stretch>
            <a:fillRect/>
          </a:stretch>
        </p:blipFill>
        <p:spPr>
          <a:xfrm>
            <a:off x="108327" y="1380066"/>
            <a:ext cx="6099268" cy="4191000"/>
          </a:xfrm>
          <a:prstGeom prst="rect">
            <a:avLst/>
          </a:prstGeom>
        </p:spPr>
      </p:pic>
      <p:cxnSp>
        <p:nvCxnSpPr>
          <p:cNvPr id="4" name="Straight Arrow Connector 3">
            <a:extLst>
              <a:ext uri="{FF2B5EF4-FFF2-40B4-BE49-F238E27FC236}">
                <a16:creationId xmlns:a16="http://schemas.microsoft.com/office/drawing/2014/main" id="{FB767E30-E171-B6DA-F41D-E30B0EE7BCA0}"/>
              </a:ext>
            </a:extLst>
          </p:cNvPr>
          <p:cNvCxnSpPr>
            <a:cxnSpLocks/>
          </p:cNvCxnSpPr>
          <p:nvPr/>
        </p:nvCxnSpPr>
        <p:spPr>
          <a:xfrm flipH="1">
            <a:off x="5023059" y="2065338"/>
            <a:ext cx="1072941" cy="0"/>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E743CF10-C23C-D7C3-CCAA-DA5143DB7207}"/>
              </a:ext>
            </a:extLst>
          </p:cNvPr>
          <p:cNvCxnSpPr>
            <a:cxnSpLocks/>
          </p:cNvCxnSpPr>
          <p:nvPr/>
        </p:nvCxnSpPr>
        <p:spPr>
          <a:xfrm flipH="1">
            <a:off x="3251696" y="2386181"/>
            <a:ext cx="2899317" cy="0"/>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548090C-5E79-2381-65CE-F3BC537CE08A}"/>
              </a:ext>
            </a:extLst>
          </p:cNvPr>
          <p:cNvCxnSpPr>
            <a:cxnSpLocks/>
          </p:cNvCxnSpPr>
          <p:nvPr/>
        </p:nvCxnSpPr>
        <p:spPr>
          <a:xfrm flipH="1" flipV="1">
            <a:off x="4005518" y="2485059"/>
            <a:ext cx="2145495" cy="1479346"/>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C0C570C-7397-66CE-C7B8-E757BD653CDD}"/>
              </a:ext>
            </a:extLst>
          </p:cNvPr>
          <p:cNvCxnSpPr>
            <a:cxnSpLocks/>
          </p:cNvCxnSpPr>
          <p:nvPr/>
        </p:nvCxnSpPr>
        <p:spPr>
          <a:xfrm flipH="1" flipV="1">
            <a:off x="5546558" y="4144879"/>
            <a:ext cx="604455" cy="721895"/>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8251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1" grpId="0"/>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32E720-06EE-BE3F-644A-6B98E93B782F}"/>
            </a:ext>
          </a:extLst>
        </p:cNvPr>
        <p:cNvGrpSpPr/>
        <p:nvPr/>
      </p:nvGrpSpPr>
      <p:grpSpPr>
        <a:xfrm>
          <a:off x="0" y="0"/>
          <a:ext cx="0" cy="0"/>
          <a:chOff x="0" y="0"/>
          <a:chExt cx="0" cy="0"/>
        </a:xfrm>
      </p:grpSpPr>
      <p:sp>
        <p:nvSpPr>
          <p:cNvPr id="10" name="Rectangle 1">
            <a:extLst>
              <a:ext uri="{FF2B5EF4-FFF2-40B4-BE49-F238E27FC236}">
                <a16:creationId xmlns:a16="http://schemas.microsoft.com/office/drawing/2014/main" id="{46A5F35A-E7D3-D4E6-F71B-222DB689834F}"/>
              </a:ext>
            </a:extLst>
          </p:cNvPr>
          <p:cNvSpPr>
            <a:spLocks noChangeArrowheads="1"/>
          </p:cNvSpPr>
          <p:nvPr/>
        </p:nvSpPr>
        <p:spPr bwMode="auto">
          <a:xfrm>
            <a:off x="6387608" y="3075057"/>
            <a:ext cx="53091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Segoe UI Semibold"/>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endParaRPr kumimoji="0" lang="en-US" alt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3721B69D-4F38-EDD7-1183-55C7971C00E3}"/>
              </a:ext>
            </a:extLst>
          </p:cNvPr>
          <p:cNvSpPr txBox="1"/>
          <p:nvPr/>
        </p:nvSpPr>
        <p:spPr>
          <a:xfrm>
            <a:off x="1092139" y="570701"/>
            <a:ext cx="8784771"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21" normalizeH="0" baseline="0" noProof="0" dirty="0">
                <a:ln w="3175">
                  <a:noFill/>
                </a:ln>
                <a:gradFill>
                  <a:gsLst>
                    <a:gs pos="100000">
                      <a:srgbClr val="0078D4"/>
                    </a:gs>
                    <a:gs pos="0">
                      <a:srgbClr val="2A446F"/>
                    </a:gs>
                  </a:gsLst>
                  <a:lin ang="2700000" scaled="0"/>
                </a:gradFill>
                <a:effectLst/>
                <a:uLnTx/>
                <a:uFillTx/>
                <a:latin typeface="Segoe UI Semibold"/>
                <a:ea typeface="+mn-ea"/>
                <a:cs typeface="Segoe UI" pitchFamily="34" charset="0"/>
              </a:rPr>
              <a:t>Agenda</a:t>
            </a:r>
            <a:endParaRPr kumimoji="0" lang="en-GB" sz="4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77490372-E580-C766-4C30-0CB42DCEDEA1}"/>
              </a:ext>
            </a:extLst>
          </p:cNvPr>
          <p:cNvSpPr/>
          <p:nvPr/>
        </p:nvSpPr>
        <p:spPr>
          <a:xfrm>
            <a:off x="1463680" y="1879600"/>
            <a:ext cx="4523956" cy="4104640"/>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5" name="Rectangle 1">
            <a:extLst>
              <a:ext uri="{FF2B5EF4-FFF2-40B4-BE49-F238E27FC236}">
                <a16:creationId xmlns:a16="http://schemas.microsoft.com/office/drawing/2014/main" id="{38D78043-C86E-64FB-6463-FC2861E1731E}"/>
              </a:ext>
            </a:extLst>
          </p:cNvPr>
          <p:cNvSpPr>
            <a:spLocks noChangeArrowheads="1"/>
          </p:cNvSpPr>
          <p:nvPr/>
        </p:nvSpPr>
        <p:spPr bwMode="auto">
          <a:xfrm>
            <a:off x="1642973" y="2025909"/>
            <a:ext cx="3240054" cy="473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troduction and Overview</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Lab Setup</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signing the Data Map</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ing Data Sour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urating Data Asse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overnance Domains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 Product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8" name="Rectangle: Rounded Corners 7">
            <a:extLst>
              <a:ext uri="{FF2B5EF4-FFF2-40B4-BE49-F238E27FC236}">
                <a16:creationId xmlns:a16="http://schemas.microsoft.com/office/drawing/2014/main" id="{80969B6F-02D0-2881-88F7-A07F86CC536D}"/>
              </a:ext>
            </a:extLst>
          </p:cNvPr>
          <p:cNvSpPr/>
          <p:nvPr/>
        </p:nvSpPr>
        <p:spPr>
          <a:xfrm>
            <a:off x="6204364" y="1879600"/>
            <a:ext cx="4523956" cy="4104640"/>
          </a:xfrm>
          <a:prstGeom prst="roundRect">
            <a:avLst>
              <a:gd name="adj" fmla="val 2766"/>
            </a:avLst>
          </a:prstGeom>
          <a:solidFill>
            <a:srgbClr val="FFFFFF"/>
          </a:solidFill>
          <a:ln w="19050" cap="flat" cmpd="sng" algn="ctr">
            <a:noFill/>
            <a:prstDash val="solid"/>
            <a:miter lim="800000"/>
          </a:ln>
          <a:effectLst>
            <a:outerShdw blurRad="492361" dist="38100" dir="13980000" sx="106000" sy="106000" algn="tl" rotWithShape="0">
              <a:srgbClr val="C0C0C0">
                <a:alpha val="40000"/>
              </a:srgbClr>
            </a:outerShdw>
          </a:effectLst>
        </p:spPr>
        <p:txBody>
          <a:bodyPr rtlCol="0" anchor="ctr"/>
          <a:lstStyle>
            <a:defPPr>
              <a:defRPr lang="en-US"/>
            </a:defPPr>
            <a:lvl1pPr marL="0" algn="l" defTabSz="914400" rtl="0" eaLnBrk="1" latinLnBrk="0" hangingPunct="1">
              <a:defRPr sz="1800" kern="1200">
                <a:solidFill>
                  <a:srgbClr val="225B61"/>
                </a:solidFill>
                <a:latin typeface="Segoe Sans Text Semilight"/>
              </a:defRPr>
            </a:lvl1pPr>
            <a:lvl2pPr marL="457200" algn="l" defTabSz="914400" rtl="0" eaLnBrk="1" latinLnBrk="0" hangingPunct="1">
              <a:defRPr sz="1800" kern="1200">
                <a:solidFill>
                  <a:srgbClr val="225B61"/>
                </a:solidFill>
                <a:latin typeface="Segoe Sans Text Semilight"/>
              </a:defRPr>
            </a:lvl2pPr>
            <a:lvl3pPr marL="914400" algn="l" defTabSz="914400" rtl="0" eaLnBrk="1" latinLnBrk="0" hangingPunct="1">
              <a:defRPr sz="1800" kern="1200">
                <a:solidFill>
                  <a:srgbClr val="225B61"/>
                </a:solidFill>
                <a:latin typeface="Segoe Sans Text Semilight"/>
              </a:defRPr>
            </a:lvl3pPr>
            <a:lvl4pPr marL="1371600" algn="l" defTabSz="914400" rtl="0" eaLnBrk="1" latinLnBrk="0" hangingPunct="1">
              <a:defRPr sz="1800" kern="1200">
                <a:solidFill>
                  <a:srgbClr val="225B61"/>
                </a:solidFill>
                <a:latin typeface="Segoe Sans Text Semilight"/>
              </a:defRPr>
            </a:lvl4pPr>
            <a:lvl5pPr marL="1828800" algn="l" defTabSz="914400" rtl="0" eaLnBrk="1" latinLnBrk="0" hangingPunct="1">
              <a:defRPr sz="1800" kern="1200">
                <a:solidFill>
                  <a:srgbClr val="225B61"/>
                </a:solidFill>
                <a:latin typeface="Segoe Sans Text Semilight"/>
              </a:defRPr>
            </a:lvl5pPr>
            <a:lvl6pPr marL="2286000" algn="l" defTabSz="914400" rtl="0" eaLnBrk="1" latinLnBrk="0" hangingPunct="1">
              <a:defRPr sz="1800" kern="1200">
                <a:solidFill>
                  <a:srgbClr val="225B61"/>
                </a:solidFill>
                <a:latin typeface="Segoe Sans Text Semilight"/>
              </a:defRPr>
            </a:lvl6pPr>
            <a:lvl7pPr marL="2743200" algn="l" defTabSz="914400" rtl="0" eaLnBrk="1" latinLnBrk="0" hangingPunct="1">
              <a:defRPr sz="1800" kern="1200">
                <a:solidFill>
                  <a:srgbClr val="225B61"/>
                </a:solidFill>
                <a:latin typeface="Segoe Sans Text Semilight"/>
              </a:defRPr>
            </a:lvl7pPr>
            <a:lvl8pPr marL="3200400" algn="l" defTabSz="914400" rtl="0" eaLnBrk="1" latinLnBrk="0" hangingPunct="1">
              <a:defRPr sz="1800" kern="1200">
                <a:solidFill>
                  <a:srgbClr val="225B61"/>
                </a:solidFill>
                <a:latin typeface="Segoe Sans Text Semilight"/>
              </a:defRPr>
            </a:lvl8pPr>
            <a:lvl9pPr marL="3657600" algn="l" defTabSz="914400" rtl="0" eaLnBrk="1" latinLnBrk="0" hangingPunct="1">
              <a:defRPr sz="1800" kern="1200">
                <a:solidFill>
                  <a:srgbClr val="225B61"/>
                </a:solidFill>
                <a:latin typeface="Segoe Sans Text Semilight"/>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3900" b="0" i="0" u="none" strike="noStrike" kern="0" cap="none" spc="0" normalizeH="0" baseline="0" noProof="0">
              <a:ln>
                <a:noFill/>
              </a:ln>
              <a:solidFill>
                <a:prstClr val="white"/>
              </a:solidFill>
              <a:effectLst/>
              <a:uLnTx/>
              <a:uFillTx/>
              <a:latin typeface="Aptos" panose="02110004020202020204"/>
              <a:ea typeface="+mn-ea"/>
              <a:cs typeface="+mn-cs"/>
            </a:endParaRPr>
          </a:p>
        </p:txBody>
      </p:sp>
      <p:sp>
        <p:nvSpPr>
          <p:cNvPr id="9" name="Rectangle 1">
            <a:extLst>
              <a:ext uri="{FF2B5EF4-FFF2-40B4-BE49-F238E27FC236}">
                <a16:creationId xmlns:a16="http://schemas.microsoft.com/office/drawing/2014/main" id="{70701F42-7FF5-720F-9D90-ABB6DCEBC598}"/>
              </a:ext>
            </a:extLst>
          </p:cNvPr>
          <p:cNvSpPr>
            <a:spLocks noChangeArrowheads="1"/>
          </p:cNvSpPr>
          <p:nvPr/>
        </p:nvSpPr>
        <p:spPr bwMode="auto">
          <a:xfrm>
            <a:off x="6387608" y="1750015"/>
            <a:ext cx="3722301" cy="5293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Glossary Terms and OKR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ealth Management Control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 Qualit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ealth Management Actions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ealth Management Report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icing and Licensin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ustom Functionality with API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288054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3ADD1-C203-4F4A-B90E-CEFFFB523B2C}"/>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42B9F6E9-55BD-E92E-06B1-EF792B1B708E}"/>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3" name="Picture 2" descr="A blue and pink background&#10;&#10;Description automatically generated">
              <a:extLst>
                <a:ext uri="{FF2B5EF4-FFF2-40B4-BE49-F238E27FC236}">
                  <a16:creationId xmlns:a16="http://schemas.microsoft.com/office/drawing/2014/main" id="{4FEDE0E4-3C49-F7EB-9E9F-2E27BF28174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99E7E170-1619-1F26-6001-2BDA898ACCC0}"/>
                </a:ext>
              </a:extLst>
            </p:cNvPr>
            <p:cNvSpPr/>
            <p:nvPr/>
          </p:nvSpPr>
          <p:spPr bwMode="auto">
            <a:xfrm>
              <a:off x="0" y="0"/>
              <a:ext cx="12192000" cy="6858000"/>
            </a:xfrm>
            <a:prstGeom prst="rect">
              <a:avLst/>
            </a:prstGeom>
            <a:gradFill flip="none" rotWithShape="1">
              <a:gsLst>
                <a:gs pos="83000">
                  <a:schemeClr val="bg1">
                    <a:alpha val="0"/>
                  </a:schemeClr>
                </a:gs>
                <a:gs pos="35000">
                  <a:schemeClr val="bg1">
                    <a:alpha val="88000"/>
                  </a:schemeClr>
                </a:gs>
              </a:gsLst>
              <a:lin ang="17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11" name="Picture 10">
            <a:extLst>
              <a:ext uri="{FF2B5EF4-FFF2-40B4-BE49-F238E27FC236}">
                <a16:creationId xmlns:a16="http://schemas.microsoft.com/office/drawing/2014/main" id="{863FAC84-FCE5-A1C2-19BE-A3E11556ADA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96000" y="1227772"/>
            <a:ext cx="5069840" cy="5069840"/>
          </a:xfrm>
          <a:prstGeom prst="rect">
            <a:avLst/>
          </a:prstGeom>
          <a:noFill/>
        </p:spPr>
      </p:pic>
      <p:sp>
        <p:nvSpPr>
          <p:cNvPr id="14" name="Title 1">
            <a:extLst>
              <a:ext uri="{FF2B5EF4-FFF2-40B4-BE49-F238E27FC236}">
                <a16:creationId xmlns:a16="http://schemas.microsoft.com/office/drawing/2014/main" id="{126C9360-82DD-B960-63BE-F775F8B5E29E}"/>
              </a:ext>
            </a:extLst>
          </p:cNvPr>
          <p:cNvSpPr txBox="1">
            <a:spLocks/>
          </p:cNvSpPr>
          <p:nvPr/>
        </p:nvSpPr>
        <p:spPr>
          <a:xfrm>
            <a:off x="671089" y="921067"/>
            <a:ext cx="5424911" cy="5683249"/>
          </a:xfrm>
          <a:prstGeom prst="rect">
            <a:avLst/>
          </a:prstGeom>
        </p:spPr>
        <p:txBody>
          <a:bodyPr vert="horz" wrap="square" lIns="0" tIns="0" rIns="0" bIns="0" rtlCol="0" anchor="ctr">
            <a:norm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373183"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21" normalizeH="0" baseline="0" noProof="0">
                <a:ln w="3175">
                  <a:noFill/>
                </a:ln>
                <a:gradFill>
                  <a:gsLst>
                    <a:gs pos="100000">
                      <a:srgbClr val="0078D4">
                        <a:lumMod val="60000"/>
                        <a:lumOff val="40000"/>
                      </a:srgbClr>
                    </a:gs>
                    <a:gs pos="0">
                      <a:srgbClr val="2A446F"/>
                    </a:gs>
                  </a:gsLst>
                  <a:lin ang="2700000" scaled="0"/>
                </a:gradFill>
                <a:effectLst/>
                <a:uLnTx/>
                <a:uFillTx/>
                <a:latin typeface="Segoe UI Semibold"/>
                <a:ea typeface="+mn-ea"/>
                <a:cs typeface="Segoe UI" pitchFamily="34" charset="0"/>
              </a:rPr>
              <a:t>Microsoft Purview – Introduction and Overview to Data Governance</a:t>
            </a:r>
          </a:p>
        </p:txBody>
      </p:sp>
    </p:spTree>
    <p:extLst>
      <p:ext uri="{BB962C8B-B14F-4D97-AF65-F5344CB8AC3E}">
        <p14:creationId xmlns:p14="http://schemas.microsoft.com/office/powerpoint/2010/main" val="201197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6A0A58-6AF1-B0AF-2A0E-41F1CFD35837}"/>
            </a:ext>
          </a:extLst>
        </p:cNvPr>
        <p:cNvGrpSpPr/>
        <p:nvPr/>
      </p:nvGrpSpPr>
      <p:grpSpPr>
        <a:xfrm>
          <a:off x="0" y="0"/>
          <a:ext cx="0" cy="0"/>
          <a:chOff x="0" y="0"/>
          <a:chExt cx="0" cy="0"/>
        </a:xfrm>
      </p:grpSpPr>
      <p:sp>
        <p:nvSpPr>
          <p:cNvPr id="5" name="Text Placeholder 1">
            <a:extLst>
              <a:ext uri="{FF2B5EF4-FFF2-40B4-BE49-F238E27FC236}">
                <a16:creationId xmlns:a16="http://schemas.microsoft.com/office/drawing/2014/main" id="{C410610E-41F5-F87A-C39B-9265BB9B39E0}"/>
              </a:ext>
            </a:extLst>
          </p:cNvPr>
          <p:cNvSpPr txBox="1">
            <a:spLocks/>
          </p:cNvSpPr>
          <p:nvPr/>
        </p:nvSpPr>
        <p:spPr>
          <a:xfrm>
            <a:off x="1268412" y="1732857"/>
            <a:ext cx="9655175" cy="261778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3600" b="0" i="0" u="none" strike="noStrike" kern="1200" cap="none" spc="0" normalizeH="0" baseline="0" noProof="0">
              <a:ln>
                <a:noFill/>
              </a:ln>
              <a:solidFill>
                <a:srgbClr val="1C1C1C"/>
              </a:solidFill>
              <a:effectLst/>
              <a:uLnTx/>
              <a:uFillTx/>
              <a:latin typeface="Segoe Sans Text" panose="020F0502020204030204"/>
              <a:ea typeface="+mn-ea"/>
              <a:cs typeface="Segoe UI" panose="020B0502040204020203" pitchFamily="34" charset="0"/>
            </a:endParaRPr>
          </a:p>
        </p:txBody>
      </p:sp>
      <p:sp>
        <p:nvSpPr>
          <p:cNvPr id="20" name="Rectangle: Single Corner Rounded 19">
            <a:extLst>
              <a:ext uri="{FF2B5EF4-FFF2-40B4-BE49-F238E27FC236}">
                <a16:creationId xmlns:a16="http://schemas.microsoft.com/office/drawing/2014/main" id="{187E9C75-2E90-BFA3-C6FB-243A9F34340C}"/>
              </a:ext>
              <a:ext uri="{C183D7F6-B498-43B3-948B-1728B52AA6E4}">
                <adec:decorative xmlns:adec="http://schemas.microsoft.com/office/drawing/2017/decorative" val="1"/>
              </a:ext>
            </a:extLst>
          </p:cNvPr>
          <p:cNvSpPr/>
          <p:nvPr/>
        </p:nvSpPr>
        <p:spPr bwMode="auto">
          <a:xfrm rot="10800000">
            <a:off x="4355918" y="-3"/>
            <a:ext cx="7836079" cy="6858002"/>
          </a:xfrm>
          <a:prstGeom prst="round1Rect">
            <a:avLst>
              <a:gd name="adj" fmla="val 25919"/>
            </a:avLst>
          </a:prstGeom>
          <a:gradFill flip="none" rotWithShape="1">
            <a:gsLst>
              <a:gs pos="0">
                <a:srgbClr val="0078D4"/>
              </a:gs>
              <a:gs pos="100000">
                <a:srgbClr val="071731"/>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21" name="Rectangle: Single Corner Rounded 20">
            <a:extLst>
              <a:ext uri="{FF2B5EF4-FFF2-40B4-BE49-F238E27FC236}">
                <a16:creationId xmlns:a16="http://schemas.microsoft.com/office/drawing/2014/main" id="{56E22C20-4949-B9F3-DD7A-06B1D64CB200}"/>
              </a:ext>
              <a:ext uri="{C183D7F6-B498-43B3-948B-1728B52AA6E4}">
                <adec:decorative xmlns:adec="http://schemas.microsoft.com/office/drawing/2017/decorative" val="1"/>
              </a:ext>
            </a:extLst>
          </p:cNvPr>
          <p:cNvSpPr/>
          <p:nvPr/>
        </p:nvSpPr>
        <p:spPr bwMode="auto">
          <a:xfrm>
            <a:off x="4356198" y="1183015"/>
            <a:ext cx="7388362" cy="1371600"/>
          </a:xfrm>
          <a:prstGeom prst="round1Rect">
            <a:avLst>
              <a:gd name="adj" fmla="val 35976"/>
            </a:avLst>
          </a:prstGeom>
          <a:solidFill>
            <a:srgbClr val="49C4B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62F14826-B969-8CAC-9578-B543F42E5DC2}"/>
              </a:ext>
              <a:ext uri="{C183D7F6-B498-43B3-948B-1728B52AA6E4}">
                <adec:decorative xmlns:adec="http://schemas.microsoft.com/office/drawing/2017/decorative" val="1"/>
              </a:ext>
            </a:extLst>
          </p:cNvPr>
          <p:cNvSpPr/>
          <p:nvPr/>
        </p:nvSpPr>
        <p:spPr bwMode="auto">
          <a:xfrm flipV="1">
            <a:off x="4356199" y="2729353"/>
            <a:ext cx="7388362" cy="1371600"/>
          </a:xfrm>
          <a:prstGeom prst="round1Rect">
            <a:avLst>
              <a:gd name="adj" fmla="val 0"/>
            </a:avLst>
          </a:prstGeom>
          <a:solidFill>
            <a:srgbClr val="C3E5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3" name="Freeform: Shape 22">
            <a:extLst>
              <a:ext uri="{FF2B5EF4-FFF2-40B4-BE49-F238E27FC236}">
                <a16:creationId xmlns:a16="http://schemas.microsoft.com/office/drawing/2014/main" id="{0503B405-AF8B-A430-62AF-CAA13C7FCADF}"/>
              </a:ext>
              <a:ext uri="{C183D7F6-B498-43B3-948B-1728B52AA6E4}">
                <adec:decorative xmlns:adec="http://schemas.microsoft.com/office/drawing/2017/decorative" val="1"/>
              </a:ext>
            </a:extLst>
          </p:cNvPr>
          <p:cNvSpPr/>
          <p:nvPr/>
        </p:nvSpPr>
        <p:spPr bwMode="auto">
          <a:xfrm flipV="1">
            <a:off x="4355921" y="4264048"/>
            <a:ext cx="7381547" cy="1371598"/>
          </a:xfrm>
          <a:custGeom>
            <a:avLst/>
            <a:gdLst>
              <a:gd name="connsiteX0" fmla="*/ 0 w 7381547"/>
              <a:gd name="connsiteY0" fmla="*/ 1371598 h 1371598"/>
              <a:gd name="connsiteX1" fmla="*/ 7381547 w 7381547"/>
              <a:gd name="connsiteY1" fmla="*/ 1371598 h 1371598"/>
              <a:gd name="connsiteX2" fmla="*/ 7381547 w 7381547"/>
              <a:gd name="connsiteY2" fmla="*/ 493446 h 1371598"/>
              <a:gd name="connsiteX3" fmla="*/ 6888101 w 7381547"/>
              <a:gd name="connsiteY3" fmla="*/ 0 h 1371598"/>
              <a:gd name="connsiteX4" fmla="*/ 78332 w 7381547"/>
              <a:gd name="connsiteY4" fmla="*/ 0 h 1371598"/>
              <a:gd name="connsiteX5" fmla="*/ 78230 w 7381547"/>
              <a:gd name="connsiteY5" fmla="*/ 280 h 1371598"/>
              <a:gd name="connsiteX6" fmla="*/ 0 w 7381547"/>
              <a:gd name="connsiteY6" fmla="*/ 517726 h 137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547" h="1371598">
                <a:moveTo>
                  <a:pt x="0" y="1371598"/>
                </a:moveTo>
                <a:lnTo>
                  <a:pt x="7381547" y="1371598"/>
                </a:lnTo>
                <a:lnTo>
                  <a:pt x="7381547" y="493446"/>
                </a:lnTo>
                <a:cubicBezTo>
                  <a:pt x="7381547" y="220923"/>
                  <a:pt x="7160624" y="0"/>
                  <a:pt x="6888101" y="0"/>
                </a:cubicBezTo>
                <a:lnTo>
                  <a:pt x="78332" y="0"/>
                </a:lnTo>
                <a:lnTo>
                  <a:pt x="78230" y="280"/>
                </a:lnTo>
                <a:cubicBezTo>
                  <a:pt x="27388" y="163741"/>
                  <a:pt x="0" y="337535"/>
                  <a:pt x="0" y="517726"/>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4" name="Content Placeholder 2">
            <a:extLst>
              <a:ext uri="{FF2B5EF4-FFF2-40B4-BE49-F238E27FC236}">
                <a16:creationId xmlns:a16="http://schemas.microsoft.com/office/drawing/2014/main" id="{BAA3A99C-E950-93B5-9D4B-86A1AFF22211}"/>
              </a:ext>
            </a:extLst>
          </p:cNvPr>
          <p:cNvSpPr txBox="1">
            <a:spLocks/>
          </p:cNvSpPr>
          <p:nvPr/>
        </p:nvSpPr>
        <p:spPr>
          <a:xfrm>
            <a:off x="4866799" y="1555661"/>
            <a:ext cx="1258358" cy="677108"/>
          </a:xfrm>
          <a:prstGeom prst="rect">
            <a:avLst/>
          </a:prstGeom>
        </p:spPr>
        <p:txBody>
          <a:bodyPr vert="horz" wrap="non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74% </a:t>
            </a:r>
          </a:p>
        </p:txBody>
      </p:sp>
      <p:sp>
        <p:nvSpPr>
          <p:cNvPr id="25" name="Content Placeholder 2">
            <a:extLst>
              <a:ext uri="{FF2B5EF4-FFF2-40B4-BE49-F238E27FC236}">
                <a16:creationId xmlns:a16="http://schemas.microsoft.com/office/drawing/2014/main" id="{DB972970-CE50-4654-926C-1B1BC2EBD562}"/>
              </a:ext>
            </a:extLst>
          </p:cNvPr>
          <p:cNvSpPr txBox="1">
            <a:spLocks/>
          </p:cNvSpPr>
          <p:nvPr/>
        </p:nvSpPr>
        <p:spPr>
          <a:xfrm>
            <a:off x="6198637" y="1780914"/>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an’t secure the data</a:t>
            </a:r>
          </a:p>
        </p:txBody>
      </p:sp>
      <p:sp>
        <p:nvSpPr>
          <p:cNvPr id="26" name="Content Placeholder 2">
            <a:extLst>
              <a:ext uri="{FF2B5EF4-FFF2-40B4-BE49-F238E27FC236}">
                <a16:creationId xmlns:a16="http://schemas.microsoft.com/office/drawing/2014/main" id="{A69D8BC8-8331-1B2B-08C7-8C060AC8D1FC}"/>
              </a:ext>
            </a:extLst>
          </p:cNvPr>
          <p:cNvSpPr txBox="1">
            <a:spLocks/>
          </p:cNvSpPr>
          <p:nvPr/>
        </p:nvSpPr>
        <p:spPr>
          <a:xfrm>
            <a:off x="4866799" y="3101999"/>
            <a:ext cx="2085403" cy="677108"/>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4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68% </a:t>
            </a:r>
          </a:p>
        </p:txBody>
      </p:sp>
      <p:sp>
        <p:nvSpPr>
          <p:cNvPr id="27" name="Content Placeholder 2">
            <a:extLst>
              <a:ext uri="{FF2B5EF4-FFF2-40B4-BE49-F238E27FC236}">
                <a16:creationId xmlns:a16="http://schemas.microsoft.com/office/drawing/2014/main" id="{83C08E84-F6AE-4074-1FC1-92FFDA427BD0}"/>
              </a:ext>
            </a:extLst>
          </p:cNvPr>
          <p:cNvSpPr txBox="1">
            <a:spLocks/>
          </p:cNvSpPr>
          <p:nvPr/>
        </p:nvSpPr>
        <p:spPr>
          <a:xfrm>
            <a:off x="6198637" y="3302053"/>
            <a:ext cx="3175375"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an’t activate the data</a:t>
            </a:r>
          </a:p>
        </p:txBody>
      </p:sp>
      <p:sp>
        <p:nvSpPr>
          <p:cNvPr id="28" name="TextBox 27">
            <a:extLst>
              <a:ext uri="{FF2B5EF4-FFF2-40B4-BE49-F238E27FC236}">
                <a16:creationId xmlns:a16="http://schemas.microsoft.com/office/drawing/2014/main" id="{A8C32B5E-B7A0-A0F5-25C6-3AA81465F2AE}"/>
              </a:ext>
              <a:ext uri="{C183D7F6-B498-43B3-948B-1728B52AA6E4}">
                <adec:decorative xmlns:adec="http://schemas.microsoft.com/office/drawing/2017/decorative" val="0"/>
              </a:ext>
            </a:extLst>
          </p:cNvPr>
          <p:cNvSpPr txBox="1"/>
          <p:nvPr/>
        </p:nvSpPr>
        <p:spPr>
          <a:xfrm>
            <a:off x="4866799" y="4622265"/>
            <a:ext cx="1508791" cy="6771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Semibold"/>
                <a:ea typeface="+mn-ea"/>
                <a:cs typeface="+mn-cs"/>
              </a:rPr>
              <a:t>47% </a:t>
            </a:r>
          </a:p>
        </p:txBody>
      </p:sp>
      <p:sp>
        <p:nvSpPr>
          <p:cNvPr id="29" name="Content Placeholder 2">
            <a:extLst>
              <a:ext uri="{FF2B5EF4-FFF2-40B4-BE49-F238E27FC236}">
                <a16:creationId xmlns:a16="http://schemas.microsoft.com/office/drawing/2014/main" id="{A3D91046-DD04-9BF6-E3DC-024D99ABC888}"/>
              </a:ext>
            </a:extLst>
          </p:cNvPr>
          <p:cNvSpPr txBox="1">
            <a:spLocks/>
          </p:cNvSpPr>
          <p:nvPr/>
        </p:nvSpPr>
        <p:spPr>
          <a:xfrm>
            <a:off x="6198638" y="4843846"/>
            <a:ext cx="3175374" cy="276999"/>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an’t adhere to regulations</a:t>
            </a:r>
          </a:p>
        </p:txBody>
      </p:sp>
      <p:sp>
        <p:nvSpPr>
          <p:cNvPr id="30" name="Rectangle 29">
            <a:extLst>
              <a:ext uri="{FF2B5EF4-FFF2-40B4-BE49-F238E27FC236}">
                <a16:creationId xmlns:a16="http://schemas.microsoft.com/office/drawing/2014/main" id="{48EC14E1-C86A-9DF1-6B47-A27367F96AE3}"/>
              </a:ext>
            </a:extLst>
          </p:cNvPr>
          <p:cNvSpPr/>
          <p:nvPr/>
        </p:nvSpPr>
        <p:spPr bwMode="auto">
          <a:xfrm>
            <a:off x="578977" y="5838131"/>
            <a:ext cx="4555108" cy="369332"/>
          </a:xfrm>
          <a:prstGeom prst="rect">
            <a:avLst/>
          </a:prstGeom>
          <a:noFill/>
          <a:ln w="9525" cap="flat" cmpd="sng" algn="ctr">
            <a:noFill/>
            <a:prstDash val="solid"/>
            <a:miter lim="800000"/>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rgbClr val="FFFFFF"/>
                </a:solidFill>
                <a:latin typeface="Segoe UI"/>
              </a:defRPr>
            </a:lvl1pPr>
            <a:lvl2pPr marL="457200" algn="l" defTabSz="914400" rtl="0" eaLnBrk="1" latinLnBrk="0" hangingPunct="1">
              <a:defRPr sz="1800" kern="1200">
                <a:solidFill>
                  <a:srgbClr val="FFFFFF"/>
                </a:solidFill>
                <a:latin typeface="Segoe UI"/>
              </a:defRPr>
            </a:lvl2pPr>
            <a:lvl3pPr marL="914400" algn="l" defTabSz="914400" rtl="0" eaLnBrk="1" latinLnBrk="0" hangingPunct="1">
              <a:defRPr sz="1800" kern="1200">
                <a:solidFill>
                  <a:srgbClr val="FFFFFF"/>
                </a:solidFill>
                <a:latin typeface="Segoe UI"/>
              </a:defRPr>
            </a:lvl3pPr>
            <a:lvl4pPr marL="1371600" algn="l" defTabSz="914400" rtl="0" eaLnBrk="1" latinLnBrk="0" hangingPunct="1">
              <a:defRPr sz="1800" kern="1200">
                <a:solidFill>
                  <a:srgbClr val="FFFFFF"/>
                </a:solidFill>
                <a:latin typeface="Segoe UI"/>
              </a:defRPr>
            </a:lvl4pPr>
            <a:lvl5pPr marL="1828800" algn="l" defTabSz="914400" rtl="0" eaLnBrk="1" latinLnBrk="0" hangingPunct="1">
              <a:defRPr sz="1800" kern="1200">
                <a:solidFill>
                  <a:srgbClr val="FFFFFF"/>
                </a:solidFill>
                <a:latin typeface="Segoe UI"/>
              </a:defRPr>
            </a:lvl5pPr>
            <a:lvl6pPr marL="2286000" algn="l" defTabSz="914400" rtl="0" eaLnBrk="1" latinLnBrk="0" hangingPunct="1">
              <a:defRPr sz="1800" kern="1200">
                <a:solidFill>
                  <a:srgbClr val="FFFFFF"/>
                </a:solidFill>
                <a:latin typeface="Segoe UI"/>
              </a:defRPr>
            </a:lvl6pPr>
            <a:lvl7pPr marL="2743200" algn="l" defTabSz="914400" rtl="0" eaLnBrk="1" latinLnBrk="0" hangingPunct="1">
              <a:defRPr sz="1800" kern="1200">
                <a:solidFill>
                  <a:srgbClr val="FFFFFF"/>
                </a:solidFill>
                <a:latin typeface="Segoe UI"/>
              </a:defRPr>
            </a:lvl7pPr>
            <a:lvl8pPr marL="3200400" algn="l" defTabSz="914400" rtl="0" eaLnBrk="1" latinLnBrk="0" hangingPunct="1">
              <a:defRPr sz="1800" kern="1200">
                <a:solidFill>
                  <a:srgbClr val="FFFFFF"/>
                </a:solidFill>
                <a:latin typeface="Segoe UI"/>
              </a:defRPr>
            </a:lvl8pPr>
            <a:lvl9pPr marL="3657600" algn="l" defTabSz="914400" rtl="0" eaLnBrk="1" latinLnBrk="0" hangingPunct="1">
              <a:defRPr sz="1800" kern="1200">
                <a:solidFill>
                  <a:srgbClr val="FFFFFF"/>
                </a:solidFill>
                <a:latin typeface="Segoe UI"/>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1. Data Security Index Report</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2. 2022 Chief Data Officer survey, Deloitte, 2023.</a:t>
            </a:r>
          </a:p>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r>
              <a:rPr kumimoji="0" lang="en-US" sz="800" b="0" i="0" u="none" strike="noStrike" kern="1200" cap="none" spc="0" normalizeH="0" baseline="0" noProof="0">
                <a:ln>
                  <a:noFill/>
                </a:ln>
                <a:solidFill>
                  <a:srgbClr val="000000"/>
                </a:solidFill>
                <a:effectLst/>
                <a:uLnTx/>
                <a:uFillTx/>
                <a:latin typeface="Segoe Sans Text" pitchFamily="2" charset="0"/>
                <a:ea typeface="+mn-ea"/>
                <a:cs typeface="Segoe Sans Text" pitchFamily="2" charset="0"/>
              </a:rPr>
              <a:t>3. ISMG First Annual Generative AI Study: </a:t>
            </a:r>
          </a:p>
        </p:txBody>
      </p:sp>
      <p:sp>
        <p:nvSpPr>
          <p:cNvPr id="32" name="TextBox 31">
            <a:extLst>
              <a:ext uri="{FF2B5EF4-FFF2-40B4-BE49-F238E27FC236}">
                <a16:creationId xmlns:a16="http://schemas.microsoft.com/office/drawing/2014/main" id="{3C24C1E4-FD45-E2B3-F742-F901F84745F5}"/>
              </a:ext>
            </a:extLst>
          </p:cNvPr>
          <p:cNvSpPr txBox="1"/>
          <p:nvPr/>
        </p:nvSpPr>
        <p:spPr>
          <a:xfrm>
            <a:off x="310726" y="2020418"/>
            <a:ext cx="4268525"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21" normalizeH="0" baseline="0" noProof="0">
                <a:ln w="3175">
                  <a:noFill/>
                </a:ln>
                <a:gradFill>
                  <a:gsLst>
                    <a:gs pos="100000">
                      <a:srgbClr val="0078D4"/>
                    </a:gs>
                    <a:gs pos="0">
                      <a:srgbClr val="2A446F"/>
                    </a:gs>
                  </a:gsLst>
                  <a:lin ang="2700000" scaled="0"/>
                </a:gradFill>
                <a:effectLst/>
                <a:uLnTx/>
                <a:uFillTx/>
                <a:latin typeface="Segoe UI" panose="020B0502040204020203" pitchFamily="34" charset="0"/>
                <a:ea typeface="+mn-ea"/>
                <a:cs typeface="Segoe UI" panose="020B0502040204020203" pitchFamily="34" charset="0"/>
              </a:rPr>
              <a:t>Organisations struggle to secure and govern their data</a:t>
            </a:r>
            <a:endParaRPr kumimoji="0" lang="en-GB" sz="3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2862338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50"/>
                                        <p:tgtEl>
                                          <p:spTgt spid="21"/>
                                        </p:tgtEl>
                                      </p:cBhvr>
                                    </p:animEffect>
                                  </p:childTnLst>
                                </p:cTn>
                              </p:par>
                              <p:par>
                                <p:cTn id="8" presetID="42" presetClass="path" presetSubtype="0" decel="100000" fill="hold" grpId="1" nodeType="withEffect">
                                  <p:stCondLst>
                                    <p:cond delay="0"/>
                                  </p:stCondLst>
                                  <p:childTnLst>
                                    <p:animMotion origin="layout" path="M 0.01666 -0.00046 L 3.54167E-6 -3.7037E-6 " pathEditMode="relative" rAng="0" ptsTypes="AA">
                                      <p:cBhvr>
                                        <p:cTn id="9" dur="500" fill="hold"/>
                                        <p:tgtEl>
                                          <p:spTgt spid="21"/>
                                        </p:tgtEl>
                                        <p:attrNameLst>
                                          <p:attrName>ppt_x</p:attrName>
                                          <p:attrName>ppt_y</p:attrName>
                                        </p:attrNameLst>
                                      </p:cBhvr>
                                      <p:rCtr x="-83300" y="2300"/>
                                    </p:animMotion>
                                  </p:childTnLst>
                                </p:cTn>
                              </p:par>
                              <p:par>
                                <p:cTn id="10" presetID="10"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250"/>
                                        <p:tgtEl>
                                          <p:spTgt spid="24"/>
                                        </p:tgtEl>
                                      </p:cBhvr>
                                    </p:animEffect>
                                  </p:childTnLst>
                                </p:cTn>
                              </p:par>
                              <p:par>
                                <p:cTn id="13" presetID="42" presetClass="path" presetSubtype="0" decel="100000" fill="hold" grpId="1" nodeType="withEffect">
                                  <p:stCondLst>
                                    <p:cond delay="0"/>
                                  </p:stCondLst>
                                  <p:childTnLst>
                                    <p:animMotion origin="layout" path="M 0.01667 -0.00046 L -8.33333E-7 -3.7037E-6 " pathEditMode="relative" rAng="0" ptsTypes="AA">
                                      <p:cBhvr>
                                        <p:cTn id="14" dur="500" fill="hold"/>
                                        <p:tgtEl>
                                          <p:spTgt spid="24"/>
                                        </p:tgtEl>
                                        <p:attrNameLst>
                                          <p:attrName>ppt_x</p:attrName>
                                          <p:attrName>ppt_y</p:attrName>
                                        </p:attrNameLst>
                                      </p:cBhvr>
                                      <p:rCtr x="-83300" y="2300"/>
                                    </p:animMotion>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250"/>
                                        <p:tgtEl>
                                          <p:spTgt spid="25"/>
                                        </p:tgtEl>
                                      </p:cBhvr>
                                    </p:animEffect>
                                  </p:childTnLst>
                                </p:cTn>
                              </p:par>
                              <p:par>
                                <p:cTn id="18" presetID="42" presetClass="path" presetSubtype="0" decel="100000" fill="hold" grpId="1" nodeType="withEffect">
                                  <p:stCondLst>
                                    <p:cond delay="0"/>
                                  </p:stCondLst>
                                  <p:childTnLst>
                                    <p:animMotion origin="layout" path="M 0.01667 -0.00047 L -1.875E-6 2.59259E-6 " pathEditMode="relative" rAng="0" ptsTypes="AA">
                                      <p:cBhvr>
                                        <p:cTn id="19" dur="500" fill="hold"/>
                                        <p:tgtEl>
                                          <p:spTgt spid="25"/>
                                        </p:tgtEl>
                                        <p:attrNameLst>
                                          <p:attrName>ppt_x</p:attrName>
                                          <p:attrName>ppt_y</p:attrName>
                                        </p:attrNameLst>
                                      </p:cBhvr>
                                      <p:rCtr x="-83300" y="2300"/>
                                    </p:animMotion>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250"/>
                                        <p:tgtEl>
                                          <p:spTgt spid="22"/>
                                        </p:tgtEl>
                                      </p:cBhvr>
                                    </p:animEffect>
                                  </p:childTnLst>
                                </p:cTn>
                              </p:par>
                              <p:par>
                                <p:cTn id="24" presetID="42" presetClass="path" presetSubtype="0" decel="100000" fill="hold" grpId="1" nodeType="withEffect">
                                  <p:stCondLst>
                                    <p:cond delay="0"/>
                                  </p:stCondLst>
                                  <p:childTnLst>
                                    <p:animMotion origin="layout" path="M 0.01666 -0.00047 L 3.54167E-6 3.33333E-6 " pathEditMode="relative" rAng="0" ptsTypes="AA">
                                      <p:cBhvr>
                                        <p:cTn id="25" dur="500" fill="hold"/>
                                        <p:tgtEl>
                                          <p:spTgt spid="22"/>
                                        </p:tgtEl>
                                        <p:attrNameLst>
                                          <p:attrName>ppt_x</p:attrName>
                                          <p:attrName>ppt_y</p:attrName>
                                        </p:attrNameLst>
                                      </p:cBhvr>
                                      <p:rCtr x="-83300" y="2300"/>
                                    </p:animMotion>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250"/>
                                        <p:tgtEl>
                                          <p:spTgt spid="26"/>
                                        </p:tgtEl>
                                      </p:cBhvr>
                                    </p:animEffect>
                                  </p:childTnLst>
                                </p:cTn>
                              </p:par>
                              <p:par>
                                <p:cTn id="29" presetID="42" presetClass="path" presetSubtype="0" decel="100000" fill="hold" grpId="1" nodeType="withEffect">
                                  <p:stCondLst>
                                    <p:cond delay="0"/>
                                  </p:stCondLst>
                                  <p:childTnLst>
                                    <p:animMotion origin="layout" path="M 0.01666 -0.00047 L 4.58333E-6 3.33333E-6 " pathEditMode="relative" rAng="0" ptsTypes="AA">
                                      <p:cBhvr>
                                        <p:cTn id="30" dur="500" fill="hold"/>
                                        <p:tgtEl>
                                          <p:spTgt spid="26"/>
                                        </p:tgtEl>
                                        <p:attrNameLst>
                                          <p:attrName>ppt_x</p:attrName>
                                          <p:attrName>ppt_y</p:attrName>
                                        </p:attrNameLst>
                                      </p:cBhvr>
                                      <p:rCtr x="-83300" y="2300"/>
                                    </p:animMotion>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par>
                                <p:cTn id="34" presetID="42" presetClass="path" presetSubtype="0" decel="100000" fill="hold" grpId="1" nodeType="withEffect">
                                  <p:stCondLst>
                                    <p:cond delay="0"/>
                                  </p:stCondLst>
                                  <p:childTnLst>
                                    <p:animMotion origin="layout" path="M 0.01667 -0.00047 L -3.95833E-6 3.33333E-6 " pathEditMode="relative" rAng="0" ptsTypes="AA">
                                      <p:cBhvr>
                                        <p:cTn id="35" dur="500" fill="hold"/>
                                        <p:tgtEl>
                                          <p:spTgt spid="27"/>
                                        </p:tgtEl>
                                        <p:attrNameLst>
                                          <p:attrName>ppt_x</p:attrName>
                                          <p:attrName>ppt_y</p:attrName>
                                        </p:attrNameLst>
                                      </p:cBhvr>
                                      <p:rCtr x="-83300" y="2300"/>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250"/>
                                        <p:tgtEl>
                                          <p:spTgt spid="23"/>
                                        </p:tgtEl>
                                      </p:cBhvr>
                                    </p:animEffect>
                                  </p:childTnLst>
                                </p:cTn>
                              </p:par>
                              <p:par>
                                <p:cTn id="40" presetID="42" presetClass="path" presetSubtype="0" decel="100000" fill="hold" grpId="1" nodeType="withEffect">
                                  <p:stCondLst>
                                    <p:cond delay="0"/>
                                  </p:stCondLst>
                                  <p:childTnLst>
                                    <p:animMotion origin="layout" path="M 0.01666 -0.00046 L 3.95833E-6 7.40741E-7 " pathEditMode="relative" rAng="0" ptsTypes="AA">
                                      <p:cBhvr>
                                        <p:cTn id="41" dur="500" fill="hold"/>
                                        <p:tgtEl>
                                          <p:spTgt spid="23"/>
                                        </p:tgtEl>
                                        <p:attrNameLst>
                                          <p:attrName>ppt_x</p:attrName>
                                          <p:attrName>ppt_y</p:attrName>
                                        </p:attrNameLst>
                                      </p:cBhvr>
                                      <p:rCtr x="-83300" y="2300"/>
                                    </p:animMotion>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250"/>
                                        <p:tgtEl>
                                          <p:spTgt spid="28"/>
                                        </p:tgtEl>
                                      </p:cBhvr>
                                    </p:animEffect>
                                  </p:childTnLst>
                                </p:cTn>
                              </p:par>
                              <p:par>
                                <p:cTn id="45" presetID="42" presetClass="path" presetSubtype="0" decel="100000" fill="hold" grpId="1" nodeType="withEffect">
                                  <p:stCondLst>
                                    <p:cond delay="0"/>
                                  </p:stCondLst>
                                  <p:childTnLst>
                                    <p:animMotion origin="layout" path="M 0.01666 -0.00047 L 2.29167E-6 4.07407E-6 " pathEditMode="relative" rAng="0" ptsTypes="AA">
                                      <p:cBhvr>
                                        <p:cTn id="46" dur="500" fill="hold"/>
                                        <p:tgtEl>
                                          <p:spTgt spid="28"/>
                                        </p:tgtEl>
                                        <p:attrNameLst>
                                          <p:attrName>ppt_x</p:attrName>
                                          <p:attrName>ppt_y</p:attrName>
                                        </p:attrNameLst>
                                      </p:cBhvr>
                                      <p:rCtr x="-83300" y="2300"/>
                                    </p:animMotion>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250"/>
                                        <p:tgtEl>
                                          <p:spTgt spid="29"/>
                                        </p:tgtEl>
                                      </p:cBhvr>
                                    </p:animEffect>
                                  </p:childTnLst>
                                </p:cTn>
                              </p:par>
                              <p:par>
                                <p:cTn id="50" presetID="42" presetClass="path" presetSubtype="0" decel="100000" fill="hold" grpId="1" nodeType="withEffect">
                                  <p:stCondLst>
                                    <p:cond delay="0"/>
                                  </p:stCondLst>
                                  <p:childTnLst>
                                    <p:animMotion origin="layout" path="M 0.01667 -0.00046 L -4.375E-6 -2.22222E-6 " pathEditMode="relative" rAng="0" ptsTypes="AA">
                                      <p:cBhvr>
                                        <p:cTn id="51" dur="500" fill="hold"/>
                                        <p:tgtEl>
                                          <p:spTgt spid="29"/>
                                        </p:tgtEl>
                                        <p:attrNameLst>
                                          <p:attrName>ppt_x</p:attrName>
                                          <p:attrName>ppt_y</p:attrName>
                                        </p:attrNameLst>
                                      </p:cBhvr>
                                      <p:rCtr x="-833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2" grpId="0" animBg="1"/>
      <p:bldP spid="22" grpId="1" animBg="1"/>
      <p:bldP spid="23" grpId="0" animBg="1"/>
      <p:bldP spid="23" grpId="1" animBg="1"/>
      <p:bldP spid="24" grpId="0"/>
      <p:bldP spid="24" grpId="1"/>
      <p:bldP spid="25" grpId="0"/>
      <p:bldP spid="25" grpId="1"/>
      <p:bldP spid="26" grpId="0"/>
      <p:bldP spid="26" grpId="1"/>
      <p:bldP spid="27" grpId="0"/>
      <p:bldP spid="27" grpId="1"/>
      <p:bldP spid="28" grpId="0"/>
      <p:bldP spid="28" grpId="1"/>
      <p:bldP spid="29" grpId="0"/>
      <p:bldP spid="2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7D9E8-8DD5-FF21-92B0-F1A6AD0D7E08}"/>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80B5A275-C47A-56DA-31BD-973CDDF6C000}"/>
              </a:ext>
            </a:extLst>
          </p:cNvPr>
          <p:cNvGrpSpPr/>
          <p:nvPr/>
        </p:nvGrpSpPr>
        <p:grpSpPr>
          <a:xfrm>
            <a:off x="682906" y="746786"/>
            <a:ext cx="10810280" cy="5364428"/>
            <a:chOff x="682906" y="773614"/>
            <a:chExt cx="10810280" cy="5364428"/>
          </a:xfrm>
        </p:grpSpPr>
        <p:sp>
          <p:nvSpPr>
            <p:cNvPr id="3" name="Rectangle: Rounded Corners 27">
              <a:extLst>
                <a:ext uri="{FF2B5EF4-FFF2-40B4-BE49-F238E27FC236}">
                  <a16:creationId xmlns:a16="http://schemas.microsoft.com/office/drawing/2014/main" id="{EC14D7F7-084C-CC31-298C-50A23CF07455}"/>
                </a:ext>
                <a:ext uri="{C183D7F6-B498-43B3-948B-1728B52AA6E4}">
                  <adec:decorative xmlns:adec="http://schemas.microsoft.com/office/drawing/2017/decorative" val="1"/>
                </a:ext>
              </a:extLst>
            </p:cNvPr>
            <p:cNvSpPr>
              <a:spLocks/>
            </p:cNvSpPr>
            <p:nvPr/>
          </p:nvSpPr>
          <p:spPr bwMode="auto">
            <a:xfrm>
              <a:off x="682906" y="773614"/>
              <a:ext cx="10810280" cy="5364428"/>
            </a:xfrm>
            <a:prstGeom prst="roundRect">
              <a:avLst>
                <a:gd name="adj" fmla="val 2547"/>
              </a:avLst>
            </a:prstGeom>
            <a:solidFill>
              <a:srgbClr val="FFFFFF">
                <a:alpha val="70000"/>
              </a:srgbClr>
            </a:solidFill>
            <a:ln w="12700" cap="flat" cmpd="sng" algn="ctr">
              <a:noFill/>
              <a:prstDash val="solid"/>
              <a:miter lim="800000"/>
            </a:ln>
            <a:effectLst>
              <a:outerShdw blurRad="50800" dist="38100" dir="2700000" algn="tl" rotWithShape="0">
                <a:prstClr val="black">
                  <a:alpha val="5000"/>
                </a:prstClr>
              </a:outerShdw>
            </a:effectLst>
          </p:spPr>
          <p:txBody>
            <a:bodyPr wrap="square" rtlCol="0" anchor="ctr">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0" cap="none" spc="0" normalizeH="0" baseline="0" noProof="0">
                <a:ln>
                  <a:noFill/>
                </a:ln>
                <a:solidFill>
                  <a:srgbClr val="1C1C1C"/>
                </a:solidFill>
                <a:effectLst/>
                <a:uLnTx/>
                <a:uFillTx/>
                <a:latin typeface="Segoe Sans Display Semibold" pitchFamily="2" charset="0"/>
                <a:ea typeface="+mn-ea"/>
                <a:cs typeface="Segoe Sans Display Semibold" pitchFamily="2" charset="0"/>
              </a:endParaRPr>
            </a:p>
          </p:txBody>
        </p:sp>
        <p:sp>
          <p:nvSpPr>
            <p:cNvPr id="4" name="Rectangle: Rounded Corners 16">
              <a:extLst>
                <a:ext uri="{FF2B5EF4-FFF2-40B4-BE49-F238E27FC236}">
                  <a16:creationId xmlns:a16="http://schemas.microsoft.com/office/drawing/2014/main" id="{D8C6A560-8636-8A07-DBB9-BD46389BAD25}"/>
                </a:ext>
                <a:ext uri="{C183D7F6-B498-43B3-948B-1728B52AA6E4}">
                  <adec:decorative xmlns:adec="http://schemas.microsoft.com/office/drawing/2017/decorative" val="1"/>
                </a:ext>
              </a:extLst>
            </p:cNvPr>
            <p:cNvSpPr>
              <a:spLocks/>
            </p:cNvSpPr>
            <p:nvPr/>
          </p:nvSpPr>
          <p:spPr bwMode="auto">
            <a:xfrm>
              <a:off x="890954" y="1002564"/>
              <a:ext cx="10394182" cy="4852872"/>
            </a:xfrm>
            <a:prstGeom prst="roundRect">
              <a:avLst>
                <a:gd name="adj" fmla="val 2547"/>
              </a:avLst>
            </a:prstGeom>
            <a:solidFill>
              <a:srgbClr val="FFFFFF">
                <a:alpha val="94098"/>
              </a:srgbClr>
            </a:solidFill>
            <a:ln w="6350" cap="flat" cmpd="sng" algn="ctr">
              <a:noFill/>
              <a:prstDash val="solid"/>
              <a:miter lim="800000"/>
              <a:headEnd type="none" w="med" len="med"/>
              <a:tailEnd type="none" w="med" len="med"/>
            </a:ln>
            <a:effectLst>
              <a:outerShdw blurRad="50800" dist="38100" dir="2700000" algn="tl"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0" i="0" u="none" strike="noStrike" kern="0" cap="none" spc="0" normalizeH="0" baseline="0" noProof="0">
                <a:ln>
                  <a:noFill/>
                </a:ln>
                <a:solidFill>
                  <a:srgbClr val="005A9E"/>
                </a:solidFill>
                <a:effectLst/>
                <a:uLnTx/>
                <a:uFillTx/>
                <a:latin typeface="Segoe Sans Text" panose="020F0502020204030204"/>
                <a:ea typeface="+mn-ea"/>
                <a:cs typeface="Segoe UI" pitchFamily="34" charset="0"/>
              </a:endParaRPr>
            </a:p>
          </p:txBody>
        </p:sp>
      </p:grpSp>
      <p:sp>
        <p:nvSpPr>
          <p:cNvPr id="5" name="Text Placeholder 1">
            <a:extLst>
              <a:ext uri="{FF2B5EF4-FFF2-40B4-BE49-F238E27FC236}">
                <a16:creationId xmlns:a16="http://schemas.microsoft.com/office/drawing/2014/main" id="{E2108659-8CEC-5D3D-ECDF-E049C19B4B91}"/>
              </a:ext>
            </a:extLst>
          </p:cNvPr>
          <p:cNvSpPr txBox="1">
            <a:spLocks/>
          </p:cNvSpPr>
          <p:nvPr/>
        </p:nvSpPr>
        <p:spPr>
          <a:xfrm>
            <a:off x="1268412" y="1732857"/>
            <a:ext cx="9655175" cy="261778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23395C"/>
                </a:solidFill>
                <a:effectLst/>
                <a:uLnTx/>
                <a:uFillTx/>
                <a:latin typeface="Segoe UI"/>
                <a:ea typeface="+mn-ea"/>
                <a:cs typeface="Segoe UI" panose="020B0502040204020203" pitchFamily="34" charset="0"/>
              </a:rPr>
              <a:t>“</a:t>
            </a:r>
            <a:r>
              <a:rPr kumimoji="0" lang="en-US" sz="3600" b="0" i="0" u="none" strike="noStrike" kern="1200" cap="none" spc="0" normalizeH="0" baseline="0" noProof="0">
                <a:ln>
                  <a:noFill/>
                </a:ln>
                <a:solidFill>
                  <a:srgbClr val="1C1C1C"/>
                </a:solidFill>
                <a:effectLst/>
                <a:uLnTx/>
                <a:uFillTx/>
                <a:latin typeface="Segoe UI"/>
                <a:ea typeface="+mn-ea"/>
                <a:cs typeface="Segoe UI" panose="020B0502040204020203" pitchFamily="34" charset="0"/>
              </a:rPr>
              <a:t>Without proper </a:t>
            </a:r>
            <a:r>
              <a:rPr kumimoji="0" lang="en-US" sz="36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t>governance and security</a:t>
            </a:r>
            <a:r>
              <a:rPr kumimoji="0" lang="en-US" sz="3600" b="0" i="0" u="none" strike="noStrike" kern="1200" cap="none" spc="0" normalizeH="0" baseline="0" noProof="0">
                <a:ln>
                  <a:noFill/>
                </a:ln>
                <a:solidFill>
                  <a:srgbClr val="1C1C1C"/>
                </a:solidFill>
                <a:effectLst/>
                <a:uLnTx/>
                <a:uFillTx/>
                <a:latin typeface="Segoe UI"/>
                <a:ea typeface="+mn-ea"/>
                <a:cs typeface="Segoe UI" panose="020B0502040204020203" pitchFamily="34" charset="0"/>
              </a:rPr>
              <a:t>, data &amp; analytics initiatives are </a:t>
            </a:r>
            <a:r>
              <a:rPr kumimoji="0" lang="en-US" sz="36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t>at risk </a:t>
            </a:r>
            <a:r>
              <a:rPr kumimoji="0" lang="en-US" sz="3600" b="0" i="0" u="none" strike="noStrike" kern="1200" cap="none" spc="0" normalizeH="0" baseline="0" noProof="0">
                <a:ln>
                  <a:noFill/>
                </a:ln>
                <a:solidFill>
                  <a:srgbClr val="1C1C1C"/>
                </a:solidFill>
                <a:effectLst/>
                <a:uLnTx/>
                <a:uFillTx/>
                <a:latin typeface="Segoe UI"/>
                <a:ea typeface="+mn-ea"/>
                <a:cs typeface="Segoe UI" panose="020B0502040204020203" pitchFamily="34" charset="0"/>
              </a:rPr>
              <a:t>of producing </a:t>
            </a:r>
            <a:r>
              <a:rPr kumimoji="0" lang="en-US" sz="36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rPr>
              <a:t>unreliable or compromised</a:t>
            </a:r>
            <a:r>
              <a:rPr kumimoji="0" lang="en-US" sz="3600" b="0" i="0" u="none" strike="noStrike" kern="1200" cap="none" spc="0" normalizeH="0" baseline="0" noProof="0">
                <a:ln>
                  <a:noFill/>
                </a:ln>
                <a:solidFill>
                  <a:srgbClr val="1C1C1C"/>
                </a:solidFill>
                <a:effectLst/>
                <a:uLnTx/>
                <a:uFillTx/>
                <a:latin typeface="Segoe UI"/>
                <a:ea typeface="+mn-ea"/>
                <a:cs typeface="Segoe UI" panose="020B0502040204020203" pitchFamily="34" charset="0"/>
              </a:rPr>
              <a:t> results”</a:t>
            </a:r>
          </a:p>
        </p:txBody>
      </p:sp>
      <p:sp>
        <p:nvSpPr>
          <p:cNvPr id="6" name="Text Placeholder 7">
            <a:extLst>
              <a:ext uri="{FF2B5EF4-FFF2-40B4-BE49-F238E27FC236}">
                <a16:creationId xmlns:a16="http://schemas.microsoft.com/office/drawing/2014/main" id="{A84A8965-50EA-BE0B-BE78-4854D482FA53}"/>
              </a:ext>
            </a:extLst>
          </p:cNvPr>
          <p:cNvSpPr txBox="1">
            <a:spLocks/>
          </p:cNvSpPr>
          <p:nvPr/>
        </p:nvSpPr>
        <p:spPr>
          <a:xfrm>
            <a:off x="1268412" y="4465054"/>
            <a:ext cx="5692775" cy="457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23395C"/>
                </a:solidFill>
                <a:effectLst/>
                <a:uLnTx/>
                <a:uFillTx/>
                <a:latin typeface="Segoe Sans Text" panose="020F0502020204030204"/>
                <a:ea typeface="+mn-ea"/>
                <a:cs typeface="Segoe UI" panose="020B0502040204020203" pitchFamily="34" charset="0"/>
              </a:rPr>
              <a:t>Gartne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23395C"/>
              </a:solidFill>
              <a:effectLst/>
              <a:uLnTx/>
              <a:uFillTx/>
              <a:latin typeface="Segoe Sans Text" panose="020F0502020204030204"/>
              <a:ea typeface="+mn-ea"/>
              <a:cs typeface="Segoe UI" panose="020B0502040204020203" pitchFamily="34" charset="0"/>
            </a:endParaRPr>
          </a:p>
        </p:txBody>
      </p:sp>
      <p:pic>
        <p:nvPicPr>
          <p:cNvPr id="7" name="Picture 6">
            <a:extLst>
              <a:ext uri="{FF2B5EF4-FFF2-40B4-BE49-F238E27FC236}">
                <a16:creationId xmlns:a16="http://schemas.microsoft.com/office/drawing/2014/main" id="{30BC1ED8-C33A-ECE3-5010-F90DAFE8C2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080346" y="6450814"/>
            <a:ext cx="224305" cy="224305"/>
          </a:xfrm>
          <a:prstGeom prst="rect">
            <a:avLst/>
          </a:prstGeom>
        </p:spPr>
      </p:pic>
    </p:spTree>
    <p:extLst>
      <p:ext uri="{BB962C8B-B14F-4D97-AF65-F5344CB8AC3E}">
        <p14:creationId xmlns:p14="http://schemas.microsoft.com/office/powerpoint/2010/main" val="29582305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86D9C-4682-6F17-EE50-B75A84125005}"/>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709FBAC7-82CD-75BA-D56E-6405EF44ADB7}"/>
              </a:ext>
            </a:extLst>
          </p:cNvPr>
          <p:cNvGrpSpPr/>
          <p:nvPr/>
        </p:nvGrpSpPr>
        <p:grpSpPr>
          <a:xfrm>
            <a:off x="682906" y="746786"/>
            <a:ext cx="10810280" cy="5364428"/>
            <a:chOff x="682906" y="773614"/>
            <a:chExt cx="10810280" cy="5364428"/>
          </a:xfrm>
        </p:grpSpPr>
        <p:sp>
          <p:nvSpPr>
            <p:cNvPr id="8" name="Rectangle: Rounded Corners 27">
              <a:extLst>
                <a:ext uri="{FF2B5EF4-FFF2-40B4-BE49-F238E27FC236}">
                  <a16:creationId xmlns:a16="http://schemas.microsoft.com/office/drawing/2014/main" id="{D4B4DBF5-2643-F118-9641-06BE9902F9FA}"/>
                </a:ext>
                <a:ext uri="{C183D7F6-B498-43B3-948B-1728B52AA6E4}">
                  <adec:decorative xmlns:adec="http://schemas.microsoft.com/office/drawing/2017/decorative" val="1"/>
                </a:ext>
              </a:extLst>
            </p:cNvPr>
            <p:cNvSpPr>
              <a:spLocks/>
            </p:cNvSpPr>
            <p:nvPr/>
          </p:nvSpPr>
          <p:spPr bwMode="auto">
            <a:xfrm>
              <a:off x="682906" y="773614"/>
              <a:ext cx="10810280" cy="5364428"/>
            </a:xfrm>
            <a:prstGeom prst="roundRect">
              <a:avLst>
                <a:gd name="adj" fmla="val 2547"/>
              </a:avLst>
            </a:prstGeom>
            <a:solidFill>
              <a:srgbClr val="FFFFFF">
                <a:alpha val="70000"/>
              </a:srgbClr>
            </a:solidFill>
            <a:ln w="12700" cap="flat" cmpd="sng" algn="ctr">
              <a:noFill/>
              <a:prstDash val="solid"/>
              <a:miter lim="800000"/>
            </a:ln>
            <a:effectLst>
              <a:outerShdw blurRad="50800" dist="38100" dir="2700000" algn="tl" rotWithShape="0">
                <a:prstClr val="black">
                  <a:alpha val="5000"/>
                </a:prstClr>
              </a:outerShdw>
            </a:effectLst>
          </p:spPr>
          <p:txBody>
            <a:bodyPr wrap="square" rtlCol="0" anchor="ctr">
              <a:noAutofit/>
            </a:bodyPr>
            <a:lstStyle/>
            <a:p>
              <a:pPr marL="0" marR="0" lvl="0" indent="0" algn="ctr" defTabSz="932472" rtl="0" eaLnBrk="1" fontAlgn="base" latinLnBrk="0" hangingPunct="1">
                <a:lnSpc>
                  <a:spcPct val="100000"/>
                </a:lnSpc>
                <a:spcBef>
                  <a:spcPct val="0"/>
                </a:spcBef>
                <a:spcAft>
                  <a:spcPts val="0"/>
                </a:spcAft>
                <a:buClrTx/>
                <a:buSzTx/>
                <a:buFontTx/>
                <a:buNone/>
                <a:tabLst/>
                <a:defRPr/>
              </a:pPr>
              <a:endParaRPr kumimoji="0" lang="en-US" sz="1400" b="0" i="0" u="none" strike="noStrike" kern="0" cap="none" spc="0" normalizeH="0" baseline="0" noProof="0">
                <a:ln>
                  <a:noFill/>
                </a:ln>
                <a:solidFill>
                  <a:srgbClr val="1C1C1C"/>
                </a:solidFill>
                <a:effectLst/>
                <a:uLnTx/>
                <a:uFillTx/>
                <a:latin typeface="Segoe Sans Display Semibold" pitchFamily="2" charset="0"/>
                <a:ea typeface="+mn-ea"/>
                <a:cs typeface="Segoe Sans Display Semibold" pitchFamily="2" charset="0"/>
              </a:endParaRPr>
            </a:p>
          </p:txBody>
        </p:sp>
        <p:sp>
          <p:nvSpPr>
            <p:cNvPr id="9" name="Rectangle: Rounded Corners 16">
              <a:extLst>
                <a:ext uri="{FF2B5EF4-FFF2-40B4-BE49-F238E27FC236}">
                  <a16:creationId xmlns:a16="http://schemas.microsoft.com/office/drawing/2014/main" id="{F067261E-7AF6-F02A-78D4-53452E1F1453}"/>
                </a:ext>
                <a:ext uri="{C183D7F6-B498-43B3-948B-1728B52AA6E4}">
                  <adec:decorative xmlns:adec="http://schemas.microsoft.com/office/drawing/2017/decorative" val="1"/>
                </a:ext>
              </a:extLst>
            </p:cNvPr>
            <p:cNvSpPr>
              <a:spLocks/>
            </p:cNvSpPr>
            <p:nvPr/>
          </p:nvSpPr>
          <p:spPr bwMode="auto">
            <a:xfrm>
              <a:off x="890954" y="1002564"/>
              <a:ext cx="10394182" cy="4852872"/>
            </a:xfrm>
            <a:prstGeom prst="roundRect">
              <a:avLst>
                <a:gd name="adj" fmla="val 2547"/>
              </a:avLst>
            </a:prstGeom>
            <a:solidFill>
              <a:srgbClr val="FFFFFF">
                <a:alpha val="94098"/>
              </a:srgbClr>
            </a:solidFill>
            <a:ln w="6350" cap="flat" cmpd="sng" algn="ctr">
              <a:noFill/>
              <a:prstDash val="solid"/>
              <a:miter lim="800000"/>
              <a:headEnd type="none" w="med" len="med"/>
              <a:tailEnd type="none" w="med" len="med"/>
            </a:ln>
            <a:effectLst>
              <a:outerShdw blurRad="50800" dist="38100" dir="2700000" algn="tl" rotWithShape="0">
                <a:prstClr val="black">
                  <a:alpha val="5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400" b="0" i="0" u="none" strike="noStrike" kern="0" cap="none" spc="0" normalizeH="0" baseline="0" noProof="0">
                <a:ln>
                  <a:noFill/>
                </a:ln>
                <a:solidFill>
                  <a:srgbClr val="005A9E"/>
                </a:solidFill>
                <a:effectLst/>
                <a:uLnTx/>
                <a:uFillTx/>
                <a:latin typeface="Segoe Sans Text" panose="020F0502020204030204"/>
                <a:ea typeface="+mn-ea"/>
                <a:cs typeface="Segoe UI" pitchFamily="34" charset="0"/>
              </a:endParaRPr>
            </a:p>
          </p:txBody>
        </p:sp>
      </p:grpSp>
      <p:sp>
        <p:nvSpPr>
          <p:cNvPr id="10" name="Content Placeholder 3">
            <a:extLst>
              <a:ext uri="{FF2B5EF4-FFF2-40B4-BE49-F238E27FC236}">
                <a16:creationId xmlns:a16="http://schemas.microsoft.com/office/drawing/2014/main" id="{0AA6D38F-175A-7F57-6FCE-1C266FA62E43}"/>
              </a:ext>
            </a:extLst>
          </p:cNvPr>
          <p:cNvSpPr txBox="1">
            <a:spLocks/>
          </p:cNvSpPr>
          <p:nvPr/>
        </p:nvSpPr>
        <p:spPr>
          <a:xfrm>
            <a:off x="1467994" y="2464101"/>
            <a:ext cx="10025190" cy="287646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mn-lt"/>
                <a:ea typeface="+mn-ea"/>
                <a:cs typeface="Segoe UI" panose="020B0502040204020203" pitchFamily="34" charset="0"/>
              </a:defRPr>
            </a:lvl1pPr>
            <a:lvl2pPr marL="450850" indent="-179388" algn="l" defTabSz="914400" rtl="0" eaLnBrk="1" latinLnBrk="0" hangingPunct="1">
              <a:lnSpc>
                <a:spcPct val="90000"/>
              </a:lnSpc>
              <a:spcBef>
                <a:spcPts val="500"/>
              </a:spcBef>
              <a:buFont typeface="Arial" panose="020B0604020202020204" pitchFamily="34" charset="0"/>
              <a:buChar char="•"/>
              <a:tabLst/>
              <a:defRPr sz="1800" b="0" i="0" kern="1200">
                <a:solidFill>
                  <a:schemeClr val="tx1"/>
                </a:solidFill>
                <a:latin typeface="+mn-lt"/>
                <a:ea typeface="+mn-ea"/>
                <a:cs typeface="Segoe UI" panose="020B0502040204020203" pitchFamily="34" charset="0"/>
              </a:defRPr>
            </a:lvl2pPr>
            <a:lvl3pPr marL="673100" indent="-179388" algn="l" defTabSz="914400" rtl="0" eaLnBrk="1" latinLnBrk="0" hangingPunct="1">
              <a:lnSpc>
                <a:spcPct val="90000"/>
              </a:lnSpc>
              <a:spcBef>
                <a:spcPts val="500"/>
              </a:spcBef>
              <a:buFont typeface="Arial" panose="020B0604020202020204" pitchFamily="34" charset="0"/>
              <a:buChar char="•"/>
              <a:tabLst/>
              <a:defRPr sz="1600" b="0" i="0" kern="1200">
                <a:solidFill>
                  <a:schemeClr val="tx1"/>
                </a:solidFill>
                <a:latin typeface="+mn-lt"/>
                <a:ea typeface="+mn-ea"/>
                <a:cs typeface="Segoe UI" panose="020B0502040204020203" pitchFamily="34" charset="0"/>
              </a:defRPr>
            </a:lvl3pPr>
            <a:lvl4pPr marL="893763" indent="-177800"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mn-lt"/>
                <a:ea typeface="+mn-ea"/>
                <a:cs typeface="Segoe UI" panose="020B0502040204020203" pitchFamily="34" charset="0"/>
              </a:defRPr>
            </a:lvl4pPr>
            <a:lvl5pPr marL="1116013" indent="-17938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mn-lt"/>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Data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governance </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ensures data is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easy to find</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accurate</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 and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reliable</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Accurate data is critical for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data-driven</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 decision-making and AI effectivenes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Poor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data management </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can lead to mistakes, delays, and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compliance</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 risk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 quality data </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is essential for </a:t>
            </a:r>
            <a:r>
              <a:rPr kumimoji="0" lang="en-US" sz="20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organizational performance </a:t>
            </a:r>
            <a:r>
              <a:rPr kumimoji="0" lang="en-US" sz="2000" b="0" i="0" u="none" strike="noStrike" kern="1200" cap="none" spc="0" normalizeH="0" baseline="0" noProof="0">
                <a:ln>
                  <a:noFill/>
                </a:ln>
                <a:solidFill>
                  <a:srgbClr val="1C1C1C"/>
                </a:solidFill>
                <a:effectLst/>
                <a:uLnTx/>
                <a:uFillTx/>
                <a:latin typeface="Segoe UI" panose="020B0502040204020203" pitchFamily="34" charset="0"/>
                <a:ea typeface="+mn-ea"/>
                <a:cs typeface="Segoe UI" panose="020B0502040204020203" pitchFamily="34" charset="0"/>
              </a:rPr>
              <a:t>and reputation.</a:t>
            </a:r>
          </a:p>
        </p:txBody>
      </p:sp>
      <p:sp>
        <p:nvSpPr>
          <p:cNvPr id="11" name="Title 1">
            <a:extLst>
              <a:ext uri="{FF2B5EF4-FFF2-40B4-BE49-F238E27FC236}">
                <a16:creationId xmlns:a16="http://schemas.microsoft.com/office/drawing/2014/main" id="{C48596AB-FCA0-AC90-7129-D4D4391F3258}"/>
              </a:ext>
            </a:extLst>
          </p:cNvPr>
          <p:cNvSpPr txBox="1">
            <a:spLocks/>
          </p:cNvSpPr>
          <p:nvPr/>
        </p:nvSpPr>
        <p:spPr>
          <a:xfrm>
            <a:off x="2803444" y="1517438"/>
            <a:ext cx="6569202" cy="113225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23395C"/>
                </a:solidFill>
                <a:effectLst/>
                <a:uLnTx/>
                <a:uFillTx/>
                <a:latin typeface="Segoe UI" panose="020B0502040204020203" pitchFamily="34" charset="0"/>
                <a:ea typeface="+mj-ea"/>
                <a:cs typeface="Segoe UI" panose="020B0502040204020203" pitchFamily="34" charset="0"/>
              </a:rPr>
              <a:t>Understanding Data Governance</a:t>
            </a:r>
          </a:p>
        </p:txBody>
      </p:sp>
    </p:spTree>
    <p:extLst>
      <p:ext uri="{BB962C8B-B14F-4D97-AF65-F5344CB8AC3E}">
        <p14:creationId xmlns:p14="http://schemas.microsoft.com/office/powerpoint/2010/main" val="29504943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0CC6E83A-00D4-BFB6-48BE-EDDBCDF9B6F6}"/>
              </a:ext>
              <a:ext uri="{C183D7F6-B498-43B3-948B-1728B52AA6E4}">
                <adec:decorative xmlns:adec="http://schemas.microsoft.com/office/drawing/2017/decorative" val="1"/>
              </a:ext>
            </a:extLst>
          </p:cNvPr>
          <p:cNvSpPr/>
          <p:nvPr/>
        </p:nvSpPr>
        <p:spPr bwMode="auto">
          <a:xfrm>
            <a:off x="435430" y="1540934"/>
            <a:ext cx="11321142" cy="5083849"/>
          </a:xfrm>
          <a:prstGeom prst="roundRect">
            <a:avLst>
              <a:gd name="adj" fmla="val 6925"/>
            </a:avLst>
          </a:prstGeom>
          <a:solidFill>
            <a:srgbClr val="FFFFFF">
              <a:alpha val="74000"/>
            </a:srgbClr>
          </a:solidFill>
          <a:ln w="19050">
            <a:noFill/>
            <a:headEnd type="none" w="med" len="med"/>
            <a:tailEnd type="none" w="med" len="med"/>
          </a:ln>
          <a:effectLst>
            <a:outerShdw blurRad="127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s-MX" sz="1200" b="0" i="0" u="none" strike="noStrike" kern="1200" cap="none" spc="0" normalizeH="0" baseline="0" noProof="0">
              <a:ln>
                <a:noFill/>
              </a:ln>
              <a:gradFill>
                <a:gsLst>
                  <a:gs pos="2874">
                    <a:srgbClr val="FFFFFF"/>
                  </a:gs>
                  <a:gs pos="17978">
                    <a:srgbClr val="FFFFFF"/>
                  </a:gs>
                </a:gsLst>
                <a:lin ang="2700000" scaled="0"/>
              </a:gradFill>
              <a:effectLst/>
              <a:uLnTx/>
              <a:uFillTx/>
              <a:latin typeface="Segoe UI"/>
              <a:ea typeface="+mn-ea"/>
              <a:cs typeface="+mn-cs"/>
            </a:endParaRPr>
          </a:p>
        </p:txBody>
      </p:sp>
      <p:sp>
        <p:nvSpPr>
          <p:cNvPr id="18" name="Freeform 17">
            <a:extLst>
              <a:ext uri="{FF2B5EF4-FFF2-40B4-BE49-F238E27FC236}">
                <a16:creationId xmlns:a16="http://schemas.microsoft.com/office/drawing/2014/main" id="{E420BC65-68A0-F23A-0AE3-7330FB177F0C}"/>
              </a:ext>
              <a:ext uri="{C183D7F6-B498-43B3-948B-1728B52AA6E4}">
                <adec:decorative xmlns:adec="http://schemas.microsoft.com/office/drawing/2017/decorative" val="1"/>
              </a:ext>
            </a:extLst>
          </p:cNvPr>
          <p:cNvSpPr/>
          <p:nvPr/>
        </p:nvSpPr>
        <p:spPr>
          <a:xfrm>
            <a:off x="552530" y="1705094"/>
            <a:ext cx="11064240" cy="4740864"/>
          </a:xfrm>
          <a:custGeom>
            <a:avLst/>
            <a:gdLst>
              <a:gd name="connsiteX0" fmla="*/ 232164 w 11064240"/>
              <a:gd name="connsiteY0" fmla="*/ 0 h 4439936"/>
              <a:gd name="connsiteX1" fmla="*/ 3642782 w 11064240"/>
              <a:gd name="connsiteY1" fmla="*/ 0 h 4439936"/>
              <a:gd name="connsiteX2" fmla="*/ 3727063 w 11064240"/>
              <a:gd name="connsiteY2" fmla="*/ 84281 h 4439936"/>
              <a:gd name="connsiteX3" fmla="*/ 3727063 w 11064240"/>
              <a:gd name="connsiteY3" fmla="*/ 539806 h 4439936"/>
              <a:gd name="connsiteX4" fmla="*/ 3767803 w 11064240"/>
              <a:gd name="connsiteY4" fmla="*/ 580546 h 4439936"/>
              <a:gd name="connsiteX5" fmla="*/ 3808543 w 11064240"/>
              <a:gd name="connsiteY5" fmla="*/ 539806 h 4439936"/>
              <a:gd name="connsiteX6" fmla="*/ 3808543 w 11064240"/>
              <a:gd name="connsiteY6" fmla="*/ 84281 h 4439936"/>
              <a:gd name="connsiteX7" fmla="*/ 3892824 w 11064240"/>
              <a:gd name="connsiteY7" fmla="*/ 0 h 4439936"/>
              <a:gd name="connsiteX8" fmla="*/ 7201162 w 11064240"/>
              <a:gd name="connsiteY8" fmla="*/ 0 h 4439936"/>
              <a:gd name="connsiteX9" fmla="*/ 7285443 w 11064240"/>
              <a:gd name="connsiteY9" fmla="*/ 84281 h 4439936"/>
              <a:gd name="connsiteX10" fmla="*/ 7285443 w 11064240"/>
              <a:gd name="connsiteY10" fmla="*/ 539806 h 4439936"/>
              <a:gd name="connsiteX11" fmla="*/ 7326183 w 11064240"/>
              <a:gd name="connsiteY11" fmla="*/ 580546 h 4439936"/>
              <a:gd name="connsiteX12" fmla="*/ 7366923 w 11064240"/>
              <a:gd name="connsiteY12" fmla="*/ 539806 h 4439936"/>
              <a:gd name="connsiteX13" fmla="*/ 7366923 w 11064240"/>
              <a:gd name="connsiteY13" fmla="*/ 84281 h 4439936"/>
              <a:gd name="connsiteX14" fmla="*/ 7451204 w 11064240"/>
              <a:gd name="connsiteY14" fmla="*/ 0 h 4439936"/>
              <a:gd name="connsiteX15" fmla="*/ 10832076 w 11064240"/>
              <a:gd name="connsiteY15" fmla="*/ 0 h 4439936"/>
              <a:gd name="connsiteX16" fmla="*/ 11064240 w 11064240"/>
              <a:gd name="connsiteY16" fmla="*/ 232164 h 4439936"/>
              <a:gd name="connsiteX17" fmla="*/ 11064240 w 11064240"/>
              <a:gd name="connsiteY17" fmla="*/ 4207772 h 4439936"/>
              <a:gd name="connsiteX18" fmla="*/ 10832076 w 11064240"/>
              <a:gd name="connsiteY18" fmla="*/ 4439936 h 4439936"/>
              <a:gd name="connsiteX19" fmla="*/ 232164 w 11064240"/>
              <a:gd name="connsiteY19" fmla="*/ 4439936 h 4439936"/>
              <a:gd name="connsiteX20" fmla="*/ 0 w 11064240"/>
              <a:gd name="connsiteY20" fmla="*/ 4207772 h 4439936"/>
              <a:gd name="connsiteX21" fmla="*/ 0 w 11064240"/>
              <a:gd name="connsiteY21" fmla="*/ 232164 h 4439936"/>
              <a:gd name="connsiteX22" fmla="*/ 232164 w 11064240"/>
              <a:gd name="connsiteY22" fmla="*/ 0 h 443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64240" h="4439936">
                <a:moveTo>
                  <a:pt x="232164" y="0"/>
                </a:moveTo>
                <a:lnTo>
                  <a:pt x="3642782" y="0"/>
                </a:lnTo>
                <a:cubicBezTo>
                  <a:pt x="3689328" y="0"/>
                  <a:pt x="3727063" y="37735"/>
                  <a:pt x="3727063" y="84281"/>
                </a:cubicBezTo>
                <a:lnTo>
                  <a:pt x="3727063" y="539806"/>
                </a:lnTo>
                <a:cubicBezTo>
                  <a:pt x="3727063" y="562315"/>
                  <a:pt x="3745294" y="580546"/>
                  <a:pt x="3767803" y="580546"/>
                </a:cubicBezTo>
                <a:cubicBezTo>
                  <a:pt x="3790312" y="580546"/>
                  <a:pt x="3808543" y="562315"/>
                  <a:pt x="3808543" y="539806"/>
                </a:cubicBezTo>
                <a:lnTo>
                  <a:pt x="3808543" y="84281"/>
                </a:lnTo>
                <a:cubicBezTo>
                  <a:pt x="3808543" y="37735"/>
                  <a:pt x="3846279" y="0"/>
                  <a:pt x="3892824" y="0"/>
                </a:cubicBezTo>
                <a:lnTo>
                  <a:pt x="7201162" y="0"/>
                </a:lnTo>
                <a:cubicBezTo>
                  <a:pt x="7247708" y="0"/>
                  <a:pt x="7285443" y="37735"/>
                  <a:pt x="7285443" y="84281"/>
                </a:cubicBezTo>
                <a:lnTo>
                  <a:pt x="7285443" y="539806"/>
                </a:lnTo>
                <a:cubicBezTo>
                  <a:pt x="7285443" y="562315"/>
                  <a:pt x="7303674" y="580546"/>
                  <a:pt x="7326183" y="580546"/>
                </a:cubicBezTo>
                <a:cubicBezTo>
                  <a:pt x="7348692" y="580546"/>
                  <a:pt x="7366923" y="562315"/>
                  <a:pt x="7366923" y="539806"/>
                </a:cubicBezTo>
                <a:lnTo>
                  <a:pt x="7366923" y="84281"/>
                </a:lnTo>
                <a:cubicBezTo>
                  <a:pt x="7366923" y="37735"/>
                  <a:pt x="7404659" y="0"/>
                  <a:pt x="7451204" y="0"/>
                </a:cubicBezTo>
                <a:lnTo>
                  <a:pt x="10832076" y="0"/>
                </a:lnTo>
                <a:cubicBezTo>
                  <a:pt x="10960297" y="0"/>
                  <a:pt x="11064240" y="103943"/>
                  <a:pt x="11064240" y="232164"/>
                </a:cubicBezTo>
                <a:lnTo>
                  <a:pt x="11064240" y="4207772"/>
                </a:lnTo>
                <a:cubicBezTo>
                  <a:pt x="11064240" y="4335993"/>
                  <a:pt x="10960297" y="4439936"/>
                  <a:pt x="10832076" y="4439936"/>
                </a:cubicBezTo>
                <a:lnTo>
                  <a:pt x="232164" y="4439936"/>
                </a:lnTo>
                <a:cubicBezTo>
                  <a:pt x="103943" y="4439936"/>
                  <a:pt x="0" y="4335993"/>
                  <a:pt x="0" y="4207772"/>
                </a:cubicBezTo>
                <a:lnTo>
                  <a:pt x="0" y="232164"/>
                </a:lnTo>
                <a:cubicBezTo>
                  <a:pt x="0" y="103943"/>
                  <a:pt x="103943" y="0"/>
                  <a:pt x="232164" y="0"/>
                </a:cubicBezTo>
                <a:close/>
              </a:path>
            </a:pathLst>
          </a:custGeom>
          <a:gradFill>
            <a:gsLst>
              <a:gs pos="100000">
                <a:srgbClr val="D6EEFF"/>
              </a:gs>
              <a:gs pos="50000">
                <a:schemeClr val="bg1"/>
              </a:gs>
            </a:gsLst>
            <a:lin ang="2400000" scaled="0"/>
          </a:gradFill>
          <a:ln w="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1C1C1C"/>
              </a:solidFill>
              <a:effectLst/>
              <a:uLnTx/>
              <a:uFillTx/>
              <a:latin typeface="Segoe Sans Text" panose="020F0502020204030204"/>
              <a:ea typeface="+mn-ea"/>
              <a:cs typeface="+mn-cs"/>
            </a:endParaRPr>
          </a:p>
        </p:txBody>
      </p:sp>
      <p:sp>
        <p:nvSpPr>
          <p:cNvPr id="5" name="TextBox 4">
            <a:extLst>
              <a:ext uri="{FF2B5EF4-FFF2-40B4-BE49-F238E27FC236}">
                <a16:creationId xmlns:a16="http://schemas.microsoft.com/office/drawing/2014/main" id="{899669CE-41D9-099B-F680-E742CA539F8A}"/>
              </a:ext>
            </a:extLst>
          </p:cNvPr>
          <p:cNvSpPr txBox="1"/>
          <p:nvPr/>
        </p:nvSpPr>
        <p:spPr>
          <a:xfrm>
            <a:off x="2323298" y="5622629"/>
            <a:ext cx="7379116" cy="646986"/>
          </a:xfrm>
          <a:prstGeom prst="roundRect">
            <a:avLst/>
          </a:prstGeom>
          <a:noFill/>
        </p:spPr>
        <p:txBody>
          <a:bodyPr wrap="square" lIns="91440" tIns="45720" rIns="91440" bIns="45720" anchor="t">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lumMod val="75000"/>
                    <a:lumOff val="25000"/>
                  </a:srgbClr>
                </a:solidFill>
                <a:effectLst/>
                <a:uLnTx/>
                <a:uFillTx/>
                <a:latin typeface="Segoe UI Semibold"/>
                <a:ea typeface="+mn-ea"/>
                <a:cs typeface="+mn-cs"/>
              </a:rPr>
              <a:t>Shared platform capabilitie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75000"/>
                    <a:lumOff val="25000"/>
                  </a:srgbClr>
                </a:solidFill>
                <a:effectLst/>
                <a:uLnTx/>
                <a:uFillTx/>
                <a:latin typeface="Segoe UI"/>
                <a:ea typeface="+mn-ea"/>
                <a:cs typeface="+mn-cs"/>
              </a:rPr>
              <a:t>AI-based efficiency, Data Map, Classification, Labels, Audit Logs, Policies, Data Connectors</a:t>
            </a:r>
          </a:p>
        </p:txBody>
      </p:sp>
      <p:sp>
        <p:nvSpPr>
          <p:cNvPr id="9" name="Text Placeholder 2">
            <a:extLst>
              <a:ext uri="{FF2B5EF4-FFF2-40B4-BE49-F238E27FC236}">
                <a16:creationId xmlns:a16="http://schemas.microsoft.com/office/drawing/2014/main" id="{650E4166-D17D-6AB1-F267-7BBBC9B2750F}"/>
              </a:ext>
            </a:extLst>
          </p:cNvPr>
          <p:cNvSpPr txBox="1">
            <a:spLocks/>
          </p:cNvSpPr>
          <p:nvPr/>
        </p:nvSpPr>
        <p:spPr>
          <a:xfrm>
            <a:off x="760038" y="3522464"/>
            <a:ext cx="3387096" cy="977191"/>
          </a:xfrm>
          <a:prstGeom prst="rect">
            <a:avLst/>
          </a:prstGeom>
        </p:spPr>
        <p:txBody>
          <a:bodyPr vert="horz" wrap="square" lIns="0" tIns="0" rIns="0" bIns="0" rtlCol="0" anchor="t">
            <a:spAutoFit/>
          </a:bodyPr>
          <a:lstStyle>
            <a:lvl1pPr marL="0" marR="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Loss Prevention </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Insider Risk Management </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Information Protection</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endParaRPr>
          </a:p>
        </p:txBody>
      </p:sp>
      <p:sp>
        <p:nvSpPr>
          <p:cNvPr id="10" name="TextBox 9">
            <a:extLst>
              <a:ext uri="{FF2B5EF4-FFF2-40B4-BE49-F238E27FC236}">
                <a16:creationId xmlns:a16="http://schemas.microsoft.com/office/drawing/2014/main" id="{2349E03B-13EF-DAF2-4FA1-99368DA2E533}"/>
              </a:ext>
            </a:extLst>
          </p:cNvPr>
          <p:cNvSpPr txBox="1"/>
          <p:nvPr/>
        </p:nvSpPr>
        <p:spPr>
          <a:xfrm>
            <a:off x="929482" y="2519988"/>
            <a:ext cx="3048208" cy="52322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Secure data across its lifecycle, wherever it lives</a:t>
            </a:r>
          </a:p>
        </p:txBody>
      </p:sp>
      <p:sp>
        <p:nvSpPr>
          <p:cNvPr id="11" name="Freeform 39">
            <a:extLst>
              <a:ext uri="{FF2B5EF4-FFF2-40B4-BE49-F238E27FC236}">
                <a16:creationId xmlns:a16="http://schemas.microsoft.com/office/drawing/2014/main" id="{37F85729-5F03-2DFB-D58C-99B3BCEE3C6A}"/>
              </a:ext>
            </a:extLst>
          </p:cNvPr>
          <p:cNvSpPr/>
          <p:nvPr/>
        </p:nvSpPr>
        <p:spPr>
          <a:xfrm>
            <a:off x="853386" y="1927133"/>
            <a:ext cx="3200400" cy="402336"/>
          </a:xfrm>
          <a:prstGeom prst="roundRect">
            <a:avLst>
              <a:gd name="adj" fmla="val 50000"/>
            </a:avLst>
          </a:prstGeom>
          <a:solidFill>
            <a:srgbClr val="0078D4"/>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a:ln>
                  <a:noFill/>
                </a:ln>
                <a:solidFill>
                  <a:srgbClr val="FFFFFF"/>
                </a:solidFill>
                <a:effectLst/>
                <a:uLnTx/>
                <a:uFillTx/>
                <a:latin typeface="Segoe UI Semibold"/>
                <a:ea typeface="+mn-ea"/>
                <a:cs typeface="+mn-cs"/>
              </a:rPr>
              <a:t>DATA SECURITY</a:t>
            </a:r>
          </a:p>
        </p:txBody>
      </p:sp>
      <p:cxnSp>
        <p:nvCxnSpPr>
          <p:cNvPr id="12" name="Straight Connector 11">
            <a:extLst>
              <a:ext uri="{FF2B5EF4-FFF2-40B4-BE49-F238E27FC236}">
                <a16:creationId xmlns:a16="http://schemas.microsoft.com/office/drawing/2014/main" id="{CC1F5B01-6A89-7A15-9881-609271579652}"/>
              </a:ext>
              <a:ext uri="{C183D7F6-B498-43B3-948B-1728B52AA6E4}">
                <adec:decorative xmlns:adec="http://schemas.microsoft.com/office/drawing/2017/decorative" val="1"/>
              </a:ext>
            </a:extLst>
          </p:cNvPr>
          <p:cNvCxnSpPr>
            <a:cxnSpLocks/>
          </p:cNvCxnSpPr>
          <p:nvPr/>
        </p:nvCxnSpPr>
        <p:spPr>
          <a:xfrm>
            <a:off x="819968" y="3295282"/>
            <a:ext cx="330576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7C8632E0-E6F3-6693-D0FE-35C9CABF6243}"/>
              </a:ext>
            </a:extLst>
          </p:cNvPr>
          <p:cNvSpPr txBox="1">
            <a:spLocks/>
          </p:cNvSpPr>
          <p:nvPr/>
        </p:nvSpPr>
        <p:spPr>
          <a:xfrm>
            <a:off x="4402452" y="3522464"/>
            <a:ext cx="3387096" cy="1192634"/>
          </a:xfrm>
          <a:prstGeom prst="rect">
            <a:avLst/>
          </a:prstGeom>
        </p:spPr>
        <p:txBody>
          <a:bodyPr vert="horz" wrap="square" lIns="0" tIns="0" rIns="0" bIns="0" rtlCol="0">
            <a:spAutoFit/>
          </a:bodyPr>
          <a:lstStyle>
            <a:lvl1pPr marL="0" marR="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Map</a:t>
            </a:r>
            <a:b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br>
            <a: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Unified Catalog</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Quality</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Lineage</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it-IT"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Health Management</a:t>
            </a:r>
          </a:p>
        </p:txBody>
      </p:sp>
      <p:sp>
        <p:nvSpPr>
          <p:cNvPr id="15" name="TextBox 14">
            <a:extLst>
              <a:ext uri="{FF2B5EF4-FFF2-40B4-BE49-F238E27FC236}">
                <a16:creationId xmlns:a16="http://schemas.microsoft.com/office/drawing/2014/main" id="{905D5813-0B98-1808-4947-70EDC8416210}"/>
              </a:ext>
            </a:extLst>
          </p:cNvPr>
          <p:cNvSpPr txBox="1"/>
          <p:nvPr/>
        </p:nvSpPr>
        <p:spPr>
          <a:xfrm>
            <a:off x="4571896" y="2519988"/>
            <a:ext cx="3048208" cy="52322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Confidently activate your data &amp; accelerate time to insights</a:t>
            </a:r>
          </a:p>
        </p:txBody>
      </p:sp>
      <p:sp>
        <p:nvSpPr>
          <p:cNvPr id="16" name="Freeform 50">
            <a:extLst>
              <a:ext uri="{FF2B5EF4-FFF2-40B4-BE49-F238E27FC236}">
                <a16:creationId xmlns:a16="http://schemas.microsoft.com/office/drawing/2014/main" id="{6640EB17-CE13-0762-5E62-49A4B98BE6AD}"/>
              </a:ext>
            </a:extLst>
          </p:cNvPr>
          <p:cNvSpPr/>
          <p:nvPr/>
        </p:nvSpPr>
        <p:spPr>
          <a:xfrm>
            <a:off x="4494164" y="1927133"/>
            <a:ext cx="3203673" cy="402336"/>
          </a:xfrm>
          <a:prstGeom prst="roundRect">
            <a:avLst>
              <a:gd name="adj" fmla="val 50000"/>
            </a:avLst>
          </a:prstGeom>
          <a:gradFill>
            <a:gsLst>
              <a:gs pos="99000">
                <a:srgbClr val="49C4B0"/>
              </a:gs>
              <a:gs pos="0">
                <a:srgbClr val="6DD0C0"/>
              </a:gs>
            </a:gsLst>
            <a:lin ang="0" scaled="0"/>
          </a:gra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a:ln>
                  <a:noFill/>
                </a:ln>
                <a:solidFill>
                  <a:srgbClr val="FFFFFF"/>
                </a:solidFill>
                <a:effectLst/>
                <a:uLnTx/>
                <a:uFillTx/>
                <a:latin typeface="Segoe UI Semibold"/>
                <a:ea typeface="+mn-ea"/>
                <a:cs typeface="+mn-cs"/>
              </a:rPr>
              <a:t>DATA GOVERNANCE</a:t>
            </a:r>
          </a:p>
        </p:txBody>
      </p:sp>
      <p:cxnSp>
        <p:nvCxnSpPr>
          <p:cNvPr id="17" name="Straight Connector 16">
            <a:extLst>
              <a:ext uri="{FF2B5EF4-FFF2-40B4-BE49-F238E27FC236}">
                <a16:creationId xmlns:a16="http://schemas.microsoft.com/office/drawing/2014/main" id="{32415EC8-E63A-5C22-9733-26C034DF02F9}"/>
              </a:ext>
              <a:ext uri="{C183D7F6-B498-43B3-948B-1728B52AA6E4}">
                <adec:decorative xmlns:adec="http://schemas.microsoft.com/office/drawing/2017/decorative" val="1"/>
              </a:ext>
            </a:extLst>
          </p:cNvPr>
          <p:cNvCxnSpPr>
            <a:cxnSpLocks/>
          </p:cNvCxnSpPr>
          <p:nvPr/>
        </p:nvCxnSpPr>
        <p:spPr>
          <a:xfrm>
            <a:off x="4445260" y="3295282"/>
            <a:ext cx="330576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94A8E7DB-391F-569D-1F24-BAEFB6FBEEB7}"/>
              </a:ext>
            </a:extLst>
          </p:cNvPr>
          <p:cNvSpPr txBox="1">
            <a:spLocks/>
          </p:cNvSpPr>
          <p:nvPr/>
        </p:nvSpPr>
        <p:spPr>
          <a:xfrm>
            <a:off x="8013411" y="3522464"/>
            <a:ext cx="3387096" cy="1231106"/>
          </a:xfrm>
          <a:prstGeom prst="rect">
            <a:avLst/>
          </a:prstGeom>
        </p:spPr>
        <p:txBody>
          <a:bodyPr vert="horz" wrap="square" lIns="0" tIns="0" rIns="0" bIns="0" rtlCol="0" anchor="t">
            <a:spAutoFit/>
          </a:bodyPr>
          <a:lstStyle>
            <a:lvl1pPr marL="0" marR="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Compliance Manager</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eDiscovery and Audit</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Communication Compliance</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Data Lifecycle Management </a:t>
            </a:r>
          </a:p>
          <a:p>
            <a:pPr marL="0" marR="0" lvl="0" indent="0" algn="ctr" defTabSz="932563"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Records Management</a:t>
            </a:r>
          </a:p>
        </p:txBody>
      </p:sp>
      <p:sp>
        <p:nvSpPr>
          <p:cNvPr id="20" name="TextBox 19">
            <a:extLst>
              <a:ext uri="{FF2B5EF4-FFF2-40B4-BE49-F238E27FC236}">
                <a16:creationId xmlns:a16="http://schemas.microsoft.com/office/drawing/2014/main" id="{49879014-81B0-41E9-1EEE-3DE2C2234DD6}"/>
              </a:ext>
            </a:extLst>
          </p:cNvPr>
          <p:cNvSpPr txBox="1"/>
          <p:nvPr/>
        </p:nvSpPr>
        <p:spPr>
          <a:xfrm>
            <a:off x="8182855" y="2519988"/>
            <a:ext cx="3048208" cy="52322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C1C1C"/>
                </a:solidFill>
                <a:effectLst/>
                <a:uLnTx/>
                <a:uFillTx/>
                <a:latin typeface="Segoe UI Semibold" panose="020B0702040204020203" pitchFamily="34" charset="0"/>
                <a:ea typeface="+mn-ea"/>
                <a:cs typeface="Segoe UI Semibold" panose="020B0702040204020203" pitchFamily="34" charset="0"/>
              </a:rPr>
              <a:t>Manage critical risks and regulatory requirements</a:t>
            </a:r>
          </a:p>
        </p:txBody>
      </p:sp>
      <p:sp>
        <p:nvSpPr>
          <p:cNvPr id="21" name="Freeform 51">
            <a:extLst>
              <a:ext uri="{FF2B5EF4-FFF2-40B4-BE49-F238E27FC236}">
                <a16:creationId xmlns:a16="http://schemas.microsoft.com/office/drawing/2014/main" id="{C08B6FC8-1FA1-40EB-9791-16DEAB88A652}"/>
              </a:ext>
            </a:extLst>
          </p:cNvPr>
          <p:cNvSpPr/>
          <p:nvPr/>
        </p:nvSpPr>
        <p:spPr>
          <a:xfrm>
            <a:off x="8106759" y="1927133"/>
            <a:ext cx="3200400" cy="402336"/>
          </a:xfrm>
          <a:prstGeom prst="roundRect">
            <a:avLst>
              <a:gd name="adj" fmla="val 50000"/>
            </a:avLst>
          </a:prstGeom>
          <a:solidFill>
            <a:srgbClr val="002060"/>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a:ln>
                  <a:noFill/>
                </a:ln>
                <a:solidFill>
                  <a:srgbClr val="FFFFFF"/>
                </a:solidFill>
                <a:effectLst/>
                <a:uLnTx/>
                <a:uFillTx/>
                <a:latin typeface="Segoe UI Semibold"/>
                <a:ea typeface="+mn-ea"/>
                <a:cs typeface="+mn-cs"/>
              </a:rPr>
              <a:t>DATA COMPLIANCE</a:t>
            </a:r>
          </a:p>
        </p:txBody>
      </p:sp>
      <p:cxnSp>
        <p:nvCxnSpPr>
          <p:cNvPr id="22" name="Straight Connector 21">
            <a:extLst>
              <a:ext uri="{FF2B5EF4-FFF2-40B4-BE49-F238E27FC236}">
                <a16:creationId xmlns:a16="http://schemas.microsoft.com/office/drawing/2014/main" id="{E4D04B80-9F04-BD5B-9D2A-129E6D30711A}"/>
              </a:ext>
              <a:ext uri="{C183D7F6-B498-43B3-948B-1728B52AA6E4}">
                <adec:decorative xmlns:adec="http://schemas.microsoft.com/office/drawing/2017/decorative" val="1"/>
              </a:ext>
            </a:extLst>
          </p:cNvPr>
          <p:cNvCxnSpPr>
            <a:cxnSpLocks/>
          </p:cNvCxnSpPr>
          <p:nvPr/>
        </p:nvCxnSpPr>
        <p:spPr>
          <a:xfrm>
            <a:off x="8070554" y="3295282"/>
            <a:ext cx="330576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95A3F8F2-051D-726B-E348-84BF09954EC4}"/>
              </a:ext>
            </a:extLst>
          </p:cNvPr>
          <p:cNvSpPr/>
          <p:nvPr/>
        </p:nvSpPr>
        <p:spPr>
          <a:xfrm>
            <a:off x="4366075" y="1705094"/>
            <a:ext cx="3464032" cy="3048475"/>
          </a:xfrm>
          <a:prstGeom prst="roundRect">
            <a:avLst>
              <a:gd name="adj" fmla="val 3201"/>
            </a:avLst>
          </a:prstGeom>
          <a:noFill/>
          <a:ln w="28575">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33" name="Group 32">
            <a:extLst>
              <a:ext uri="{FF2B5EF4-FFF2-40B4-BE49-F238E27FC236}">
                <a16:creationId xmlns:a16="http://schemas.microsoft.com/office/drawing/2014/main" id="{4801D596-E89E-5000-431B-44C6EDB7626F}"/>
              </a:ext>
            </a:extLst>
          </p:cNvPr>
          <p:cNvGrpSpPr/>
          <p:nvPr/>
        </p:nvGrpSpPr>
        <p:grpSpPr>
          <a:xfrm>
            <a:off x="798206" y="5038865"/>
            <a:ext cx="10578117" cy="492982"/>
            <a:chOff x="798206" y="5106599"/>
            <a:chExt cx="10578117" cy="492982"/>
          </a:xfrm>
        </p:grpSpPr>
        <p:sp>
          <p:nvSpPr>
            <p:cNvPr id="24" name="Rectangle: Rounded Corners 23">
              <a:extLst>
                <a:ext uri="{FF2B5EF4-FFF2-40B4-BE49-F238E27FC236}">
                  <a16:creationId xmlns:a16="http://schemas.microsoft.com/office/drawing/2014/main" id="{6EE991D2-3E84-9C02-7DD7-E90823F4C645}"/>
                </a:ext>
              </a:extLst>
            </p:cNvPr>
            <p:cNvSpPr/>
            <p:nvPr/>
          </p:nvSpPr>
          <p:spPr bwMode="auto">
            <a:xfrm>
              <a:off x="7758325" y="5106599"/>
              <a:ext cx="3617998" cy="492981"/>
            </a:xfrm>
            <a:prstGeom prst="roundRect">
              <a:avLst>
                <a:gd name="adj" fmla="val 50000"/>
              </a:avLst>
            </a:prstGeom>
            <a:solidFill>
              <a:schemeClr val="bg1"/>
            </a:solid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78D4"/>
                  </a:solidFill>
                  <a:effectLst/>
                  <a:uLnTx/>
                  <a:uFillTx/>
                  <a:latin typeface="Segoe UI Semibold"/>
                  <a:ea typeface="+mn-ea"/>
                  <a:cs typeface="+mn-cs"/>
                </a:rPr>
                <a:t>        Microsoft and Multi-cloud</a:t>
              </a:r>
            </a:p>
          </p:txBody>
        </p:sp>
        <p:sp>
          <p:nvSpPr>
            <p:cNvPr id="25" name="Rectangle: Rounded Corners 24">
              <a:extLst>
                <a:ext uri="{FF2B5EF4-FFF2-40B4-BE49-F238E27FC236}">
                  <a16:creationId xmlns:a16="http://schemas.microsoft.com/office/drawing/2014/main" id="{7A73420D-0CD5-3983-BB3A-8FBC23308B91}"/>
                </a:ext>
              </a:extLst>
            </p:cNvPr>
            <p:cNvSpPr/>
            <p:nvPr/>
          </p:nvSpPr>
          <p:spPr bwMode="auto">
            <a:xfrm>
              <a:off x="798206" y="5106600"/>
              <a:ext cx="3599914" cy="492981"/>
            </a:xfrm>
            <a:prstGeom prst="roundRect">
              <a:avLst>
                <a:gd name="adj" fmla="val 50000"/>
              </a:avLst>
            </a:prstGeom>
            <a:solidFill>
              <a:schemeClr val="bg1"/>
            </a:solid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78D4"/>
                  </a:solidFill>
                  <a:effectLst/>
                  <a:uLnTx/>
                  <a:uFillTx/>
                  <a:latin typeface="Segoe UI Semibold"/>
                  <a:ea typeface="+mn-ea"/>
                  <a:cs typeface="+mn-cs"/>
                </a:rPr>
                <a:t>   Unstructured &amp; Structured data</a:t>
              </a:r>
            </a:p>
          </p:txBody>
        </p:sp>
        <p:sp>
          <p:nvSpPr>
            <p:cNvPr id="23" name="Rectangle: Rounded Corners 22">
              <a:extLst>
                <a:ext uri="{FF2B5EF4-FFF2-40B4-BE49-F238E27FC236}">
                  <a16:creationId xmlns:a16="http://schemas.microsoft.com/office/drawing/2014/main" id="{6F0AC573-02E6-82D7-F358-F0BF672A4DE4}"/>
                </a:ext>
              </a:extLst>
            </p:cNvPr>
            <p:cNvSpPr/>
            <p:nvPr/>
          </p:nvSpPr>
          <p:spPr bwMode="auto">
            <a:xfrm>
              <a:off x="3982574" y="5106600"/>
              <a:ext cx="4200728" cy="492981"/>
            </a:xfrm>
            <a:prstGeom prst="roundRect">
              <a:avLst>
                <a:gd name="adj" fmla="val 50000"/>
              </a:avLst>
            </a:prstGeom>
            <a:solidFill>
              <a:schemeClr val="accent1"/>
            </a:solidFill>
            <a:ln w="28575" cap="flat" cmpd="sng" algn="ctr">
              <a:solidFill>
                <a:schemeClr val="accent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Segoe UI Semibold"/>
                  <a:ea typeface="+mn-ea"/>
                  <a:cs typeface="+mn-cs"/>
                </a:rPr>
                <a:t>Traditional and AI generated data</a:t>
              </a:r>
            </a:p>
          </p:txBody>
        </p:sp>
      </p:grpSp>
      <p:sp>
        <p:nvSpPr>
          <p:cNvPr id="13" name="Title 2">
            <a:extLst>
              <a:ext uri="{FF2B5EF4-FFF2-40B4-BE49-F238E27FC236}">
                <a16:creationId xmlns:a16="http://schemas.microsoft.com/office/drawing/2014/main" id="{22530F8C-7586-DFD2-CF55-3D7D8668681C}"/>
              </a:ext>
            </a:extLst>
          </p:cNvPr>
          <p:cNvSpPr txBox="1">
            <a:spLocks/>
          </p:cNvSpPr>
          <p:nvPr/>
        </p:nvSpPr>
        <p:spPr>
          <a:xfrm>
            <a:off x="588963" y="457200"/>
            <a:ext cx="11017250"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bg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br>
              <a:rPr kumimoji="0" lang="en-US" sz="3600" b="0" i="0" u="none" strike="noStrike" kern="1200" cap="none" spc="0" normalizeH="0" baseline="0" noProof="0">
                <a:ln w="3175">
                  <a:noFill/>
                </a:ln>
                <a:solidFill>
                  <a:srgbClr val="1C1C1C"/>
                </a:solidFill>
                <a:effectLst/>
                <a:uLnTx/>
                <a:uFillTx/>
                <a:latin typeface="Segoe UI Semibold"/>
                <a:ea typeface="+mn-ea"/>
                <a:cs typeface="Segoe UI" pitchFamily="34" charset="0"/>
              </a:rPr>
            </a:br>
            <a:r>
              <a:rPr kumimoji="0" lang="en-US" sz="2400" b="0" i="0" u="none" strike="noStrike" kern="1200" cap="none" spc="0" normalizeH="0" baseline="0" noProof="0">
                <a:ln w="3175">
                  <a:noFill/>
                </a:ln>
                <a:solidFill>
                  <a:srgbClr val="1C1C1C"/>
                </a:solidFill>
                <a:effectLst/>
                <a:uLnTx/>
                <a:uFillTx/>
                <a:latin typeface="Segoe UI"/>
                <a:ea typeface="+mn-ea"/>
                <a:cs typeface="Segoe UI" pitchFamily="34" charset="0"/>
              </a:rPr>
              <a:t>Integrated solutions to secure &amp; govern your entire data estate</a:t>
            </a:r>
          </a:p>
        </p:txBody>
      </p:sp>
      <p:pic>
        <p:nvPicPr>
          <p:cNvPr id="26" name="Picture 25">
            <a:extLst>
              <a:ext uri="{FF2B5EF4-FFF2-40B4-BE49-F238E27FC236}">
                <a16:creationId xmlns:a16="http://schemas.microsoft.com/office/drawing/2014/main" id="{98B9D210-0F1D-E418-A2B7-0165E5AE3F5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17960" y="447869"/>
            <a:ext cx="435791" cy="435791"/>
          </a:xfrm>
          <a:prstGeom prst="rect">
            <a:avLst/>
          </a:prstGeom>
        </p:spPr>
      </p:pic>
      <p:sp>
        <p:nvSpPr>
          <p:cNvPr id="29" name="TextBox 28">
            <a:extLst>
              <a:ext uri="{FF2B5EF4-FFF2-40B4-BE49-F238E27FC236}">
                <a16:creationId xmlns:a16="http://schemas.microsoft.com/office/drawing/2014/main" id="{405FF762-E1A1-514C-2D8E-3B5F8E546923}"/>
              </a:ext>
            </a:extLst>
          </p:cNvPr>
          <p:cNvSpPr txBox="1">
            <a:spLocks/>
          </p:cNvSpPr>
          <p:nvPr/>
        </p:nvSpPr>
        <p:spPr>
          <a:xfrm>
            <a:off x="3477231" y="368685"/>
            <a:ext cx="4940628" cy="553998"/>
          </a:xfrm>
          <a:prstGeom prst="rect">
            <a:avLst/>
          </a:prstGeom>
        </p:spPr>
        <p:txBody>
          <a:bodyPr wrap="square" lIns="0" tIns="0" rIns="0" bIns="0">
            <a:spAutoFit/>
          </a:bodyPr>
          <a:lstStyle/>
          <a:p>
            <a:pPr marL="0" marR="0" lvl="0" indent="0" algn="ctr" defTabSz="932472" rtl="0" eaLnBrk="1" fontAlgn="base" latinLnBrk="0" hangingPunct="1">
              <a:lnSpc>
                <a:spcPct val="100000"/>
              </a:lnSpc>
              <a:spcBef>
                <a:spcPts val="0"/>
              </a:spcBef>
              <a:spcAft>
                <a:spcPct val="0"/>
              </a:spcAft>
              <a:buClrTx/>
              <a:buSzTx/>
              <a:buFontTx/>
              <a:buNone/>
              <a:tabLst/>
              <a:defRPr/>
            </a:pPr>
            <a:r>
              <a:rPr kumimoji="0" lang="en-US" sz="3600" b="0" i="0" u="none" strike="noStrike" kern="1200" cap="none" spc="-50" normalizeH="0" baseline="0" noProof="0">
                <a:ln w="3175">
                  <a:noFill/>
                </a:ln>
                <a:solidFill>
                  <a:srgbClr val="0078D4"/>
                </a:solidFill>
                <a:effectLst/>
                <a:uLnTx/>
                <a:uFillTx/>
                <a:latin typeface="Segoe Sans Display Semibold"/>
                <a:ea typeface="+mn-ea"/>
                <a:cs typeface="+mn-cs"/>
              </a:rPr>
              <a:t>Microsoft Purview</a:t>
            </a:r>
          </a:p>
        </p:txBody>
      </p:sp>
      <p:sp>
        <p:nvSpPr>
          <p:cNvPr id="30" name="Arrow: Bent 29">
            <a:extLst>
              <a:ext uri="{FF2B5EF4-FFF2-40B4-BE49-F238E27FC236}">
                <a16:creationId xmlns:a16="http://schemas.microsoft.com/office/drawing/2014/main" id="{CE6DE231-33E7-18A2-EA9C-06E25A374D9E}"/>
              </a:ext>
              <a:ext uri="{C183D7F6-B498-43B3-948B-1728B52AA6E4}">
                <adec:decorative xmlns:adec="http://schemas.microsoft.com/office/drawing/2017/decorative" val="1"/>
              </a:ext>
            </a:extLst>
          </p:cNvPr>
          <p:cNvSpPr/>
          <p:nvPr/>
        </p:nvSpPr>
        <p:spPr bwMode="auto">
          <a:xfrm rot="16200000">
            <a:off x="1488282" y="5013059"/>
            <a:ext cx="336550" cy="1516063"/>
          </a:xfrm>
          <a:prstGeom prst="bentArrow">
            <a:avLst>
              <a:gd name="adj1" fmla="val 0"/>
              <a:gd name="adj2" fmla="val 0"/>
              <a:gd name="adj3" fmla="val 0"/>
              <a:gd name="adj4" fmla="val 22981"/>
            </a:avLst>
          </a:prstGeom>
          <a:solidFill>
            <a:schemeClr val="tx2"/>
          </a:solid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31" name="Group 30">
            <a:extLst>
              <a:ext uri="{FF2B5EF4-FFF2-40B4-BE49-F238E27FC236}">
                <a16:creationId xmlns:a16="http://schemas.microsoft.com/office/drawing/2014/main" id="{EC28419A-B64F-CC52-827D-0D658CDB4F1E}"/>
              </a:ext>
              <a:ext uri="{C183D7F6-B498-43B3-948B-1728B52AA6E4}">
                <adec:decorative xmlns:adec="http://schemas.microsoft.com/office/drawing/2017/decorative" val="1"/>
              </a:ext>
            </a:extLst>
          </p:cNvPr>
          <p:cNvGrpSpPr/>
          <p:nvPr/>
        </p:nvGrpSpPr>
        <p:grpSpPr>
          <a:xfrm>
            <a:off x="9546906" y="5529475"/>
            <a:ext cx="1796862" cy="445133"/>
            <a:chOff x="8754561" y="5597209"/>
            <a:chExt cx="2593915" cy="445133"/>
          </a:xfrm>
          <a:solidFill>
            <a:schemeClr val="accent1"/>
          </a:solidFill>
        </p:grpSpPr>
        <p:sp>
          <p:nvSpPr>
            <p:cNvPr id="32" name="Arrow: Bent 31">
              <a:extLst>
                <a:ext uri="{FF2B5EF4-FFF2-40B4-BE49-F238E27FC236}">
                  <a16:creationId xmlns:a16="http://schemas.microsoft.com/office/drawing/2014/main" id="{BFFC3365-8305-5B41-626E-42DD364CC769}"/>
                </a:ext>
              </a:extLst>
            </p:cNvPr>
            <p:cNvSpPr/>
            <p:nvPr/>
          </p:nvSpPr>
          <p:spPr bwMode="auto">
            <a:xfrm rot="5400000" flipH="1">
              <a:off x="9909175" y="4622800"/>
              <a:ext cx="336550" cy="2432050"/>
            </a:xfrm>
            <a:prstGeom prst="bentArrow">
              <a:avLst>
                <a:gd name="adj1" fmla="val 25000"/>
                <a:gd name="adj2" fmla="val 0"/>
                <a:gd name="adj3" fmla="val 0"/>
                <a:gd name="adj4" fmla="val 22981"/>
              </a:avLst>
            </a:prstGeom>
            <a:grp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 name="Oval 33">
              <a:extLst>
                <a:ext uri="{FF2B5EF4-FFF2-40B4-BE49-F238E27FC236}">
                  <a16:creationId xmlns:a16="http://schemas.microsoft.com/office/drawing/2014/main" id="{9C589369-B9D8-8F4B-ABB1-04902CE3A4A3}"/>
                </a:ext>
              </a:extLst>
            </p:cNvPr>
            <p:cNvSpPr/>
            <p:nvPr/>
          </p:nvSpPr>
          <p:spPr bwMode="auto">
            <a:xfrm>
              <a:off x="8754561" y="5966142"/>
              <a:ext cx="110001" cy="7620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5" name="Oval 34">
              <a:extLst>
                <a:ext uri="{FF2B5EF4-FFF2-40B4-BE49-F238E27FC236}">
                  <a16:creationId xmlns:a16="http://schemas.microsoft.com/office/drawing/2014/main" id="{B048662F-A759-270D-D427-3FE369C78697}"/>
                </a:ext>
              </a:extLst>
            </p:cNvPr>
            <p:cNvSpPr/>
            <p:nvPr/>
          </p:nvSpPr>
          <p:spPr bwMode="auto">
            <a:xfrm>
              <a:off x="11238475" y="5597209"/>
              <a:ext cx="110001" cy="7620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sp>
        <p:nvSpPr>
          <p:cNvPr id="36" name="Oval 35">
            <a:extLst>
              <a:ext uri="{FF2B5EF4-FFF2-40B4-BE49-F238E27FC236}">
                <a16:creationId xmlns:a16="http://schemas.microsoft.com/office/drawing/2014/main" id="{F678BD2F-0C60-7BDE-4694-1BC30653F3CD}"/>
              </a:ext>
              <a:ext uri="{C183D7F6-B498-43B3-948B-1728B52AA6E4}">
                <adec:decorative xmlns:adec="http://schemas.microsoft.com/office/drawing/2017/decorative" val="1"/>
              </a:ext>
            </a:extLst>
          </p:cNvPr>
          <p:cNvSpPr/>
          <p:nvPr/>
        </p:nvSpPr>
        <p:spPr bwMode="auto">
          <a:xfrm>
            <a:off x="2377386" y="5899995"/>
            <a:ext cx="76200" cy="76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7" name="Oval 36">
            <a:extLst>
              <a:ext uri="{FF2B5EF4-FFF2-40B4-BE49-F238E27FC236}">
                <a16:creationId xmlns:a16="http://schemas.microsoft.com/office/drawing/2014/main" id="{D02EEC54-CB7B-B140-EA74-053DB390994B}"/>
              </a:ext>
              <a:ext uri="{C183D7F6-B498-43B3-948B-1728B52AA6E4}">
                <adec:decorative xmlns:adec="http://schemas.microsoft.com/office/drawing/2017/decorative" val="1"/>
              </a:ext>
            </a:extLst>
          </p:cNvPr>
          <p:cNvSpPr/>
          <p:nvPr/>
        </p:nvSpPr>
        <p:spPr bwMode="auto">
          <a:xfrm>
            <a:off x="863601" y="5529791"/>
            <a:ext cx="76200" cy="76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Tree>
    <p:extLst>
      <p:ext uri="{BB962C8B-B14F-4D97-AF65-F5344CB8AC3E}">
        <p14:creationId xmlns:p14="http://schemas.microsoft.com/office/powerpoint/2010/main" val="3398912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703F19-9B1F-3EC9-69B2-9779503058D5}"/>
            </a:ext>
          </a:extLst>
        </p:cNvPr>
        <p:cNvGrpSpPr/>
        <p:nvPr/>
      </p:nvGrpSpPr>
      <p:grpSpPr>
        <a:xfrm>
          <a:off x="0" y="0"/>
          <a:ext cx="0" cy="0"/>
          <a:chOff x="0" y="0"/>
          <a:chExt cx="0" cy="0"/>
        </a:xfrm>
      </p:grpSpPr>
      <p:sp>
        <p:nvSpPr>
          <p:cNvPr id="319" name="Freeform: Shape 318">
            <a:extLst>
              <a:ext uri="{FF2B5EF4-FFF2-40B4-BE49-F238E27FC236}">
                <a16:creationId xmlns:a16="http://schemas.microsoft.com/office/drawing/2014/main" id="{73502900-0571-40F6-2334-E5ABADA38557}"/>
              </a:ext>
              <a:ext uri="{C183D7F6-B498-43B3-948B-1728B52AA6E4}">
                <adec:decorative xmlns:adec="http://schemas.microsoft.com/office/drawing/2017/decorative" val="1"/>
              </a:ext>
            </a:extLst>
          </p:cNvPr>
          <p:cNvSpPr/>
          <p:nvPr/>
        </p:nvSpPr>
        <p:spPr bwMode="auto">
          <a:xfrm>
            <a:off x="1" y="2017712"/>
            <a:ext cx="4407243" cy="3968940"/>
          </a:xfrm>
          <a:custGeom>
            <a:avLst/>
            <a:gdLst>
              <a:gd name="connsiteX0" fmla="*/ 0 w 4407243"/>
              <a:gd name="connsiteY0" fmla="*/ 0 h 3968940"/>
              <a:gd name="connsiteX1" fmla="*/ 2422773 w 4407243"/>
              <a:gd name="connsiteY1" fmla="*/ 0 h 3968940"/>
              <a:gd name="connsiteX2" fmla="*/ 4407243 w 4407243"/>
              <a:gd name="connsiteY2" fmla="*/ 1984470 h 3968940"/>
              <a:gd name="connsiteX3" fmla="*/ 4407242 w 4407243"/>
              <a:gd name="connsiteY3" fmla="*/ 1984470 h 3968940"/>
              <a:gd name="connsiteX4" fmla="*/ 2422772 w 4407243"/>
              <a:gd name="connsiteY4" fmla="*/ 3968940 h 3968940"/>
              <a:gd name="connsiteX5" fmla="*/ 0 w 4407243"/>
              <a:gd name="connsiteY5" fmla="*/ 3968939 h 396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7243" h="3968940">
                <a:moveTo>
                  <a:pt x="0" y="0"/>
                </a:moveTo>
                <a:lnTo>
                  <a:pt x="2422773" y="0"/>
                </a:lnTo>
                <a:cubicBezTo>
                  <a:pt x="3518766" y="0"/>
                  <a:pt x="4407243" y="888477"/>
                  <a:pt x="4407243" y="1984470"/>
                </a:cubicBezTo>
                <a:lnTo>
                  <a:pt x="4407242" y="1984470"/>
                </a:lnTo>
                <a:cubicBezTo>
                  <a:pt x="4407242" y="3080463"/>
                  <a:pt x="3518765" y="3968940"/>
                  <a:pt x="2422772" y="3968940"/>
                </a:cubicBezTo>
                <a:lnTo>
                  <a:pt x="0" y="3968939"/>
                </a:lnTo>
                <a:close/>
              </a:path>
            </a:pathLst>
          </a:custGeom>
          <a:solidFill>
            <a:schemeClr val="tx2"/>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Segoe Sans Display Semibold"/>
              <a:ea typeface="+mn-ea"/>
              <a:cs typeface="Segoe UI" pitchFamily="34" charset="0"/>
            </a:endParaRPr>
          </a:p>
        </p:txBody>
      </p:sp>
      <p:sp>
        <p:nvSpPr>
          <p:cNvPr id="314" name="Graphic 312">
            <a:extLst>
              <a:ext uri="{FF2B5EF4-FFF2-40B4-BE49-F238E27FC236}">
                <a16:creationId xmlns:a16="http://schemas.microsoft.com/office/drawing/2014/main" id="{24BAFAC8-8DAE-55AB-99DD-354B783DB40B}"/>
              </a:ext>
              <a:ext uri="{C183D7F6-B498-43B3-948B-1728B52AA6E4}">
                <adec:decorative xmlns:adec="http://schemas.microsoft.com/office/drawing/2017/decorative" val="1"/>
              </a:ext>
            </a:extLst>
          </p:cNvPr>
          <p:cNvSpPr/>
          <p:nvPr/>
        </p:nvSpPr>
        <p:spPr>
          <a:xfrm>
            <a:off x="3178" y="0"/>
            <a:ext cx="12188758" cy="3424884"/>
          </a:xfrm>
          <a:custGeom>
            <a:avLst/>
            <a:gdLst>
              <a:gd name="connsiteX0" fmla="*/ 12188758 w 12188758"/>
              <a:gd name="connsiteY0" fmla="*/ 3424884 h 3424884"/>
              <a:gd name="connsiteX1" fmla="*/ 4710702 w 12188758"/>
              <a:gd name="connsiteY1" fmla="*/ 3424884 h 3424884"/>
              <a:gd name="connsiteX2" fmla="*/ 4445249 w 12188758"/>
              <a:gd name="connsiteY2" fmla="*/ 3242767 h 3424884"/>
              <a:gd name="connsiteX3" fmla="*/ 2423907 w 12188758"/>
              <a:gd name="connsiteY3" fmla="*/ 1852955 h 3424884"/>
              <a:gd name="connsiteX4" fmla="*/ 131328 w 12188758"/>
              <a:gd name="connsiteY4" fmla="*/ 1852955 h 3424884"/>
              <a:gd name="connsiteX5" fmla="*/ 0 w 12188758"/>
              <a:gd name="connsiteY5" fmla="*/ 1856960 h 3424884"/>
              <a:gd name="connsiteX6" fmla="*/ 0 w 12188758"/>
              <a:gd name="connsiteY6" fmla="*/ 0 h 3424884"/>
              <a:gd name="connsiteX7" fmla="*/ 12188758 w 12188758"/>
              <a:gd name="connsiteY7" fmla="*/ 0 h 3424884"/>
              <a:gd name="connsiteX8" fmla="*/ 12188758 w 12188758"/>
              <a:gd name="connsiteY8" fmla="*/ 3424884 h 34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758" h="3424884">
                <a:moveTo>
                  <a:pt x="12188758" y="3424884"/>
                </a:moveTo>
                <a:lnTo>
                  <a:pt x="4710702" y="3424884"/>
                </a:lnTo>
                <a:cubicBezTo>
                  <a:pt x="4593104" y="3424884"/>
                  <a:pt x="4487711" y="3352483"/>
                  <a:pt x="4445249" y="3242767"/>
                </a:cubicBezTo>
                <a:cubicBezTo>
                  <a:pt x="4131486" y="2431917"/>
                  <a:pt x="3341994" y="1852955"/>
                  <a:pt x="2423907" y="1852955"/>
                </a:cubicBezTo>
                <a:lnTo>
                  <a:pt x="131328" y="1852955"/>
                </a:lnTo>
                <a:cubicBezTo>
                  <a:pt x="87276" y="1852955"/>
                  <a:pt x="43479" y="1854354"/>
                  <a:pt x="0" y="1856960"/>
                </a:cubicBezTo>
                <a:lnTo>
                  <a:pt x="0" y="0"/>
                </a:lnTo>
                <a:lnTo>
                  <a:pt x="12188758" y="0"/>
                </a:lnTo>
                <a:lnTo>
                  <a:pt x="12188758" y="3424884"/>
                </a:lnTo>
                <a:close/>
              </a:path>
            </a:pathLst>
          </a:custGeom>
          <a:gradFill>
            <a:gsLst>
              <a:gs pos="0">
                <a:srgbClr val="C3E5FF"/>
              </a:gs>
              <a:gs pos="100000">
                <a:srgbClr val="FFFF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11" name="Graphic 309">
            <a:extLst>
              <a:ext uri="{FF2B5EF4-FFF2-40B4-BE49-F238E27FC236}">
                <a16:creationId xmlns:a16="http://schemas.microsoft.com/office/drawing/2014/main" id="{5F537757-C988-4E23-5F01-F892B62A1372}"/>
              </a:ext>
              <a:ext uri="{C183D7F6-B498-43B3-948B-1728B52AA6E4}">
                <adec:decorative xmlns:adec="http://schemas.microsoft.com/office/drawing/2017/decorative" val="1"/>
              </a:ext>
            </a:extLst>
          </p:cNvPr>
          <p:cNvSpPr/>
          <p:nvPr/>
        </p:nvSpPr>
        <p:spPr>
          <a:xfrm>
            <a:off x="190" y="1842945"/>
            <a:ext cx="12188821" cy="1571928"/>
          </a:xfrm>
          <a:custGeom>
            <a:avLst/>
            <a:gdLst>
              <a:gd name="connsiteX0" fmla="*/ 0 w 12188821"/>
              <a:gd name="connsiteY0" fmla="*/ 4005 h 1571928"/>
              <a:gd name="connsiteX1" fmla="*/ 131328 w 12188821"/>
              <a:gd name="connsiteY1" fmla="*/ 0 h 1571928"/>
              <a:gd name="connsiteX2" fmla="*/ 2423971 w 12188821"/>
              <a:gd name="connsiteY2" fmla="*/ 0 h 1571928"/>
              <a:gd name="connsiteX3" fmla="*/ 4445313 w 12188821"/>
              <a:gd name="connsiteY3" fmla="*/ 1389812 h 1571928"/>
              <a:gd name="connsiteX4" fmla="*/ 4710765 w 12188821"/>
              <a:gd name="connsiteY4" fmla="*/ 1571929 h 1571928"/>
              <a:gd name="connsiteX5" fmla="*/ 12188822 w 12188821"/>
              <a:gd name="connsiteY5" fmla="*/ 1571929 h 157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1" h="1571928">
                <a:moveTo>
                  <a:pt x="0" y="4005"/>
                </a:moveTo>
                <a:cubicBezTo>
                  <a:pt x="43479" y="1398"/>
                  <a:pt x="87213" y="0"/>
                  <a:pt x="131328" y="0"/>
                </a:cubicBezTo>
                <a:lnTo>
                  <a:pt x="2423971" y="0"/>
                </a:lnTo>
                <a:cubicBezTo>
                  <a:pt x="3342121" y="0"/>
                  <a:pt x="4131550" y="578961"/>
                  <a:pt x="4445313" y="1389812"/>
                </a:cubicBezTo>
                <a:cubicBezTo>
                  <a:pt x="4487775" y="1499527"/>
                  <a:pt x="4593104" y="1571929"/>
                  <a:pt x="4710765" y="1571929"/>
                </a:cubicBezTo>
                <a:lnTo>
                  <a:pt x="12188822" y="1571929"/>
                </a:lnTo>
              </a:path>
            </a:pathLst>
          </a:custGeom>
          <a:no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egoe Sans Display Semibold"/>
              <a:ea typeface="+mn-ea"/>
              <a:cs typeface="+mn-cs"/>
            </a:endParaRPr>
          </a:p>
        </p:txBody>
      </p:sp>
      <p:sp>
        <p:nvSpPr>
          <p:cNvPr id="17" name="Title 16">
            <a:extLst>
              <a:ext uri="{FF2B5EF4-FFF2-40B4-BE49-F238E27FC236}">
                <a16:creationId xmlns:a16="http://schemas.microsoft.com/office/drawing/2014/main" id="{DC9591C5-4462-45E5-453C-8CD37EC9D71C}"/>
              </a:ext>
            </a:extLst>
          </p:cNvPr>
          <p:cNvSpPr>
            <a:spLocks noGrp="1"/>
          </p:cNvSpPr>
          <p:nvPr>
            <p:ph type="title"/>
          </p:nvPr>
        </p:nvSpPr>
        <p:spPr>
          <a:xfrm>
            <a:off x="588963" y="457200"/>
            <a:ext cx="11017250" cy="492443"/>
          </a:xfrm>
        </p:spPr>
        <p:txBody>
          <a:bodyPr/>
          <a:lstStyle/>
          <a:p>
            <a:r>
              <a:rPr lang="en-US">
                <a:solidFill>
                  <a:schemeClr val="tx1"/>
                </a:solidFill>
                <a:latin typeface="Segoe UI" panose="020B0502040204020203" pitchFamily="34" charset="0"/>
              </a:rPr>
              <a:t>Why is data governance so hard for organizations?</a:t>
            </a:r>
          </a:p>
        </p:txBody>
      </p:sp>
      <p:sp>
        <p:nvSpPr>
          <p:cNvPr id="305" name="Oval 304">
            <a:extLst>
              <a:ext uri="{FF2B5EF4-FFF2-40B4-BE49-F238E27FC236}">
                <a16:creationId xmlns:a16="http://schemas.microsoft.com/office/drawing/2014/main" id="{171D83D3-55D6-A035-D576-0EB2D4D2E2D0}"/>
              </a:ext>
            </a:extLst>
          </p:cNvPr>
          <p:cNvSpPr/>
          <p:nvPr/>
        </p:nvSpPr>
        <p:spPr bwMode="auto">
          <a:xfrm>
            <a:off x="1297353" y="2859656"/>
            <a:ext cx="2225846" cy="2225844"/>
          </a:xfrm>
          <a:prstGeom prst="ellipse">
            <a:avLst/>
          </a:prstGeom>
          <a:solidFill>
            <a:schemeClr val="tx2">
              <a:lumMod val="50000"/>
            </a:schemeClr>
          </a:solidFill>
          <a:ln>
            <a:noFill/>
            <a:headEnd type="none" w="med" len="med"/>
            <a:tailEnd type="none" w="med" len="med"/>
          </a:ln>
          <a:effectLst>
            <a:outerShdw blurRad="190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Freeform: Shape 26">
            <a:extLst>
              <a:ext uri="{FF2B5EF4-FFF2-40B4-BE49-F238E27FC236}">
                <a16:creationId xmlns:a16="http://schemas.microsoft.com/office/drawing/2014/main" id="{25EE8B32-CEF6-96FA-A1B3-A84039E0C7BE}"/>
              </a:ext>
            </a:extLst>
          </p:cNvPr>
          <p:cNvSpPr/>
          <p:nvPr/>
        </p:nvSpPr>
        <p:spPr>
          <a:xfrm>
            <a:off x="1214392" y="4239211"/>
            <a:ext cx="548962" cy="767224"/>
          </a:xfrm>
          <a:custGeom>
            <a:avLst/>
            <a:gdLst>
              <a:gd name="connsiteX0" fmla="*/ 541958 w 548962"/>
              <a:gd name="connsiteY0" fmla="*/ 767224 h 767224"/>
              <a:gd name="connsiteX1" fmla="*/ 541866 w 548962"/>
              <a:gd name="connsiteY1" fmla="*/ 767169 h 767224"/>
              <a:gd name="connsiteX2" fmla="*/ 189729 w 548962"/>
              <a:gd name="connsiteY2" fmla="*/ 432055 h 767224"/>
              <a:gd name="connsiteX3" fmla="*/ 73796 w 548962"/>
              <a:gd name="connsiteY3" fmla="*/ 225854 h 767224"/>
              <a:gd name="connsiteX4" fmla="*/ 0 w 548962"/>
              <a:gd name="connsiteY4" fmla="*/ 2923 h 767224"/>
              <a:gd name="connsiteX5" fmla="*/ 12777 w 548962"/>
              <a:gd name="connsiteY5" fmla="*/ 0 h 767224"/>
              <a:gd name="connsiteX6" fmla="*/ 548779 w 548962"/>
              <a:gd name="connsiteY6" fmla="*/ 756046 h 767224"/>
              <a:gd name="connsiteX7" fmla="*/ 548963 w 548962"/>
              <a:gd name="connsiteY7" fmla="*/ 756157 h 767224"/>
              <a:gd name="connsiteX8" fmla="*/ 541940 w 548962"/>
              <a:gd name="connsiteY8" fmla="*/ 767224 h 76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962" h="767224">
                <a:moveTo>
                  <a:pt x="541958" y="767224"/>
                </a:moveTo>
                <a:lnTo>
                  <a:pt x="541866" y="767169"/>
                </a:lnTo>
                <a:cubicBezTo>
                  <a:pt x="401960" y="679162"/>
                  <a:pt x="283490" y="566428"/>
                  <a:pt x="189729" y="432055"/>
                </a:cubicBezTo>
                <a:cubicBezTo>
                  <a:pt x="144668" y="367489"/>
                  <a:pt x="105656" y="298105"/>
                  <a:pt x="73796" y="225854"/>
                </a:cubicBezTo>
                <a:cubicBezTo>
                  <a:pt x="42229" y="154283"/>
                  <a:pt x="17410" y="79293"/>
                  <a:pt x="0" y="2923"/>
                </a:cubicBezTo>
                <a:lnTo>
                  <a:pt x="12777" y="0"/>
                </a:lnTo>
                <a:cubicBezTo>
                  <a:pt x="84661" y="315332"/>
                  <a:pt x="275033" y="583838"/>
                  <a:pt x="548779" y="756046"/>
                </a:cubicBezTo>
                <a:lnTo>
                  <a:pt x="548963" y="756157"/>
                </a:lnTo>
                <a:lnTo>
                  <a:pt x="541940" y="767224"/>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8" name="Freeform: Shape 27">
            <a:extLst>
              <a:ext uri="{FF2B5EF4-FFF2-40B4-BE49-F238E27FC236}">
                <a16:creationId xmlns:a16="http://schemas.microsoft.com/office/drawing/2014/main" id="{1A053ED2-287F-40F0-91D8-51D256494EBF}"/>
              </a:ext>
            </a:extLst>
          </p:cNvPr>
          <p:cNvSpPr/>
          <p:nvPr/>
        </p:nvSpPr>
        <p:spPr>
          <a:xfrm>
            <a:off x="1366634" y="2740245"/>
            <a:ext cx="2271246" cy="1883864"/>
          </a:xfrm>
          <a:custGeom>
            <a:avLst/>
            <a:gdLst>
              <a:gd name="connsiteX0" fmla="*/ 2082658 w 2271246"/>
              <a:gd name="connsiteY0" fmla="*/ 1883865 h 1883864"/>
              <a:gd name="connsiteX1" fmla="*/ 2068796 w 2271246"/>
              <a:gd name="connsiteY1" fmla="*/ 1875150 h 1883864"/>
              <a:gd name="connsiteX2" fmla="*/ 2254884 w 2271246"/>
              <a:gd name="connsiteY2" fmla="*/ 1230882 h 1883864"/>
              <a:gd name="connsiteX3" fmla="*/ 1687518 w 2271246"/>
              <a:gd name="connsiteY3" fmla="*/ 202818 h 1883864"/>
              <a:gd name="connsiteX4" fmla="*/ 1042680 w 2271246"/>
              <a:gd name="connsiteY4" fmla="*/ 16362 h 1883864"/>
              <a:gd name="connsiteX5" fmla="*/ 14616 w 2271246"/>
              <a:gd name="connsiteY5" fmla="*/ 583728 h 1883864"/>
              <a:gd name="connsiteX6" fmla="*/ 13899 w 2271246"/>
              <a:gd name="connsiteY6" fmla="*/ 584868 h 1883864"/>
              <a:gd name="connsiteX7" fmla="*/ 0 w 2271246"/>
              <a:gd name="connsiteY7" fmla="*/ 576208 h 1883864"/>
              <a:gd name="connsiteX8" fmla="*/ 772 w 2271246"/>
              <a:gd name="connsiteY8" fmla="*/ 574977 h 1883864"/>
              <a:gd name="connsiteX9" fmla="*/ 456102 w 2271246"/>
              <a:gd name="connsiteY9" fmla="*/ 148216 h 1883864"/>
              <a:gd name="connsiteX10" fmla="*/ 1042680 w 2271246"/>
              <a:gd name="connsiteY10" fmla="*/ 0 h 1883864"/>
              <a:gd name="connsiteX11" fmla="*/ 1696233 w 2271246"/>
              <a:gd name="connsiteY11" fmla="*/ 188975 h 1883864"/>
              <a:gd name="connsiteX12" fmla="*/ 2123030 w 2271246"/>
              <a:gd name="connsiteY12" fmla="*/ 644323 h 1883864"/>
              <a:gd name="connsiteX13" fmla="*/ 2271246 w 2271246"/>
              <a:gd name="connsiteY13" fmla="*/ 1230901 h 1883864"/>
              <a:gd name="connsiteX14" fmla="*/ 2082658 w 2271246"/>
              <a:gd name="connsiteY14" fmla="*/ 1883865 h 188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246" h="1883864">
                <a:moveTo>
                  <a:pt x="2082658" y="1883865"/>
                </a:moveTo>
                <a:lnTo>
                  <a:pt x="2068796" y="1875150"/>
                </a:lnTo>
                <a:cubicBezTo>
                  <a:pt x="2190538" y="1681395"/>
                  <a:pt x="2254884" y="1458612"/>
                  <a:pt x="2254884" y="1230882"/>
                </a:cubicBezTo>
                <a:cubicBezTo>
                  <a:pt x="2254884" y="810611"/>
                  <a:pt x="2042782" y="426301"/>
                  <a:pt x="1687518" y="202818"/>
                </a:cubicBezTo>
                <a:cubicBezTo>
                  <a:pt x="1493616" y="80837"/>
                  <a:pt x="1270649" y="16362"/>
                  <a:pt x="1042680" y="16362"/>
                </a:cubicBezTo>
                <a:cubicBezTo>
                  <a:pt x="622409" y="16362"/>
                  <a:pt x="238080" y="228465"/>
                  <a:pt x="14616" y="583728"/>
                </a:cubicBezTo>
                <a:lnTo>
                  <a:pt x="13899" y="584868"/>
                </a:lnTo>
                <a:lnTo>
                  <a:pt x="0" y="576208"/>
                </a:lnTo>
                <a:lnTo>
                  <a:pt x="772" y="574977"/>
                </a:lnTo>
                <a:cubicBezTo>
                  <a:pt x="113469" y="395819"/>
                  <a:pt x="270933" y="248228"/>
                  <a:pt x="456102" y="148216"/>
                </a:cubicBezTo>
                <a:cubicBezTo>
                  <a:pt x="635646" y="51256"/>
                  <a:pt x="838464" y="0"/>
                  <a:pt x="1042680" y="0"/>
                </a:cubicBezTo>
                <a:cubicBezTo>
                  <a:pt x="1273719" y="0"/>
                  <a:pt x="1499720" y="65339"/>
                  <a:pt x="1696233" y="188975"/>
                </a:cubicBezTo>
                <a:cubicBezTo>
                  <a:pt x="1875445" y="301690"/>
                  <a:pt x="2023018" y="459154"/>
                  <a:pt x="2123030" y="644323"/>
                </a:cubicBezTo>
                <a:cubicBezTo>
                  <a:pt x="2219990" y="823848"/>
                  <a:pt x="2271246" y="1026685"/>
                  <a:pt x="2271246" y="1230901"/>
                </a:cubicBezTo>
                <a:cubicBezTo>
                  <a:pt x="2271246" y="1461719"/>
                  <a:pt x="2206036" y="1687499"/>
                  <a:pt x="2082658" y="188386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Freeform: Shape 28">
            <a:extLst>
              <a:ext uri="{FF2B5EF4-FFF2-40B4-BE49-F238E27FC236}">
                <a16:creationId xmlns:a16="http://schemas.microsoft.com/office/drawing/2014/main" id="{E47BABFB-07FF-78FF-47FD-E818F4CB3698}"/>
              </a:ext>
            </a:extLst>
          </p:cNvPr>
          <p:cNvSpPr/>
          <p:nvPr/>
        </p:nvSpPr>
        <p:spPr>
          <a:xfrm>
            <a:off x="855507" y="2417358"/>
            <a:ext cx="3105279" cy="3105260"/>
          </a:xfrm>
          <a:custGeom>
            <a:avLst/>
            <a:gdLst>
              <a:gd name="connsiteX0" fmla="*/ 1553936 w 3105279"/>
              <a:gd name="connsiteY0" fmla="*/ 3105261 h 3105260"/>
              <a:gd name="connsiteX1" fmla="*/ 1548715 w 3105279"/>
              <a:gd name="connsiteY1" fmla="*/ 3105261 h 3105260"/>
              <a:gd name="connsiteX2" fmla="*/ 1548807 w 3105279"/>
              <a:gd name="connsiteY2" fmla="*/ 3076286 h 3105260"/>
              <a:gd name="connsiteX3" fmla="*/ 1553844 w 3105279"/>
              <a:gd name="connsiteY3" fmla="*/ 3076286 h 3105260"/>
              <a:gd name="connsiteX4" fmla="*/ 1554561 w 3105279"/>
              <a:gd name="connsiteY4" fmla="*/ 3076286 h 3105260"/>
              <a:gd name="connsiteX5" fmla="*/ 1554561 w 3105279"/>
              <a:gd name="connsiteY5" fmla="*/ 3105261 h 3105260"/>
              <a:gd name="connsiteX6" fmla="*/ 1553936 w 3105279"/>
              <a:gd name="connsiteY6" fmla="*/ 3105261 h 3105260"/>
              <a:gd name="connsiteX7" fmla="*/ 1569195 w 3105279"/>
              <a:gd name="connsiteY7" fmla="*/ 3105187 h 3105260"/>
              <a:gd name="connsiteX8" fmla="*/ 1568920 w 3105279"/>
              <a:gd name="connsiteY8" fmla="*/ 3076213 h 3105260"/>
              <a:gd name="connsiteX9" fmla="*/ 1574656 w 3105279"/>
              <a:gd name="connsiteY9" fmla="*/ 3076139 h 3105260"/>
              <a:gd name="connsiteX10" fmla="*/ 1575060 w 3105279"/>
              <a:gd name="connsiteY10" fmla="*/ 3105113 h 3105260"/>
              <a:gd name="connsiteX11" fmla="*/ 1569195 w 3105279"/>
              <a:gd name="connsiteY11" fmla="*/ 3105187 h 3105260"/>
              <a:gd name="connsiteX12" fmla="*/ 1534044 w 3105279"/>
              <a:gd name="connsiteY12" fmla="*/ 3105150 h 3105260"/>
              <a:gd name="connsiteX13" fmla="*/ 1528179 w 3105279"/>
              <a:gd name="connsiteY13" fmla="*/ 3105058 h 3105260"/>
              <a:gd name="connsiteX14" fmla="*/ 1528657 w 3105279"/>
              <a:gd name="connsiteY14" fmla="*/ 3076084 h 3105260"/>
              <a:gd name="connsiteX15" fmla="*/ 1534412 w 3105279"/>
              <a:gd name="connsiteY15" fmla="*/ 3076176 h 3105260"/>
              <a:gd name="connsiteX16" fmla="*/ 1534026 w 3105279"/>
              <a:gd name="connsiteY16" fmla="*/ 3105150 h 3105260"/>
              <a:gd name="connsiteX17" fmla="*/ 1589713 w 3105279"/>
              <a:gd name="connsiteY17" fmla="*/ 3104856 h 3105260"/>
              <a:gd name="connsiteX18" fmla="*/ 1589032 w 3105279"/>
              <a:gd name="connsiteY18" fmla="*/ 3075882 h 3105260"/>
              <a:gd name="connsiteX19" fmla="*/ 1594787 w 3105279"/>
              <a:gd name="connsiteY19" fmla="*/ 3075735 h 3105260"/>
              <a:gd name="connsiteX20" fmla="*/ 1595577 w 3105279"/>
              <a:gd name="connsiteY20" fmla="*/ 3104691 h 3105260"/>
              <a:gd name="connsiteX21" fmla="*/ 1589713 w 3105279"/>
              <a:gd name="connsiteY21" fmla="*/ 3104838 h 3105260"/>
              <a:gd name="connsiteX22" fmla="*/ 1513527 w 3105279"/>
              <a:gd name="connsiteY22" fmla="*/ 3104746 h 3105260"/>
              <a:gd name="connsiteX23" fmla="*/ 1507662 w 3105279"/>
              <a:gd name="connsiteY23" fmla="*/ 3104580 h 3105260"/>
              <a:gd name="connsiteX24" fmla="*/ 1508526 w 3105279"/>
              <a:gd name="connsiteY24" fmla="*/ 3075624 h 3105260"/>
              <a:gd name="connsiteX25" fmla="*/ 1514281 w 3105279"/>
              <a:gd name="connsiteY25" fmla="*/ 3075790 h 3105260"/>
              <a:gd name="connsiteX26" fmla="*/ 1513527 w 3105279"/>
              <a:gd name="connsiteY26" fmla="*/ 3104746 h 3105260"/>
              <a:gd name="connsiteX27" fmla="*/ 1610211 w 3105279"/>
              <a:gd name="connsiteY27" fmla="*/ 3104249 h 3105260"/>
              <a:gd name="connsiteX28" fmla="*/ 1609145 w 3105279"/>
              <a:gd name="connsiteY28" fmla="*/ 3075294 h 3105260"/>
              <a:gd name="connsiteX29" fmla="*/ 1614899 w 3105279"/>
              <a:gd name="connsiteY29" fmla="*/ 3075073 h 3105260"/>
              <a:gd name="connsiteX30" fmla="*/ 1616058 w 3105279"/>
              <a:gd name="connsiteY30" fmla="*/ 3104029 h 3105260"/>
              <a:gd name="connsiteX31" fmla="*/ 1610193 w 3105279"/>
              <a:gd name="connsiteY31" fmla="*/ 3104249 h 3105260"/>
              <a:gd name="connsiteX32" fmla="*/ 1493010 w 3105279"/>
              <a:gd name="connsiteY32" fmla="*/ 3104065 h 3105260"/>
              <a:gd name="connsiteX33" fmla="*/ 1487145 w 3105279"/>
              <a:gd name="connsiteY33" fmla="*/ 3103826 h 3105260"/>
              <a:gd name="connsiteX34" fmla="*/ 1488395 w 3105279"/>
              <a:gd name="connsiteY34" fmla="*/ 3074871 h 3105260"/>
              <a:gd name="connsiteX35" fmla="*/ 1494150 w 3105279"/>
              <a:gd name="connsiteY35" fmla="*/ 3075110 h 3105260"/>
              <a:gd name="connsiteX36" fmla="*/ 1493010 w 3105279"/>
              <a:gd name="connsiteY36" fmla="*/ 3104065 h 3105260"/>
              <a:gd name="connsiteX37" fmla="*/ 1630692 w 3105279"/>
              <a:gd name="connsiteY37" fmla="*/ 3103348 h 3105260"/>
              <a:gd name="connsiteX38" fmla="*/ 1629258 w 3105279"/>
              <a:gd name="connsiteY38" fmla="*/ 3074411 h 3105260"/>
              <a:gd name="connsiteX39" fmla="*/ 1635012 w 3105279"/>
              <a:gd name="connsiteY39" fmla="*/ 3074117 h 3105260"/>
              <a:gd name="connsiteX40" fmla="*/ 1636556 w 3105279"/>
              <a:gd name="connsiteY40" fmla="*/ 3103054 h 3105260"/>
              <a:gd name="connsiteX41" fmla="*/ 1630710 w 3105279"/>
              <a:gd name="connsiteY41" fmla="*/ 3103348 h 3105260"/>
              <a:gd name="connsiteX42" fmla="*/ 1472511 w 3105279"/>
              <a:gd name="connsiteY42" fmla="*/ 3103128 h 3105260"/>
              <a:gd name="connsiteX43" fmla="*/ 1466646 w 3105279"/>
              <a:gd name="connsiteY43" fmla="*/ 3102815 h 3105260"/>
              <a:gd name="connsiteX44" fmla="*/ 1468301 w 3105279"/>
              <a:gd name="connsiteY44" fmla="*/ 3073896 h 3105260"/>
              <a:gd name="connsiteX45" fmla="*/ 1474037 w 3105279"/>
              <a:gd name="connsiteY45" fmla="*/ 3074209 h 3105260"/>
              <a:gd name="connsiteX46" fmla="*/ 1472511 w 3105279"/>
              <a:gd name="connsiteY46" fmla="*/ 3103146 h 3105260"/>
              <a:gd name="connsiteX47" fmla="*/ 1651172 w 3105279"/>
              <a:gd name="connsiteY47" fmla="*/ 3102209 h 3105260"/>
              <a:gd name="connsiteX48" fmla="*/ 1649352 w 3105279"/>
              <a:gd name="connsiteY48" fmla="*/ 3073290 h 3105260"/>
              <a:gd name="connsiteX49" fmla="*/ 1655088 w 3105279"/>
              <a:gd name="connsiteY49" fmla="*/ 3072922 h 3105260"/>
              <a:gd name="connsiteX50" fmla="*/ 1657018 w 3105279"/>
              <a:gd name="connsiteY50" fmla="*/ 3101822 h 3105260"/>
              <a:gd name="connsiteX51" fmla="*/ 1651172 w 3105279"/>
              <a:gd name="connsiteY51" fmla="*/ 3102209 h 3105260"/>
              <a:gd name="connsiteX52" fmla="*/ 1452031 w 3105279"/>
              <a:gd name="connsiteY52" fmla="*/ 3101914 h 3105260"/>
              <a:gd name="connsiteX53" fmla="*/ 1446184 w 3105279"/>
              <a:gd name="connsiteY53" fmla="*/ 3101510 h 3105260"/>
              <a:gd name="connsiteX54" fmla="*/ 1448188 w 3105279"/>
              <a:gd name="connsiteY54" fmla="*/ 3072610 h 3105260"/>
              <a:gd name="connsiteX55" fmla="*/ 1453924 w 3105279"/>
              <a:gd name="connsiteY55" fmla="*/ 3072996 h 3105260"/>
              <a:gd name="connsiteX56" fmla="*/ 1452012 w 3105279"/>
              <a:gd name="connsiteY56" fmla="*/ 3101914 h 3105260"/>
              <a:gd name="connsiteX57" fmla="*/ 1671634 w 3105279"/>
              <a:gd name="connsiteY57" fmla="*/ 3100775 h 3105260"/>
              <a:gd name="connsiteX58" fmla="*/ 1669428 w 3105279"/>
              <a:gd name="connsiteY58" fmla="*/ 3071893 h 3105260"/>
              <a:gd name="connsiteX59" fmla="*/ 1675146 w 3105279"/>
              <a:gd name="connsiteY59" fmla="*/ 3071433 h 3105260"/>
              <a:gd name="connsiteX60" fmla="*/ 1677480 w 3105279"/>
              <a:gd name="connsiteY60" fmla="*/ 3100315 h 3105260"/>
              <a:gd name="connsiteX61" fmla="*/ 1671634 w 3105279"/>
              <a:gd name="connsiteY61" fmla="*/ 3100775 h 3105260"/>
              <a:gd name="connsiteX62" fmla="*/ 1431550 w 3105279"/>
              <a:gd name="connsiteY62" fmla="*/ 3100425 h 3105260"/>
              <a:gd name="connsiteX63" fmla="*/ 1425704 w 3105279"/>
              <a:gd name="connsiteY63" fmla="*/ 3099947 h 3105260"/>
              <a:gd name="connsiteX64" fmla="*/ 1428094 w 3105279"/>
              <a:gd name="connsiteY64" fmla="*/ 3071065 h 3105260"/>
              <a:gd name="connsiteX65" fmla="*/ 1433830 w 3105279"/>
              <a:gd name="connsiteY65" fmla="*/ 3071525 h 3105260"/>
              <a:gd name="connsiteX66" fmla="*/ 1431550 w 3105279"/>
              <a:gd name="connsiteY66" fmla="*/ 3100407 h 3105260"/>
              <a:gd name="connsiteX67" fmla="*/ 1692078 w 3105279"/>
              <a:gd name="connsiteY67" fmla="*/ 3099065 h 3105260"/>
              <a:gd name="connsiteX68" fmla="*/ 1689485 w 3105279"/>
              <a:gd name="connsiteY68" fmla="*/ 3070201 h 3105260"/>
              <a:gd name="connsiteX69" fmla="*/ 1695203 w 3105279"/>
              <a:gd name="connsiteY69" fmla="*/ 3069668 h 3105260"/>
              <a:gd name="connsiteX70" fmla="*/ 1697906 w 3105279"/>
              <a:gd name="connsiteY70" fmla="*/ 3098513 h 3105260"/>
              <a:gd name="connsiteX71" fmla="*/ 1692059 w 3105279"/>
              <a:gd name="connsiteY71" fmla="*/ 3099047 h 3105260"/>
              <a:gd name="connsiteX72" fmla="*/ 1411107 w 3105279"/>
              <a:gd name="connsiteY72" fmla="*/ 3098679 h 3105260"/>
              <a:gd name="connsiteX73" fmla="*/ 1405279 w 3105279"/>
              <a:gd name="connsiteY73" fmla="*/ 3098127 h 3105260"/>
              <a:gd name="connsiteX74" fmla="*/ 1408055 w 3105279"/>
              <a:gd name="connsiteY74" fmla="*/ 3069282 h 3105260"/>
              <a:gd name="connsiteX75" fmla="*/ 1413791 w 3105279"/>
              <a:gd name="connsiteY75" fmla="*/ 3069815 h 3105260"/>
              <a:gd name="connsiteX76" fmla="*/ 1411125 w 3105279"/>
              <a:gd name="connsiteY76" fmla="*/ 3098660 h 3105260"/>
              <a:gd name="connsiteX77" fmla="*/ 1712503 w 3105279"/>
              <a:gd name="connsiteY77" fmla="*/ 3097098 h 3105260"/>
              <a:gd name="connsiteX78" fmla="*/ 1709543 w 3105279"/>
              <a:gd name="connsiteY78" fmla="*/ 3068271 h 3105260"/>
              <a:gd name="connsiteX79" fmla="*/ 1715261 w 3105279"/>
              <a:gd name="connsiteY79" fmla="*/ 3067664 h 3105260"/>
              <a:gd name="connsiteX80" fmla="*/ 1718349 w 3105279"/>
              <a:gd name="connsiteY80" fmla="*/ 3096473 h 3105260"/>
              <a:gd name="connsiteX81" fmla="*/ 1712521 w 3105279"/>
              <a:gd name="connsiteY81" fmla="*/ 3097079 h 3105260"/>
              <a:gd name="connsiteX82" fmla="*/ 1390700 w 3105279"/>
              <a:gd name="connsiteY82" fmla="*/ 3096656 h 3105260"/>
              <a:gd name="connsiteX83" fmla="*/ 1384872 w 3105279"/>
              <a:gd name="connsiteY83" fmla="*/ 3096031 h 3105260"/>
              <a:gd name="connsiteX84" fmla="*/ 1388034 w 3105279"/>
              <a:gd name="connsiteY84" fmla="*/ 3067223 h 3105260"/>
              <a:gd name="connsiteX85" fmla="*/ 1393752 w 3105279"/>
              <a:gd name="connsiteY85" fmla="*/ 3067848 h 3105260"/>
              <a:gd name="connsiteX86" fmla="*/ 1390700 w 3105279"/>
              <a:gd name="connsiteY86" fmla="*/ 3096656 h 3105260"/>
              <a:gd name="connsiteX87" fmla="*/ 1732891 w 3105279"/>
              <a:gd name="connsiteY87" fmla="*/ 3094855 h 3105260"/>
              <a:gd name="connsiteX88" fmla="*/ 1729527 w 3105279"/>
              <a:gd name="connsiteY88" fmla="*/ 3066083 h 3105260"/>
              <a:gd name="connsiteX89" fmla="*/ 1735245 w 3105279"/>
              <a:gd name="connsiteY89" fmla="*/ 3065403 h 3105260"/>
              <a:gd name="connsiteX90" fmla="*/ 1738719 w 3105279"/>
              <a:gd name="connsiteY90" fmla="*/ 3094175 h 3105260"/>
              <a:gd name="connsiteX91" fmla="*/ 1732910 w 3105279"/>
              <a:gd name="connsiteY91" fmla="*/ 3094873 h 3105260"/>
              <a:gd name="connsiteX92" fmla="*/ 1370311 w 3105279"/>
              <a:gd name="connsiteY92" fmla="*/ 3094358 h 3105260"/>
              <a:gd name="connsiteX93" fmla="*/ 1364483 w 3105279"/>
              <a:gd name="connsiteY93" fmla="*/ 3093641 h 3105260"/>
              <a:gd name="connsiteX94" fmla="*/ 1368032 w 3105279"/>
              <a:gd name="connsiteY94" fmla="*/ 3064888 h 3105260"/>
              <a:gd name="connsiteX95" fmla="*/ 1373731 w 3105279"/>
              <a:gd name="connsiteY95" fmla="*/ 3065587 h 3105260"/>
              <a:gd name="connsiteX96" fmla="*/ 1370293 w 3105279"/>
              <a:gd name="connsiteY96" fmla="*/ 3094358 h 3105260"/>
              <a:gd name="connsiteX97" fmla="*/ 1753262 w 3105279"/>
              <a:gd name="connsiteY97" fmla="*/ 3092336 h 3105260"/>
              <a:gd name="connsiteX98" fmla="*/ 1749511 w 3105279"/>
              <a:gd name="connsiteY98" fmla="*/ 3063601 h 3105260"/>
              <a:gd name="connsiteX99" fmla="*/ 1755210 w 3105279"/>
              <a:gd name="connsiteY99" fmla="*/ 3062847 h 3105260"/>
              <a:gd name="connsiteX100" fmla="*/ 1759071 w 3105279"/>
              <a:gd name="connsiteY100" fmla="*/ 3091564 h 3105260"/>
              <a:gd name="connsiteX101" fmla="*/ 1753262 w 3105279"/>
              <a:gd name="connsiteY101" fmla="*/ 3092336 h 3105260"/>
              <a:gd name="connsiteX102" fmla="*/ 1349960 w 3105279"/>
              <a:gd name="connsiteY102" fmla="*/ 3091803 h 3105260"/>
              <a:gd name="connsiteX103" fmla="*/ 1344150 w 3105279"/>
              <a:gd name="connsiteY103" fmla="*/ 3091031 h 3105260"/>
              <a:gd name="connsiteX104" fmla="*/ 1348066 w 3105279"/>
              <a:gd name="connsiteY104" fmla="*/ 3062314 h 3105260"/>
              <a:gd name="connsiteX105" fmla="*/ 1353765 w 3105279"/>
              <a:gd name="connsiteY105" fmla="*/ 3063086 h 3105260"/>
              <a:gd name="connsiteX106" fmla="*/ 1349960 w 3105279"/>
              <a:gd name="connsiteY106" fmla="*/ 3091803 h 3105260"/>
              <a:gd name="connsiteX107" fmla="*/ 1773576 w 3105279"/>
              <a:gd name="connsiteY107" fmla="*/ 3089560 h 3105260"/>
              <a:gd name="connsiteX108" fmla="*/ 1769440 w 3105279"/>
              <a:gd name="connsiteY108" fmla="*/ 3060880 h 3105260"/>
              <a:gd name="connsiteX109" fmla="*/ 1775139 w 3105279"/>
              <a:gd name="connsiteY109" fmla="*/ 3060053 h 3105260"/>
              <a:gd name="connsiteX110" fmla="*/ 1779368 w 3105279"/>
              <a:gd name="connsiteY110" fmla="*/ 3088714 h 3105260"/>
              <a:gd name="connsiteX111" fmla="*/ 1773576 w 3105279"/>
              <a:gd name="connsiteY111" fmla="*/ 3089560 h 3105260"/>
              <a:gd name="connsiteX112" fmla="*/ 1329645 w 3105279"/>
              <a:gd name="connsiteY112" fmla="*/ 3088972 h 3105260"/>
              <a:gd name="connsiteX113" fmla="*/ 1323853 w 3105279"/>
              <a:gd name="connsiteY113" fmla="*/ 3088108 h 3105260"/>
              <a:gd name="connsiteX114" fmla="*/ 1328155 w 3105279"/>
              <a:gd name="connsiteY114" fmla="*/ 3059446 h 3105260"/>
              <a:gd name="connsiteX115" fmla="*/ 1333836 w 3105279"/>
              <a:gd name="connsiteY115" fmla="*/ 3060292 h 3105260"/>
              <a:gd name="connsiteX116" fmla="*/ 1329645 w 3105279"/>
              <a:gd name="connsiteY116" fmla="*/ 3088953 h 3105260"/>
              <a:gd name="connsiteX117" fmla="*/ 1793855 w 3105279"/>
              <a:gd name="connsiteY117" fmla="*/ 3086490 h 3105260"/>
              <a:gd name="connsiteX118" fmla="*/ 1789351 w 3105279"/>
              <a:gd name="connsiteY118" fmla="*/ 3057865 h 3105260"/>
              <a:gd name="connsiteX119" fmla="*/ 1795031 w 3105279"/>
              <a:gd name="connsiteY119" fmla="*/ 3056964 h 3105260"/>
              <a:gd name="connsiteX120" fmla="*/ 1799646 w 3105279"/>
              <a:gd name="connsiteY120" fmla="*/ 3085571 h 3105260"/>
              <a:gd name="connsiteX121" fmla="*/ 1793855 w 3105279"/>
              <a:gd name="connsiteY121" fmla="*/ 3086490 h 3105260"/>
              <a:gd name="connsiteX122" fmla="*/ 1309385 w 3105279"/>
              <a:gd name="connsiteY122" fmla="*/ 3085865 h 3105260"/>
              <a:gd name="connsiteX123" fmla="*/ 1303594 w 3105279"/>
              <a:gd name="connsiteY123" fmla="*/ 3084927 h 3105260"/>
              <a:gd name="connsiteX124" fmla="*/ 1308282 w 3105279"/>
              <a:gd name="connsiteY124" fmla="*/ 3056339 h 3105260"/>
              <a:gd name="connsiteX125" fmla="*/ 1313944 w 3105279"/>
              <a:gd name="connsiteY125" fmla="*/ 3057258 h 3105260"/>
              <a:gd name="connsiteX126" fmla="*/ 1309385 w 3105279"/>
              <a:gd name="connsiteY126" fmla="*/ 3085865 h 3105260"/>
              <a:gd name="connsiteX127" fmla="*/ 1814114 w 3105279"/>
              <a:gd name="connsiteY127" fmla="*/ 3083162 h 3105260"/>
              <a:gd name="connsiteX128" fmla="*/ 1809224 w 3105279"/>
              <a:gd name="connsiteY128" fmla="*/ 3054611 h 3105260"/>
              <a:gd name="connsiteX129" fmla="*/ 1814886 w 3105279"/>
              <a:gd name="connsiteY129" fmla="*/ 3053637 h 3105260"/>
              <a:gd name="connsiteX130" fmla="*/ 1819887 w 3105279"/>
              <a:gd name="connsiteY130" fmla="*/ 3082169 h 3105260"/>
              <a:gd name="connsiteX131" fmla="*/ 1814114 w 3105279"/>
              <a:gd name="connsiteY131" fmla="*/ 3083162 h 3105260"/>
              <a:gd name="connsiteX132" fmla="*/ 1289143 w 3105279"/>
              <a:gd name="connsiteY132" fmla="*/ 3082500 h 3105260"/>
              <a:gd name="connsiteX133" fmla="*/ 1283371 w 3105279"/>
              <a:gd name="connsiteY133" fmla="*/ 3081489 h 3105260"/>
              <a:gd name="connsiteX134" fmla="*/ 1288426 w 3105279"/>
              <a:gd name="connsiteY134" fmla="*/ 3052956 h 3105260"/>
              <a:gd name="connsiteX135" fmla="*/ 1294089 w 3105279"/>
              <a:gd name="connsiteY135" fmla="*/ 3053949 h 3105260"/>
              <a:gd name="connsiteX136" fmla="*/ 1289143 w 3105279"/>
              <a:gd name="connsiteY136" fmla="*/ 3082500 h 3105260"/>
              <a:gd name="connsiteX137" fmla="*/ 1834301 w 3105279"/>
              <a:gd name="connsiteY137" fmla="*/ 3079577 h 3105260"/>
              <a:gd name="connsiteX138" fmla="*/ 1829043 w 3105279"/>
              <a:gd name="connsiteY138" fmla="*/ 3051081 h 3105260"/>
              <a:gd name="connsiteX139" fmla="*/ 1834705 w 3105279"/>
              <a:gd name="connsiteY139" fmla="*/ 3050033 h 3105260"/>
              <a:gd name="connsiteX140" fmla="*/ 1840073 w 3105279"/>
              <a:gd name="connsiteY140" fmla="*/ 3078511 h 3105260"/>
              <a:gd name="connsiteX141" fmla="*/ 1834301 w 3105279"/>
              <a:gd name="connsiteY141" fmla="*/ 3079596 h 3105260"/>
              <a:gd name="connsiteX142" fmla="*/ 1268976 w 3105279"/>
              <a:gd name="connsiteY142" fmla="*/ 3078879 h 3105260"/>
              <a:gd name="connsiteX143" fmla="*/ 1263203 w 3105279"/>
              <a:gd name="connsiteY143" fmla="*/ 3077794 h 3105260"/>
              <a:gd name="connsiteX144" fmla="*/ 1268645 w 3105279"/>
              <a:gd name="connsiteY144" fmla="*/ 3049335 h 3105260"/>
              <a:gd name="connsiteX145" fmla="*/ 1274289 w 3105279"/>
              <a:gd name="connsiteY145" fmla="*/ 3050401 h 3105260"/>
              <a:gd name="connsiteX146" fmla="*/ 1268976 w 3105279"/>
              <a:gd name="connsiteY146" fmla="*/ 3078879 h 3105260"/>
              <a:gd name="connsiteX147" fmla="*/ 1854468 w 3105279"/>
              <a:gd name="connsiteY147" fmla="*/ 3075698 h 3105260"/>
              <a:gd name="connsiteX148" fmla="*/ 1848806 w 3105279"/>
              <a:gd name="connsiteY148" fmla="*/ 3047276 h 3105260"/>
              <a:gd name="connsiteX149" fmla="*/ 1854450 w 3105279"/>
              <a:gd name="connsiteY149" fmla="*/ 3046136 h 3105260"/>
              <a:gd name="connsiteX150" fmla="*/ 1860204 w 3105279"/>
              <a:gd name="connsiteY150" fmla="*/ 3074540 h 3105260"/>
              <a:gd name="connsiteX151" fmla="*/ 1854450 w 3105279"/>
              <a:gd name="connsiteY151" fmla="*/ 3075698 h 3105260"/>
              <a:gd name="connsiteX152" fmla="*/ 1248844 w 3105279"/>
              <a:gd name="connsiteY152" fmla="*/ 3074981 h 3105260"/>
              <a:gd name="connsiteX153" fmla="*/ 1243109 w 3105279"/>
              <a:gd name="connsiteY153" fmla="*/ 3073823 h 3105260"/>
              <a:gd name="connsiteX154" fmla="*/ 1248918 w 3105279"/>
              <a:gd name="connsiteY154" fmla="*/ 3045437 h 3105260"/>
              <a:gd name="connsiteX155" fmla="*/ 1254562 w 3105279"/>
              <a:gd name="connsiteY155" fmla="*/ 3046577 h 3105260"/>
              <a:gd name="connsiteX156" fmla="*/ 1248863 w 3105279"/>
              <a:gd name="connsiteY156" fmla="*/ 3074981 h 3105260"/>
              <a:gd name="connsiteX157" fmla="*/ 1874563 w 3105279"/>
              <a:gd name="connsiteY157" fmla="*/ 3071580 h 3105260"/>
              <a:gd name="connsiteX158" fmla="*/ 1868533 w 3105279"/>
              <a:gd name="connsiteY158" fmla="*/ 3043231 h 3105260"/>
              <a:gd name="connsiteX159" fmla="*/ 1874158 w 3105279"/>
              <a:gd name="connsiteY159" fmla="*/ 3042018 h 3105260"/>
              <a:gd name="connsiteX160" fmla="*/ 1880299 w 3105279"/>
              <a:gd name="connsiteY160" fmla="*/ 3070330 h 3105260"/>
              <a:gd name="connsiteX161" fmla="*/ 1874563 w 3105279"/>
              <a:gd name="connsiteY161" fmla="*/ 3071562 h 3105260"/>
              <a:gd name="connsiteX162" fmla="*/ 1228769 w 3105279"/>
              <a:gd name="connsiteY162" fmla="*/ 3070826 h 3105260"/>
              <a:gd name="connsiteX163" fmla="*/ 1223051 w 3105279"/>
              <a:gd name="connsiteY163" fmla="*/ 3069594 h 3105260"/>
              <a:gd name="connsiteX164" fmla="*/ 1229210 w 3105279"/>
              <a:gd name="connsiteY164" fmla="*/ 3041282 h 3105260"/>
              <a:gd name="connsiteX165" fmla="*/ 1234835 w 3105279"/>
              <a:gd name="connsiteY165" fmla="*/ 3042496 h 3105260"/>
              <a:gd name="connsiteX166" fmla="*/ 1228769 w 3105279"/>
              <a:gd name="connsiteY166" fmla="*/ 3070826 h 3105260"/>
              <a:gd name="connsiteX167" fmla="*/ 1894602 w 3105279"/>
              <a:gd name="connsiteY167" fmla="*/ 3067168 h 3105260"/>
              <a:gd name="connsiteX168" fmla="*/ 1888204 w 3105279"/>
              <a:gd name="connsiteY168" fmla="*/ 3038911 h 3105260"/>
              <a:gd name="connsiteX169" fmla="*/ 1893811 w 3105279"/>
              <a:gd name="connsiteY169" fmla="*/ 3037624 h 3105260"/>
              <a:gd name="connsiteX170" fmla="*/ 1900338 w 3105279"/>
              <a:gd name="connsiteY170" fmla="*/ 3065862 h 3105260"/>
              <a:gd name="connsiteX171" fmla="*/ 1894602 w 3105279"/>
              <a:gd name="connsiteY171" fmla="*/ 3067168 h 3105260"/>
              <a:gd name="connsiteX172" fmla="*/ 1208748 w 3105279"/>
              <a:gd name="connsiteY172" fmla="*/ 3066396 h 3105260"/>
              <a:gd name="connsiteX173" fmla="*/ 1203049 w 3105279"/>
              <a:gd name="connsiteY173" fmla="*/ 3065090 h 3105260"/>
              <a:gd name="connsiteX174" fmla="*/ 1209575 w 3105279"/>
              <a:gd name="connsiteY174" fmla="*/ 3036870 h 3105260"/>
              <a:gd name="connsiteX175" fmla="*/ 1215182 w 3105279"/>
              <a:gd name="connsiteY175" fmla="*/ 3038157 h 3105260"/>
              <a:gd name="connsiteX176" fmla="*/ 1208729 w 3105279"/>
              <a:gd name="connsiteY176" fmla="*/ 3066414 h 3105260"/>
              <a:gd name="connsiteX177" fmla="*/ 1914586 w 3105279"/>
              <a:gd name="connsiteY177" fmla="*/ 3062498 h 3105260"/>
              <a:gd name="connsiteX178" fmla="*/ 1907820 w 3105279"/>
              <a:gd name="connsiteY178" fmla="*/ 3034333 h 3105260"/>
              <a:gd name="connsiteX179" fmla="*/ 1913409 w 3105279"/>
              <a:gd name="connsiteY179" fmla="*/ 3032972 h 3105260"/>
              <a:gd name="connsiteX180" fmla="*/ 1920285 w 3105279"/>
              <a:gd name="connsiteY180" fmla="*/ 3061119 h 3105260"/>
              <a:gd name="connsiteX181" fmla="*/ 1914586 w 3105279"/>
              <a:gd name="connsiteY181" fmla="*/ 3062498 h 3105260"/>
              <a:gd name="connsiteX182" fmla="*/ 1188801 w 3105279"/>
              <a:gd name="connsiteY182" fmla="*/ 3061726 h 3105260"/>
              <a:gd name="connsiteX183" fmla="*/ 1183120 w 3105279"/>
              <a:gd name="connsiteY183" fmla="*/ 3060347 h 3105260"/>
              <a:gd name="connsiteX184" fmla="*/ 1190014 w 3105279"/>
              <a:gd name="connsiteY184" fmla="*/ 3032200 h 3105260"/>
              <a:gd name="connsiteX185" fmla="*/ 1195603 w 3105279"/>
              <a:gd name="connsiteY185" fmla="*/ 3033561 h 3105260"/>
              <a:gd name="connsiteX186" fmla="*/ 1188801 w 3105279"/>
              <a:gd name="connsiteY186" fmla="*/ 3061726 h 3105260"/>
              <a:gd name="connsiteX187" fmla="*/ 1934515 w 3105279"/>
              <a:gd name="connsiteY187" fmla="*/ 3057571 h 3105260"/>
              <a:gd name="connsiteX188" fmla="*/ 1927363 w 3105279"/>
              <a:gd name="connsiteY188" fmla="*/ 3029498 h 3105260"/>
              <a:gd name="connsiteX189" fmla="*/ 1932934 w 3105279"/>
              <a:gd name="connsiteY189" fmla="*/ 3028064 h 3105260"/>
              <a:gd name="connsiteX190" fmla="*/ 1940196 w 3105279"/>
              <a:gd name="connsiteY190" fmla="*/ 3056118 h 3105260"/>
              <a:gd name="connsiteX191" fmla="*/ 1934515 w 3105279"/>
              <a:gd name="connsiteY191" fmla="*/ 3057571 h 3105260"/>
              <a:gd name="connsiteX192" fmla="*/ 1168908 w 3105279"/>
              <a:gd name="connsiteY192" fmla="*/ 3056780 h 3105260"/>
              <a:gd name="connsiteX193" fmla="*/ 1163246 w 3105279"/>
              <a:gd name="connsiteY193" fmla="*/ 3055328 h 3105260"/>
              <a:gd name="connsiteX194" fmla="*/ 1170526 w 3105279"/>
              <a:gd name="connsiteY194" fmla="*/ 3027273 h 3105260"/>
              <a:gd name="connsiteX195" fmla="*/ 1176097 w 3105279"/>
              <a:gd name="connsiteY195" fmla="*/ 3028707 h 3105260"/>
              <a:gd name="connsiteX196" fmla="*/ 1168927 w 3105279"/>
              <a:gd name="connsiteY196" fmla="*/ 3056780 h 3105260"/>
              <a:gd name="connsiteX197" fmla="*/ 1954352 w 3105279"/>
              <a:gd name="connsiteY197" fmla="*/ 3052368 h 3105260"/>
              <a:gd name="connsiteX198" fmla="*/ 1946851 w 3105279"/>
              <a:gd name="connsiteY198" fmla="*/ 3024387 h 3105260"/>
              <a:gd name="connsiteX199" fmla="*/ 1952403 w 3105279"/>
              <a:gd name="connsiteY199" fmla="*/ 3022879 h 3105260"/>
              <a:gd name="connsiteX200" fmla="*/ 1960033 w 3105279"/>
              <a:gd name="connsiteY200" fmla="*/ 3050824 h 3105260"/>
              <a:gd name="connsiteX201" fmla="*/ 1954352 w 3105279"/>
              <a:gd name="connsiteY201" fmla="*/ 3052368 h 3105260"/>
              <a:gd name="connsiteX202" fmla="*/ 1149072 w 3105279"/>
              <a:gd name="connsiteY202" fmla="*/ 3051559 h 3105260"/>
              <a:gd name="connsiteX203" fmla="*/ 1143428 w 3105279"/>
              <a:gd name="connsiteY203" fmla="*/ 3050033 h 3105260"/>
              <a:gd name="connsiteX204" fmla="*/ 1151057 w 3105279"/>
              <a:gd name="connsiteY204" fmla="*/ 3022089 h 3105260"/>
              <a:gd name="connsiteX205" fmla="*/ 1156609 w 3105279"/>
              <a:gd name="connsiteY205" fmla="*/ 3023596 h 3105260"/>
              <a:gd name="connsiteX206" fmla="*/ 1149053 w 3105279"/>
              <a:gd name="connsiteY206" fmla="*/ 3051559 h 3105260"/>
              <a:gd name="connsiteX207" fmla="*/ 1974152 w 3105279"/>
              <a:gd name="connsiteY207" fmla="*/ 3046908 h 3105260"/>
              <a:gd name="connsiteX208" fmla="*/ 1966265 w 3105279"/>
              <a:gd name="connsiteY208" fmla="*/ 3019037 h 3105260"/>
              <a:gd name="connsiteX209" fmla="*/ 1971799 w 3105279"/>
              <a:gd name="connsiteY209" fmla="*/ 3017456 h 3105260"/>
              <a:gd name="connsiteX210" fmla="*/ 1979796 w 3105279"/>
              <a:gd name="connsiteY210" fmla="*/ 3045308 h 3105260"/>
              <a:gd name="connsiteX211" fmla="*/ 1974152 w 3105279"/>
              <a:gd name="connsiteY211" fmla="*/ 3046908 h 3105260"/>
              <a:gd name="connsiteX212" fmla="*/ 1129326 w 3105279"/>
              <a:gd name="connsiteY212" fmla="*/ 3046099 h 3105260"/>
              <a:gd name="connsiteX213" fmla="*/ 1123701 w 3105279"/>
              <a:gd name="connsiteY213" fmla="*/ 3044500 h 3105260"/>
              <a:gd name="connsiteX214" fmla="*/ 1131698 w 3105279"/>
              <a:gd name="connsiteY214" fmla="*/ 3016647 h 3105260"/>
              <a:gd name="connsiteX215" fmla="*/ 1137232 w 3105279"/>
              <a:gd name="connsiteY215" fmla="*/ 3018228 h 3105260"/>
              <a:gd name="connsiteX216" fmla="*/ 1129326 w 3105279"/>
              <a:gd name="connsiteY216" fmla="*/ 3046099 h 3105260"/>
              <a:gd name="connsiteX217" fmla="*/ 1993860 w 3105279"/>
              <a:gd name="connsiteY217" fmla="*/ 3041190 h 3105260"/>
              <a:gd name="connsiteX218" fmla="*/ 1985606 w 3105279"/>
              <a:gd name="connsiteY218" fmla="*/ 3013411 h 3105260"/>
              <a:gd name="connsiteX219" fmla="*/ 1991103 w 3105279"/>
              <a:gd name="connsiteY219" fmla="*/ 3011757 h 3105260"/>
              <a:gd name="connsiteX220" fmla="*/ 1999486 w 3105279"/>
              <a:gd name="connsiteY220" fmla="*/ 3039499 h 3105260"/>
              <a:gd name="connsiteX221" fmla="*/ 1993860 w 3105279"/>
              <a:gd name="connsiteY221" fmla="*/ 3041190 h 3105260"/>
              <a:gd name="connsiteX222" fmla="*/ 1109655 w 3105279"/>
              <a:gd name="connsiteY222" fmla="*/ 3040381 h 3105260"/>
              <a:gd name="connsiteX223" fmla="*/ 1104048 w 3105279"/>
              <a:gd name="connsiteY223" fmla="*/ 3038708 h 3105260"/>
              <a:gd name="connsiteX224" fmla="*/ 1112413 w 3105279"/>
              <a:gd name="connsiteY224" fmla="*/ 3010966 h 3105260"/>
              <a:gd name="connsiteX225" fmla="*/ 1117910 w 3105279"/>
              <a:gd name="connsiteY225" fmla="*/ 3012621 h 3105260"/>
              <a:gd name="connsiteX226" fmla="*/ 1109637 w 3105279"/>
              <a:gd name="connsiteY226" fmla="*/ 3040381 h 3105260"/>
              <a:gd name="connsiteX227" fmla="*/ 2013495 w 3105279"/>
              <a:gd name="connsiteY227" fmla="*/ 3035197 h 3105260"/>
              <a:gd name="connsiteX228" fmla="*/ 2004873 w 3105279"/>
              <a:gd name="connsiteY228" fmla="*/ 3007528 h 3105260"/>
              <a:gd name="connsiteX229" fmla="*/ 2010351 w 3105279"/>
              <a:gd name="connsiteY229" fmla="*/ 3005800 h 3105260"/>
              <a:gd name="connsiteX230" fmla="*/ 2019084 w 3105279"/>
              <a:gd name="connsiteY230" fmla="*/ 3033432 h 3105260"/>
              <a:gd name="connsiteX231" fmla="*/ 2013476 w 3105279"/>
              <a:gd name="connsiteY231" fmla="*/ 3035197 h 3105260"/>
              <a:gd name="connsiteX232" fmla="*/ 1090057 w 3105279"/>
              <a:gd name="connsiteY232" fmla="*/ 3034406 h 3105260"/>
              <a:gd name="connsiteX233" fmla="*/ 1084468 w 3105279"/>
              <a:gd name="connsiteY233" fmla="*/ 3032642 h 3105260"/>
              <a:gd name="connsiteX234" fmla="*/ 1093201 w 3105279"/>
              <a:gd name="connsiteY234" fmla="*/ 3005010 h 3105260"/>
              <a:gd name="connsiteX235" fmla="*/ 1098679 w 3105279"/>
              <a:gd name="connsiteY235" fmla="*/ 3006738 h 3105260"/>
              <a:gd name="connsiteX236" fmla="*/ 1090057 w 3105279"/>
              <a:gd name="connsiteY236" fmla="*/ 3034388 h 3105260"/>
              <a:gd name="connsiteX237" fmla="*/ 2033056 w 3105279"/>
              <a:gd name="connsiteY237" fmla="*/ 3028946 h 3105260"/>
              <a:gd name="connsiteX238" fmla="*/ 2024066 w 3105279"/>
              <a:gd name="connsiteY238" fmla="*/ 3001406 h 3105260"/>
              <a:gd name="connsiteX239" fmla="*/ 2029545 w 3105279"/>
              <a:gd name="connsiteY239" fmla="*/ 2999604 h 3105260"/>
              <a:gd name="connsiteX240" fmla="*/ 2038627 w 3105279"/>
              <a:gd name="connsiteY240" fmla="*/ 3027108 h 3105260"/>
              <a:gd name="connsiteX241" fmla="*/ 2033056 w 3105279"/>
              <a:gd name="connsiteY241" fmla="*/ 3028946 h 3105260"/>
              <a:gd name="connsiteX242" fmla="*/ 1070533 w 3105279"/>
              <a:gd name="connsiteY242" fmla="*/ 3028174 h 3105260"/>
              <a:gd name="connsiteX243" fmla="*/ 1064962 w 3105279"/>
              <a:gd name="connsiteY243" fmla="*/ 3026354 h 3105260"/>
              <a:gd name="connsiteX244" fmla="*/ 1074063 w 3105279"/>
              <a:gd name="connsiteY244" fmla="*/ 2998851 h 3105260"/>
              <a:gd name="connsiteX245" fmla="*/ 1079523 w 3105279"/>
              <a:gd name="connsiteY245" fmla="*/ 3000652 h 3105260"/>
              <a:gd name="connsiteX246" fmla="*/ 1070533 w 3105279"/>
              <a:gd name="connsiteY246" fmla="*/ 3028192 h 3105260"/>
              <a:gd name="connsiteX247" fmla="*/ 2052507 w 3105279"/>
              <a:gd name="connsiteY247" fmla="*/ 3022438 h 3105260"/>
              <a:gd name="connsiteX248" fmla="*/ 2043149 w 3105279"/>
              <a:gd name="connsiteY248" fmla="*/ 2995008 h 3105260"/>
              <a:gd name="connsiteX249" fmla="*/ 2048591 w 3105279"/>
              <a:gd name="connsiteY249" fmla="*/ 2993133 h 3105260"/>
              <a:gd name="connsiteX250" fmla="*/ 2058059 w 3105279"/>
              <a:gd name="connsiteY250" fmla="*/ 3020508 h 3105260"/>
              <a:gd name="connsiteX251" fmla="*/ 2052507 w 3105279"/>
              <a:gd name="connsiteY251" fmla="*/ 3022420 h 3105260"/>
              <a:gd name="connsiteX252" fmla="*/ 1051100 w 3105279"/>
              <a:gd name="connsiteY252" fmla="*/ 3021684 h 3105260"/>
              <a:gd name="connsiteX253" fmla="*/ 1045566 w 3105279"/>
              <a:gd name="connsiteY253" fmla="*/ 3019791 h 3105260"/>
              <a:gd name="connsiteX254" fmla="*/ 1055016 w 3105279"/>
              <a:gd name="connsiteY254" fmla="*/ 2992398 h 3105260"/>
              <a:gd name="connsiteX255" fmla="*/ 1060440 w 3105279"/>
              <a:gd name="connsiteY255" fmla="*/ 2994255 h 3105260"/>
              <a:gd name="connsiteX256" fmla="*/ 1051082 w 3105279"/>
              <a:gd name="connsiteY256" fmla="*/ 3021684 h 3105260"/>
              <a:gd name="connsiteX257" fmla="*/ 2071903 w 3105279"/>
              <a:gd name="connsiteY257" fmla="*/ 3015672 h 3105260"/>
              <a:gd name="connsiteX258" fmla="*/ 2062196 w 3105279"/>
              <a:gd name="connsiteY258" fmla="*/ 2988371 h 3105260"/>
              <a:gd name="connsiteX259" fmla="*/ 2067601 w 3105279"/>
              <a:gd name="connsiteY259" fmla="*/ 2986423 h 3105260"/>
              <a:gd name="connsiteX260" fmla="*/ 2077436 w 3105279"/>
              <a:gd name="connsiteY260" fmla="*/ 3013669 h 3105260"/>
              <a:gd name="connsiteX261" fmla="*/ 2071903 w 3105279"/>
              <a:gd name="connsiteY261" fmla="*/ 3015654 h 3105260"/>
              <a:gd name="connsiteX262" fmla="*/ 1031760 w 3105279"/>
              <a:gd name="connsiteY262" fmla="*/ 3014937 h 3105260"/>
              <a:gd name="connsiteX263" fmla="*/ 1026244 w 3105279"/>
              <a:gd name="connsiteY263" fmla="*/ 3012970 h 3105260"/>
              <a:gd name="connsiteX264" fmla="*/ 1036062 w 3105279"/>
              <a:gd name="connsiteY264" fmla="*/ 2985706 h 3105260"/>
              <a:gd name="connsiteX265" fmla="*/ 1041467 w 3105279"/>
              <a:gd name="connsiteY265" fmla="*/ 2987636 h 3105260"/>
              <a:gd name="connsiteX266" fmla="*/ 1031760 w 3105279"/>
              <a:gd name="connsiteY266" fmla="*/ 3014937 h 3105260"/>
              <a:gd name="connsiteX267" fmla="*/ 2091206 w 3105279"/>
              <a:gd name="connsiteY267" fmla="*/ 3008668 h 3105260"/>
              <a:gd name="connsiteX268" fmla="*/ 2081132 w 3105279"/>
              <a:gd name="connsiteY268" fmla="*/ 2981514 h 3105260"/>
              <a:gd name="connsiteX269" fmla="*/ 2086518 w 3105279"/>
              <a:gd name="connsiteY269" fmla="*/ 2979510 h 3105260"/>
              <a:gd name="connsiteX270" fmla="*/ 2096703 w 3105279"/>
              <a:gd name="connsiteY270" fmla="*/ 3006627 h 3105260"/>
              <a:gd name="connsiteX271" fmla="*/ 2091206 w 3105279"/>
              <a:gd name="connsiteY271" fmla="*/ 3008686 h 3105260"/>
              <a:gd name="connsiteX272" fmla="*/ 1012511 w 3105279"/>
              <a:gd name="connsiteY272" fmla="*/ 3007933 h 3105260"/>
              <a:gd name="connsiteX273" fmla="*/ 1007032 w 3105279"/>
              <a:gd name="connsiteY273" fmla="*/ 3005892 h 3105260"/>
              <a:gd name="connsiteX274" fmla="*/ 1017217 w 3105279"/>
              <a:gd name="connsiteY274" fmla="*/ 2978775 h 3105260"/>
              <a:gd name="connsiteX275" fmla="*/ 1022604 w 3105279"/>
              <a:gd name="connsiteY275" fmla="*/ 2980779 h 3105260"/>
              <a:gd name="connsiteX276" fmla="*/ 1012529 w 3105279"/>
              <a:gd name="connsiteY276" fmla="*/ 3007951 h 3105260"/>
              <a:gd name="connsiteX277" fmla="*/ 2110400 w 3105279"/>
              <a:gd name="connsiteY277" fmla="*/ 3001388 h 3105260"/>
              <a:gd name="connsiteX278" fmla="*/ 2099958 w 3105279"/>
              <a:gd name="connsiteY278" fmla="*/ 2974362 h 3105260"/>
              <a:gd name="connsiteX279" fmla="*/ 2105326 w 3105279"/>
              <a:gd name="connsiteY279" fmla="*/ 2972285 h 3105260"/>
              <a:gd name="connsiteX280" fmla="*/ 2115879 w 3105279"/>
              <a:gd name="connsiteY280" fmla="*/ 2999274 h 3105260"/>
              <a:gd name="connsiteX281" fmla="*/ 2110400 w 3105279"/>
              <a:gd name="connsiteY281" fmla="*/ 3001406 h 3105260"/>
              <a:gd name="connsiteX282" fmla="*/ 993354 w 3105279"/>
              <a:gd name="connsiteY282" fmla="*/ 3000689 h 3105260"/>
              <a:gd name="connsiteX283" fmla="*/ 987912 w 3105279"/>
              <a:gd name="connsiteY283" fmla="*/ 2998575 h 3105260"/>
              <a:gd name="connsiteX284" fmla="*/ 998429 w 3105279"/>
              <a:gd name="connsiteY284" fmla="*/ 2971586 h 3105260"/>
              <a:gd name="connsiteX285" fmla="*/ 1003797 w 3105279"/>
              <a:gd name="connsiteY285" fmla="*/ 2973664 h 3105260"/>
              <a:gd name="connsiteX286" fmla="*/ 993354 w 3105279"/>
              <a:gd name="connsiteY286" fmla="*/ 3000689 h 3105260"/>
              <a:gd name="connsiteX287" fmla="*/ 2129501 w 3105279"/>
              <a:gd name="connsiteY287" fmla="*/ 2993868 h 3105260"/>
              <a:gd name="connsiteX288" fmla="*/ 2118710 w 3105279"/>
              <a:gd name="connsiteY288" fmla="*/ 2966972 h 3105260"/>
              <a:gd name="connsiteX289" fmla="*/ 2124060 w 3105279"/>
              <a:gd name="connsiteY289" fmla="*/ 2964821 h 3105260"/>
              <a:gd name="connsiteX290" fmla="*/ 2134943 w 3105279"/>
              <a:gd name="connsiteY290" fmla="*/ 2991681 h 3105260"/>
              <a:gd name="connsiteX291" fmla="*/ 2129501 w 3105279"/>
              <a:gd name="connsiteY291" fmla="*/ 2993868 h 3105260"/>
              <a:gd name="connsiteX292" fmla="*/ 974290 w 3105279"/>
              <a:gd name="connsiteY292" fmla="*/ 2993188 h 3105260"/>
              <a:gd name="connsiteX293" fmla="*/ 968866 w 3105279"/>
              <a:gd name="connsiteY293" fmla="*/ 2991001 h 3105260"/>
              <a:gd name="connsiteX294" fmla="*/ 979750 w 3105279"/>
              <a:gd name="connsiteY294" fmla="*/ 2964141 h 3105260"/>
              <a:gd name="connsiteX295" fmla="*/ 985081 w 3105279"/>
              <a:gd name="connsiteY295" fmla="*/ 2966292 h 3105260"/>
              <a:gd name="connsiteX296" fmla="*/ 974308 w 3105279"/>
              <a:gd name="connsiteY296" fmla="*/ 2993188 h 3105260"/>
              <a:gd name="connsiteX297" fmla="*/ 2148493 w 3105279"/>
              <a:gd name="connsiteY297" fmla="*/ 2986092 h 3105260"/>
              <a:gd name="connsiteX298" fmla="*/ 2137370 w 3105279"/>
              <a:gd name="connsiteY298" fmla="*/ 2959342 h 3105260"/>
              <a:gd name="connsiteX299" fmla="*/ 2142683 w 3105279"/>
              <a:gd name="connsiteY299" fmla="*/ 2957118 h 3105260"/>
              <a:gd name="connsiteX300" fmla="*/ 2153935 w 3105279"/>
              <a:gd name="connsiteY300" fmla="*/ 2983812 h 3105260"/>
              <a:gd name="connsiteX301" fmla="*/ 2148511 w 3105279"/>
              <a:gd name="connsiteY301" fmla="*/ 2986092 h 3105260"/>
              <a:gd name="connsiteX302" fmla="*/ 955335 w 3105279"/>
              <a:gd name="connsiteY302" fmla="*/ 2985430 h 3105260"/>
              <a:gd name="connsiteX303" fmla="*/ 949930 w 3105279"/>
              <a:gd name="connsiteY303" fmla="*/ 2983169 h 3105260"/>
              <a:gd name="connsiteX304" fmla="*/ 961181 w 3105279"/>
              <a:gd name="connsiteY304" fmla="*/ 2956474 h 3105260"/>
              <a:gd name="connsiteX305" fmla="*/ 966476 w 3105279"/>
              <a:gd name="connsiteY305" fmla="*/ 2958680 h 3105260"/>
              <a:gd name="connsiteX306" fmla="*/ 955335 w 3105279"/>
              <a:gd name="connsiteY306" fmla="*/ 2985430 h 3105260"/>
              <a:gd name="connsiteX307" fmla="*/ 2167410 w 3105279"/>
              <a:gd name="connsiteY307" fmla="*/ 2978076 h 3105260"/>
              <a:gd name="connsiteX308" fmla="*/ 2155920 w 3105279"/>
              <a:gd name="connsiteY308" fmla="*/ 2951474 h 3105260"/>
              <a:gd name="connsiteX309" fmla="*/ 2161197 w 3105279"/>
              <a:gd name="connsiteY309" fmla="*/ 2949176 h 3105260"/>
              <a:gd name="connsiteX310" fmla="*/ 2172797 w 3105279"/>
              <a:gd name="connsiteY310" fmla="*/ 2975723 h 3105260"/>
              <a:gd name="connsiteX311" fmla="*/ 2167410 w 3105279"/>
              <a:gd name="connsiteY311" fmla="*/ 2978058 h 3105260"/>
              <a:gd name="connsiteX312" fmla="*/ 936473 w 3105279"/>
              <a:gd name="connsiteY312" fmla="*/ 2977451 h 3105260"/>
              <a:gd name="connsiteX313" fmla="*/ 931104 w 3105279"/>
              <a:gd name="connsiteY313" fmla="*/ 2975116 h 3105260"/>
              <a:gd name="connsiteX314" fmla="*/ 942687 w 3105279"/>
              <a:gd name="connsiteY314" fmla="*/ 2948550 h 3105260"/>
              <a:gd name="connsiteX315" fmla="*/ 947944 w 3105279"/>
              <a:gd name="connsiteY315" fmla="*/ 2950830 h 3105260"/>
              <a:gd name="connsiteX316" fmla="*/ 936454 w 3105279"/>
              <a:gd name="connsiteY316" fmla="*/ 2977433 h 3105260"/>
              <a:gd name="connsiteX317" fmla="*/ 2186200 w 3105279"/>
              <a:gd name="connsiteY317" fmla="*/ 2969803 h 3105260"/>
              <a:gd name="connsiteX318" fmla="*/ 2174360 w 3105279"/>
              <a:gd name="connsiteY318" fmla="*/ 2943366 h 3105260"/>
              <a:gd name="connsiteX319" fmla="*/ 2179618 w 3105279"/>
              <a:gd name="connsiteY319" fmla="*/ 2940994 h 3105260"/>
              <a:gd name="connsiteX320" fmla="*/ 2191568 w 3105279"/>
              <a:gd name="connsiteY320" fmla="*/ 2967395 h 3105260"/>
              <a:gd name="connsiteX321" fmla="*/ 2186218 w 3105279"/>
              <a:gd name="connsiteY321" fmla="*/ 2969803 h 3105260"/>
              <a:gd name="connsiteX322" fmla="*/ 917739 w 3105279"/>
              <a:gd name="connsiteY322" fmla="*/ 2969196 h 3105260"/>
              <a:gd name="connsiteX323" fmla="*/ 912407 w 3105279"/>
              <a:gd name="connsiteY323" fmla="*/ 2966806 h 3105260"/>
              <a:gd name="connsiteX324" fmla="*/ 924339 w 3105279"/>
              <a:gd name="connsiteY324" fmla="*/ 2940406 h 3105260"/>
              <a:gd name="connsiteX325" fmla="*/ 929578 w 3105279"/>
              <a:gd name="connsiteY325" fmla="*/ 2942760 h 3105260"/>
              <a:gd name="connsiteX326" fmla="*/ 917739 w 3105279"/>
              <a:gd name="connsiteY326" fmla="*/ 2969196 h 3105260"/>
              <a:gd name="connsiteX327" fmla="*/ 2204897 w 3105279"/>
              <a:gd name="connsiteY327" fmla="*/ 2961273 h 3105260"/>
              <a:gd name="connsiteX328" fmla="*/ 2192708 w 3105279"/>
              <a:gd name="connsiteY328" fmla="*/ 2934983 h 3105260"/>
              <a:gd name="connsiteX329" fmla="*/ 2197929 w 3105279"/>
              <a:gd name="connsiteY329" fmla="*/ 2932556 h 3105260"/>
              <a:gd name="connsiteX330" fmla="*/ 2210210 w 3105279"/>
              <a:gd name="connsiteY330" fmla="*/ 2958791 h 3105260"/>
              <a:gd name="connsiteX331" fmla="*/ 2204897 w 3105279"/>
              <a:gd name="connsiteY331" fmla="*/ 2961273 h 3105260"/>
              <a:gd name="connsiteX332" fmla="*/ 899097 w 3105279"/>
              <a:gd name="connsiteY332" fmla="*/ 2960721 h 3105260"/>
              <a:gd name="connsiteX333" fmla="*/ 893784 w 3105279"/>
              <a:gd name="connsiteY333" fmla="*/ 2958258 h 3105260"/>
              <a:gd name="connsiteX334" fmla="*/ 906064 w 3105279"/>
              <a:gd name="connsiteY334" fmla="*/ 2932023 h 3105260"/>
              <a:gd name="connsiteX335" fmla="*/ 911267 w 3105279"/>
              <a:gd name="connsiteY335" fmla="*/ 2934450 h 3105260"/>
              <a:gd name="connsiteX336" fmla="*/ 899097 w 3105279"/>
              <a:gd name="connsiteY336" fmla="*/ 2960739 h 3105260"/>
              <a:gd name="connsiteX337" fmla="*/ 2223465 w 3105279"/>
              <a:gd name="connsiteY337" fmla="*/ 2952522 h 3105260"/>
              <a:gd name="connsiteX338" fmla="*/ 2210945 w 3105279"/>
              <a:gd name="connsiteY338" fmla="*/ 2926397 h 3105260"/>
              <a:gd name="connsiteX339" fmla="*/ 2216129 w 3105279"/>
              <a:gd name="connsiteY339" fmla="*/ 2923897 h 3105260"/>
              <a:gd name="connsiteX340" fmla="*/ 2228741 w 3105279"/>
              <a:gd name="connsiteY340" fmla="*/ 2949985 h 3105260"/>
              <a:gd name="connsiteX341" fmla="*/ 2223447 w 3105279"/>
              <a:gd name="connsiteY341" fmla="*/ 2952540 h 3105260"/>
              <a:gd name="connsiteX342" fmla="*/ 880583 w 3105279"/>
              <a:gd name="connsiteY342" fmla="*/ 2951988 h 3105260"/>
              <a:gd name="connsiteX343" fmla="*/ 875307 w 3105279"/>
              <a:gd name="connsiteY343" fmla="*/ 2949452 h 3105260"/>
              <a:gd name="connsiteX344" fmla="*/ 887937 w 3105279"/>
              <a:gd name="connsiteY344" fmla="*/ 2923364 h 3105260"/>
              <a:gd name="connsiteX345" fmla="*/ 893103 w 3105279"/>
              <a:gd name="connsiteY345" fmla="*/ 2925864 h 3105260"/>
              <a:gd name="connsiteX346" fmla="*/ 880583 w 3105279"/>
              <a:gd name="connsiteY346" fmla="*/ 2951988 h 3105260"/>
              <a:gd name="connsiteX347" fmla="*/ 2241923 w 3105279"/>
              <a:gd name="connsiteY347" fmla="*/ 2943513 h 3105260"/>
              <a:gd name="connsiteX348" fmla="*/ 2229072 w 3105279"/>
              <a:gd name="connsiteY348" fmla="*/ 2917554 h 3105260"/>
              <a:gd name="connsiteX349" fmla="*/ 2233466 w 3105279"/>
              <a:gd name="connsiteY349" fmla="*/ 2915366 h 3105260"/>
              <a:gd name="connsiteX350" fmla="*/ 2234220 w 3105279"/>
              <a:gd name="connsiteY350" fmla="*/ 2914980 h 3105260"/>
              <a:gd name="connsiteX351" fmla="*/ 2247181 w 3105279"/>
              <a:gd name="connsiteY351" fmla="*/ 2940903 h 3105260"/>
              <a:gd name="connsiteX352" fmla="*/ 2246409 w 3105279"/>
              <a:gd name="connsiteY352" fmla="*/ 2941289 h 3105260"/>
              <a:gd name="connsiteX353" fmla="*/ 2241923 w 3105279"/>
              <a:gd name="connsiteY353" fmla="*/ 2943532 h 3105260"/>
              <a:gd name="connsiteX354" fmla="*/ 862180 w 3105279"/>
              <a:gd name="connsiteY354" fmla="*/ 2943017 h 3105260"/>
              <a:gd name="connsiteX355" fmla="*/ 856941 w 3105279"/>
              <a:gd name="connsiteY355" fmla="*/ 2940406 h 3105260"/>
              <a:gd name="connsiteX356" fmla="*/ 869902 w 3105279"/>
              <a:gd name="connsiteY356" fmla="*/ 2914502 h 3105260"/>
              <a:gd name="connsiteX357" fmla="*/ 875031 w 3105279"/>
              <a:gd name="connsiteY357" fmla="*/ 2917058 h 3105260"/>
              <a:gd name="connsiteX358" fmla="*/ 862162 w 3105279"/>
              <a:gd name="connsiteY358" fmla="*/ 2943017 h 3105260"/>
              <a:gd name="connsiteX359" fmla="*/ 2260252 w 3105279"/>
              <a:gd name="connsiteY359" fmla="*/ 2934284 h 3105260"/>
              <a:gd name="connsiteX360" fmla="*/ 2247034 w 3105279"/>
              <a:gd name="connsiteY360" fmla="*/ 2908491 h 3105260"/>
              <a:gd name="connsiteX361" fmla="*/ 2252145 w 3105279"/>
              <a:gd name="connsiteY361" fmla="*/ 2905862 h 3105260"/>
              <a:gd name="connsiteX362" fmla="*/ 2265437 w 3105279"/>
              <a:gd name="connsiteY362" fmla="*/ 2931600 h 3105260"/>
              <a:gd name="connsiteX363" fmla="*/ 2260234 w 3105279"/>
              <a:gd name="connsiteY363" fmla="*/ 2934266 h 3105260"/>
              <a:gd name="connsiteX364" fmla="*/ 843906 w 3105279"/>
              <a:gd name="connsiteY364" fmla="*/ 2933806 h 3105260"/>
              <a:gd name="connsiteX365" fmla="*/ 838703 w 3105279"/>
              <a:gd name="connsiteY365" fmla="*/ 2931122 h 3105260"/>
              <a:gd name="connsiteX366" fmla="*/ 852014 w 3105279"/>
              <a:gd name="connsiteY366" fmla="*/ 2905384 h 3105260"/>
              <a:gd name="connsiteX367" fmla="*/ 857106 w 3105279"/>
              <a:gd name="connsiteY367" fmla="*/ 2908013 h 3105260"/>
              <a:gd name="connsiteX368" fmla="*/ 843906 w 3105279"/>
              <a:gd name="connsiteY368" fmla="*/ 2933806 h 3105260"/>
              <a:gd name="connsiteX369" fmla="*/ 2278398 w 3105279"/>
              <a:gd name="connsiteY369" fmla="*/ 2924853 h 3105260"/>
              <a:gd name="connsiteX370" fmla="*/ 2264867 w 3105279"/>
              <a:gd name="connsiteY370" fmla="*/ 2899225 h 3105260"/>
              <a:gd name="connsiteX371" fmla="*/ 2269923 w 3105279"/>
              <a:gd name="connsiteY371" fmla="*/ 2896541 h 3105260"/>
              <a:gd name="connsiteX372" fmla="*/ 2283564 w 3105279"/>
              <a:gd name="connsiteY372" fmla="*/ 2922113 h 3105260"/>
              <a:gd name="connsiteX373" fmla="*/ 2278398 w 3105279"/>
              <a:gd name="connsiteY373" fmla="*/ 2924853 h 3105260"/>
              <a:gd name="connsiteX374" fmla="*/ 825742 w 3105279"/>
              <a:gd name="connsiteY374" fmla="*/ 2924357 h 3105260"/>
              <a:gd name="connsiteX375" fmla="*/ 820576 w 3105279"/>
              <a:gd name="connsiteY375" fmla="*/ 2921617 h 3105260"/>
              <a:gd name="connsiteX376" fmla="*/ 834218 w 3105279"/>
              <a:gd name="connsiteY376" fmla="*/ 2896063 h 3105260"/>
              <a:gd name="connsiteX377" fmla="*/ 839273 w 3105279"/>
              <a:gd name="connsiteY377" fmla="*/ 2898747 h 3105260"/>
              <a:gd name="connsiteX378" fmla="*/ 825724 w 3105279"/>
              <a:gd name="connsiteY378" fmla="*/ 2924357 h 3105260"/>
              <a:gd name="connsiteX379" fmla="*/ 2296396 w 3105279"/>
              <a:gd name="connsiteY379" fmla="*/ 2915201 h 3105260"/>
              <a:gd name="connsiteX380" fmla="*/ 2282535 w 3105279"/>
              <a:gd name="connsiteY380" fmla="*/ 2889757 h 3105260"/>
              <a:gd name="connsiteX381" fmla="*/ 2287535 w 3105279"/>
              <a:gd name="connsiteY381" fmla="*/ 2887017 h 3105260"/>
              <a:gd name="connsiteX382" fmla="*/ 2301507 w 3105279"/>
              <a:gd name="connsiteY382" fmla="*/ 2912407 h 3105260"/>
              <a:gd name="connsiteX383" fmla="*/ 2296378 w 3105279"/>
              <a:gd name="connsiteY383" fmla="*/ 2915219 h 3105260"/>
              <a:gd name="connsiteX384" fmla="*/ 807707 w 3105279"/>
              <a:gd name="connsiteY384" fmla="*/ 2914668 h 3105260"/>
              <a:gd name="connsiteX385" fmla="*/ 802578 w 3105279"/>
              <a:gd name="connsiteY385" fmla="*/ 2911855 h 3105260"/>
              <a:gd name="connsiteX386" fmla="*/ 816550 w 3105279"/>
              <a:gd name="connsiteY386" fmla="*/ 2886466 h 3105260"/>
              <a:gd name="connsiteX387" fmla="*/ 821587 w 3105279"/>
              <a:gd name="connsiteY387" fmla="*/ 2889224 h 3105260"/>
              <a:gd name="connsiteX388" fmla="*/ 807707 w 3105279"/>
              <a:gd name="connsiteY388" fmla="*/ 2914649 h 3105260"/>
              <a:gd name="connsiteX389" fmla="*/ 2314303 w 3105279"/>
              <a:gd name="connsiteY389" fmla="*/ 2905292 h 3105260"/>
              <a:gd name="connsiteX390" fmla="*/ 2300129 w 3105279"/>
              <a:gd name="connsiteY390" fmla="*/ 2880031 h 3105260"/>
              <a:gd name="connsiteX391" fmla="*/ 2305129 w 3105279"/>
              <a:gd name="connsiteY391" fmla="*/ 2877219 h 3105260"/>
              <a:gd name="connsiteX392" fmla="*/ 2319432 w 3105279"/>
              <a:gd name="connsiteY392" fmla="*/ 2902424 h 3105260"/>
              <a:gd name="connsiteX393" fmla="*/ 2314321 w 3105279"/>
              <a:gd name="connsiteY393" fmla="*/ 2905310 h 3105260"/>
              <a:gd name="connsiteX394" fmla="*/ 789819 w 3105279"/>
              <a:gd name="connsiteY394" fmla="*/ 2904740 h 3105260"/>
              <a:gd name="connsiteX395" fmla="*/ 784726 w 3105279"/>
              <a:gd name="connsiteY395" fmla="*/ 2901854 h 3105260"/>
              <a:gd name="connsiteX396" fmla="*/ 799030 w 3105279"/>
              <a:gd name="connsiteY396" fmla="*/ 2876667 h 3105260"/>
              <a:gd name="connsiteX397" fmla="*/ 804012 w 3105279"/>
              <a:gd name="connsiteY397" fmla="*/ 2879498 h 3105260"/>
              <a:gd name="connsiteX398" fmla="*/ 789800 w 3105279"/>
              <a:gd name="connsiteY398" fmla="*/ 2904740 h 3105260"/>
              <a:gd name="connsiteX399" fmla="*/ 2332099 w 3105279"/>
              <a:gd name="connsiteY399" fmla="*/ 2895125 h 3105260"/>
              <a:gd name="connsiteX400" fmla="*/ 2317557 w 3105279"/>
              <a:gd name="connsiteY400" fmla="*/ 2870067 h 3105260"/>
              <a:gd name="connsiteX401" fmla="*/ 2322521 w 3105279"/>
              <a:gd name="connsiteY401" fmla="*/ 2867181 h 3105260"/>
              <a:gd name="connsiteX402" fmla="*/ 2337137 w 3105279"/>
              <a:gd name="connsiteY402" fmla="*/ 2892202 h 3105260"/>
              <a:gd name="connsiteX403" fmla="*/ 2332081 w 3105279"/>
              <a:gd name="connsiteY403" fmla="*/ 2895143 h 3105260"/>
              <a:gd name="connsiteX404" fmla="*/ 772041 w 3105279"/>
              <a:gd name="connsiteY404" fmla="*/ 2894592 h 3105260"/>
              <a:gd name="connsiteX405" fmla="*/ 766985 w 3105279"/>
              <a:gd name="connsiteY405" fmla="*/ 2891650 h 3105260"/>
              <a:gd name="connsiteX406" fmla="*/ 781638 w 3105279"/>
              <a:gd name="connsiteY406" fmla="*/ 2866647 h 3105260"/>
              <a:gd name="connsiteX407" fmla="*/ 786583 w 3105279"/>
              <a:gd name="connsiteY407" fmla="*/ 2869534 h 3105260"/>
              <a:gd name="connsiteX408" fmla="*/ 772041 w 3105279"/>
              <a:gd name="connsiteY408" fmla="*/ 2894592 h 3105260"/>
              <a:gd name="connsiteX409" fmla="*/ 2349748 w 3105279"/>
              <a:gd name="connsiteY409" fmla="*/ 2884738 h 3105260"/>
              <a:gd name="connsiteX410" fmla="*/ 2334912 w 3105279"/>
              <a:gd name="connsiteY410" fmla="*/ 2859845 h 3105260"/>
              <a:gd name="connsiteX411" fmla="*/ 2339821 w 3105279"/>
              <a:gd name="connsiteY411" fmla="*/ 2856904 h 3105260"/>
              <a:gd name="connsiteX412" fmla="*/ 2354767 w 3105279"/>
              <a:gd name="connsiteY412" fmla="*/ 2881723 h 3105260"/>
              <a:gd name="connsiteX413" fmla="*/ 2349730 w 3105279"/>
              <a:gd name="connsiteY413" fmla="*/ 2884738 h 3105260"/>
              <a:gd name="connsiteX414" fmla="*/ 754410 w 3105279"/>
              <a:gd name="connsiteY414" fmla="*/ 2884205 h 3105260"/>
              <a:gd name="connsiteX415" fmla="*/ 749391 w 3105279"/>
              <a:gd name="connsiteY415" fmla="*/ 2881190 h 3105260"/>
              <a:gd name="connsiteX416" fmla="*/ 764356 w 3105279"/>
              <a:gd name="connsiteY416" fmla="*/ 2856389 h 3105260"/>
              <a:gd name="connsiteX417" fmla="*/ 769265 w 3105279"/>
              <a:gd name="connsiteY417" fmla="*/ 2859349 h 3105260"/>
              <a:gd name="connsiteX418" fmla="*/ 754392 w 3105279"/>
              <a:gd name="connsiteY418" fmla="*/ 2884223 h 3105260"/>
              <a:gd name="connsiteX419" fmla="*/ 2367287 w 3105279"/>
              <a:gd name="connsiteY419" fmla="*/ 2874111 h 3105260"/>
              <a:gd name="connsiteX420" fmla="*/ 2352102 w 3105279"/>
              <a:gd name="connsiteY420" fmla="*/ 2849440 h 3105260"/>
              <a:gd name="connsiteX421" fmla="*/ 2356992 w 3105279"/>
              <a:gd name="connsiteY421" fmla="*/ 2846424 h 3105260"/>
              <a:gd name="connsiteX422" fmla="*/ 2372270 w 3105279"/>
              <a:gd name="connsiteY422" fmla="*/ 2871041 h 3105260"/>
              <a:gd name="connsiteX423" fmla="*/ 2367287 w 3105279"/>
              <a:gd name="connsiteY423" fmla="*/ 2874111 h 3105260"/>
              <a:gd name="connsiteX424" fmla="*/ 736927 w 3105279"/>
              <a:gd name="connsiteY424" fmla="*/ 2873578 h 3105260"/>
              <a:gd name="connsiteX425" fmla="*/ 731963 w 3105279"/>
              <a:gd name="connsiteY425" fmla="*/ 2870508 h 3105260"/>
              <a:gd name="connsiteX426" fmla="*/ 747259 w 3105279"/>
              <a:gd name="connsiteY426" fmla="*/ 2845891 h 3105260"/>
              <a:gd name="connsiteX427" fmla="*/ 752149 w 3105279"/>
              <a:gd name="connsiteY427" fmla="*/ 2848906 h 3105260"/>
              <a:gd name="connsiteX428" fmla="*/ 736945 w 3105279"/>
              <a:gd name="connsiteY428" fmla="*/ 2873578 h 3105260"/>
              <a:gd name="connsiteX429" fmla="*/ 2384661 w 3105279"/>
              <a:gd name="connsiteY429" fmla="*/ 2863265 h 3105260"/>
              <a:gd name="connsiteX430" fmla="*/ 2369163 w 3105279"/>
              <a:gd name="connsiteY430" fmla="*/ 2838776 h 3105260"/>
              <a:gd name="connsiteX431" fmla="*/ 2374016 w 3105279"/>
              <a:gd name="connsiteY431" fmla="*/ 2835688 h 3105260"/>
              <a:gd name="connsiteX432" fmla="*/ 2389606 w 3105279"/>
              <a:gd name="connsiteY432" fmla="*/ 2860102 h 3105260"/>
              <a:gd name="connsiteX433" fmla="*/ 2384661 w 3105279"/>
              <a:gd name="connsiteY433" fmla="*/ 2863246 h 3105260"/>
              <a:gd name="connsiteX434" fmla="*/ 719571 w 3105279"/>
              <a:gd name="connsiteY434" fmla="*/ 2862732 h 3105260"/>
              <a:gd name="connsiteX435" fmla="*/ 714644 w 3105279"/>
              <a:gd name="connsiteY435" fmla="*/ 2859588 h 3105260"/>
              <a:gd name="connsiteX436" fmla="*/ 730253 w 3105279"/>
              <a:gd name="connsiteY436" fmla="*/ 2835173 h 3105260"/>
              <a:gd name="connsiteX437" fmla="*/ 735088 w 3105279"/>
              <a:gd name="connsiteY437" fmla="*/ 2838262 h 3105260"/>
              <a:gd name="connsiteX438" fmla="*/ 719553 w 3105279"/>
              <a:gd name="connsiteY438" fmla="*/ 2862732 h 3105260"/>
              <a:gd name="connsiteX439" fmla="*/ 2401924 w 3105279"/>
              <a:gd name="connsiteY439" fmla="*/ 2852197 h 3105260"/>
              <a:gd name="connsiteX440" fmla="*/ 2386076 w 3105279"/>
              <a:gd name="connsiteY440" fmla="*/ 2827929 h 3105260"/>
              <a:gd name="connsiteX441" fmla="*/ 2390893 w 3105279"/>
              <a:gd name="connsiteY441" fmla="*/ 2824767 h 3105260"/>
              <a:gd name="connsiteX442" fmla="*/ 2406796 w 3105279"/>
              <a:gd name="connsiteY442" fmla="*/ 2848980 h 3105260"/>
              <a:gd name="connsiteX443" fmla="*/ 2401905 w 3105279"/>
              <a:gd name="connsiteY443" fmla="*/ 2852179 h 3105260"/>
              <a:gd name="connsiteX444" fmla="*/ 702382 w 3105279"/>
              <a:gd name="connsiteY444" fmla="*/ 2851664 h 3105260"/>
              <a:gd name="connsiteX445" fmla="*/ 697492 w 3105279"/>
              <a:gd name="connsiteY445" fmla="*/ 2848447 h 3105260"/>
              <a:gd name="connsiteX446" fmla="*/ 713431 w 3105279"/>
              <a:gd name="connsiteY446" fmla="*/ 2824253 h 3105260"/>
              <a:gd name="connsiteX447" fmla="*/ 718211 w 3105279"/>
              <a:gd name="connsiteY447" fmla="*/ 2827396 h 3105260"/>
              <a:gd name="connsiteX448" fmla="*/ 702364 w 3105279"/>
              <a:gd name="connsiteY448" fmla="*/ 2851646 h 3105260"/>
              <a:gd name="connsiteX449" fmla="*/ 2419003 w 3105279"/>
              <a:gd name="connsiteY449" fmla="*/ 2840891 h 3105260"/>
              <a:gd name="connsiteX450" fmla="*/ 2402843 w 3105279"/>
              <a:gd name="connsiteY450" fmla="*/ 2816825 h 3105260"/>
              <a:gd name="connsiteX451" fmla="*/ 2407623 w 3105279"/>
              <a:gd name="connsiteY451" fmla="*/ 2813608 h 3105260"/>
              <a:gd name="connsiteX452" fmla="*/ 2423857 w 3105279"/>
              <a:gd name="connsiteY452" fmla="*/ 2837618 h 3105260"/>
              <a:gd name="connsiteX453" fmla="*/ 2419003 w 3105279"/>
              <a:gd name="connsiteY453" fmla="*/ 2840891 h 3105260"/>
              <a:gd name="connsiteX454" fmla="*/ 685321 w 3105279"/>
              <a:gd name="connsiteY454" fmla="*/ 2840357 h 3105260"/>
              <a:gd name="connsiteX455" fmla="*/ 680486 w 3105279"/>
              <a:gd name="connsiteY455" fmla="*/ 2837085 h 3105260"/>
              <a:gd name="connsiteX456" fmla="*/ 696738 w 3105279"/>
              <a:gd name="connsiteY456" fmla="*/ 2813093 h 3105260"/>
              <a:gd name="connsiteX457" fmla="*/ 701500 w 3105279"/>
              <a:gd name="connsiteY457" fmla="*/ 2816292 h 3105260"/>
              <a:gd name="connsiteX458" fmla="*/ 685339 w 3105279"/>
              <a:gd name="connsiteY458" fmla="*/ 2840339 h 3105260"/>
              <a:gd name="connsiteX459" fmla="*/ 2435935 w 3105279"/>
              <a:gd name="connsiteY459" fmla="*/ 2829364 h 3105260"/>
              <a:gd name="connsiteX460" fmla="*/ 2419481 w 3105279"/>
              <a:gd name="connsiteY460" fmla="*/ 2805519 h 3105260"/>
              <a:gd name="connsiteX461" fmla="*/ 2424206 w 3105279"/>
              <a:gd name="connsiteY461" fmla="*/ 2802246 h 3105260"/>
              <a:gd name="connsiteX462" fmla="*/ 2440752 w 3105279"/>
              <a:gd name="connsiteY462" fmla="*/ 2826036 h 3105260"/>
              <a:gd name="connsiteX463" fmla="*/ 2435935 w 3105279"/>
              <a:gd name="connsiteY463" fmla="*/ 2829364 h 3105260"/>
              <a:gd name="connsiteX464" fmla="*/ 668426 w 3105279"/>
              <a:gd name="connsiteY464" fmla="*/ 2828830 h 3105260"/>
              <a:gd name="connsiteX465" fmla="*/ 663627 w 3105279"/>
              <a:gd name="connsiteY465" fmla="*/ 2825503 h 3105260"/>
              <a:gd name="connsiteX466" fmla="*/ 680192 w 3105279"/>
              <a:gd name="connsiteY466" fmla="*/ 2801731 h 3105260"/>
              <a:gd name="connsiteX467" fmla="*/ 684898 w 3105279"/>
              <a:gd name="connsiteY467" fmla="*/ 2805004 h 3105260"/>
              <a:gd name="connsiteX468" fmla="*/ 668407 w 3105279"/>
              <a:gd name="connsiteY468" fmla="*/ 2828830 h 3105260"/>
              <a:gd name="connsiteX469" fmla="*/ 2452720 w 3105279"/>
              <a:gd name="connsiteY469" fmla="*/ 2817616 h 3105260"/>
              <a:gd name="connsiteX470" fmla="*/ 2435954 w 3105279"/>
              <a:gd name="connsiteY470" fmla="*/ 2793992 h 3105260"/>
              <a:gd name="connsiteX471" fmla="*/ 2440623 w 3105279"/>
              <a:gd name="connsiteY471" fmla="*/ 2790664 h 3105260"/>
              <a:gd name="connsiteX472" fmla="*/ 2457482 w 3105279"/>
              <a:gd name="connsiteY472" fmla="*/ 2814233 h 3105260"/>
              <a:gd name="connsiteX473" fmla="*/ 2452702 w 3105279"/>
              <a:gd name="connsiteY473" fmla="*/ 2817634 h 3105260"/>
              <a:gd name="connsiteX474" fmla="*/ 651696 w 3105279"/>
              <a:gd name="connsiteY474" fmla="*/ 2817101 h 3105260"/>
              <a:gd name="connsiteX475" fmla="*/ 646934 w 3105279"/>
              <a:gd name="connsiteY475" fmla="*/ 2813700 h 3105260"/>
              <a:gd name="connsiteX476" fmla="*/ 663830 w 3105279"/>
              <a:gd name="connsiteY476" fmla="*/ 2790168 h 3105260"/>
              <a:gd name="connsiteX477" fmla="*/ 668481 w 3105279"/>
              <a:gd name="connsiteY477" fmla="*/ 2793495 h 3105260"/>
              <a:gd name="connsiteX478" fmla="*/ 651696 w 3105279"/>
              <a:gd name="connsiteY478" fmla="*/ 2817101 h 3105260"/>
              <a:gd name="connsiteX479" fmla="*/ 2469359 w 3105279"/>
              <a:gd name="connsiteY479" fmla="*/ 2805647 h 3105260"/>
              <a:gd name="connsiteX480" fmla="*/ 2452298 w 3105279"/>
              <a:gd name="connsiteY480" fmla="*/ 2782226 h 3105260"/>
              <a:gd name="connsiteX481" fmla="*/ 2456931 w 3105279"/>
              <a:gd name="connsiteY481" fmla="*/ 2778843 h 3105260"/>
              <a:gd name="connsiteX482" fmla="*/ 2474102 w 3105279"/>
              <a:gd name="connsiteY482" fmla="*/ 2802173 h 3105260"/>
              <a:gd name="connsiteX483" fmla="*/ 2469377 w 3105279"/>
              <a:gd name="connsiteY483" fmla="*/ 2805647 h 3105260"/>
              <a:gd name="connsiteX484" fmla="*/ 635094 w 3105279"/>
              <a:gd name="connsiteY484" fmla="*/ 2805133 h 3105260"/>
              <a:gd name="connsiteX485" fmla="*/ 630388 w 3105279"/>
              <a:gd name="connsiteY485" fmla="*/ 2801677 h 3105260"/>
              <a:gd name="connsiteX486" fmla="*/ 647578 w 3105279"/>
              <a:gd name="connsiteY486" fmla="*/ 2778346 h 3105260"/>
              <a:gd name="connsiteX487" fmla="*/ 652192 w 3105279"/>
              <a:gd name="connsiteY487" fmla="*/ 2781747 h 3105260"/>
              <a:gd name="connsiteX488" fmla="*/ 635094 w 3105279"/>
              <a:gd name="connsiteY488" fmla="*/ 2805133 h 3105260"/>
              <a:gd name="connsiteX489" fmla="*/ 2485831 w 3105279"/>
              <a:gd name="connsiteY489" fmla="*/ 2793458 h 3105260"/>
              <a:gd name="connsiteX490" fmla="*/ 2468421 w 3105279"/>
              <a:gd name="connsiteY490" fmla="*/ 2770294 h 3105260"/>
              <a:gd name="connsiteX491" fmla="*/ 2473017 w 3105279"/>
              <a:gd name="connsiteY491" fmla="*/ 2766838 h 3105260"/>
              <a:gd name="connsiteX492" fmla="*/ 2490482 w 3105279"/>
              <a:gd name="connsiteY492" fmla="*/ 2789947 h 3105260"/>
              <a:gd name="connsiteX493" fmla="*/ 2485813 w 3105279"/>
              <a:gd name="connsiteY493" fmla="*/ 2793458 h 3105260"/>
              <a:gd name="connsiteX494" fmla="*/ 618677 w 3105279"/>
              <a:gd name="connsiteY494" fmla="*/ 2792962 h 3105260"/>
              <a:gd name="connsiteX495" fmla="*/ 614026 w 3105279"/>
              <a:gd name="connsiteY495" fmla="*/ 2789451 h 3105260"/>
              <a:gd name="connsiteX496" fmla="*/ 631510 w 3105279"/>
              <a:gd name="connsiteY496" fmla="*/ 2766341 h 3105260"/>
              <a:gd name="connsiteX497" fmla="*/ 636087 w 3105279"/>
              <a:gd name="connsiteY497" fmla="*/ 2769798 h 3105260"/>
              <a:gd name="connsiteX498" fmla="*/ 618677 w 3105279"/>
              <a:gd name="connsiteY498" fmla="*/ 2792962 h 3105260"/>
              <a:gd name="connsiteX499" fmla="*/ 2502138 w 3105279"/>
              <a:gd name="connsiteY499" fmla="*/ 2781049 h 3105260"/>
              <a:gd name="connsiteX500" fmla="*/ 2484434 w 3105279"/>
              <a:gd name="connsiteY500" fmla="*/ 2758105 h 3105260"/>
              <a:gd name="connsiteX501" fmla="*/ 2488993 w 3105279"/>
              <a:gd name="connsiteY501" fmla="*/ 2754575 h 3105260"/>
              <a:gd name="connsiteX502" fmla="*/ 2506771 w 3105279"/>
              <a:gd name="connsiteY502" fmla="*/ 2777464 h 3105260"/>
              <a:gd name="connsiteX503" fmla="*/ 2502156 w 3105279"/>
              <a:gd name="connsiteY503" fmla="*/ 2781049 h 3105260"/>
              <a:gd name="connsiteX504" fmla="*/ 602425 w 3105279"/>
              <a:gd name="connsiteY504" fmla="*/ 2780571 h 3105260"/>
              <a:gd name="connsiteX505" fmla="*/ 597811 w 3105279"/>
              <a:gd name="connsiteY505" fmla="*/ 2776986 h 3105260"/>
              <a:gd name="connsiteX506" fmla="*/ 615625 w 3105279"/>
              <a:gd name="connsiteY506" fmla="*/ 2754134 h 3105260"/>
              <a:gd name="connsiteX507" fmla="*/ 620148 w 3105279"/>
              <a:gd name="connsiteY507" fmla="*/ 2757645 h 3105260"/>
              <a:gd name="connsiteX508" fmla="*/ 602444 w 3105279"/>
              <a:gd name="connsiteY508" fmla="*/ 2780571 h 3105260"/>
              <a:gd name="connsiteX509" fmla="*/ 2518280 w 3105279"/>
              <a:gd name="connsiteY509" fmla="*/ 2768437 h 3105260"/>
              <a:gd name="connsiteX510" fmla="*/ 2500281 w 3105279"/>
              <a:gd name="connsiteY510" fmla="*/ 2745732 h 3105260"/>
              <a:gd name="connsiteX511" fmla="*/ 2504767 w 3105279"/>
              <a:gd name="connsiteY511" fmla="*/ 2742166 h 3105260"/>
              <a:gd name="connsiteX512" fmla="*/ 2522858 w 3105279"/>
              <a:gd name="connsiteY512" fmla="*/ 2764797 h 3105260"/>
              <a:gd name="connsiteX513" fmla="*/ 2518261 w 3105279"/>
              <a:gd name="connsiteY513" fmla="*/ 2768456 h 3105260"/>
              <a:gd name="connsiteX514" fmla="*/ 586320 w 3105279"/>
              <a:gd name="connsiteY514" fmla="*/ 2767959 h 3105260"/>
              <a:gd name="connsiteX515" fmla="*/ 581743 w 3105279"/>
              <a:gd name="connsiteY515" fmla="*/ 2764319 h 3105260"/>
              <a:gd name="connsiteX516" fmla="*/ 599851 w 3105279"/>
              <a:gd name="connsiteY516" fmla="*/ 2741706 h 3105260"/>
              <a:gd name="connsiteX517" fmla="*/ 604337 w 3105279"/>
              <a:gd name="connsiteY517" fmla="*/ 2745273 h 3105260"/>
              <a:gd name="connsiteX518" fmla="*/ 586320 w 3105279"/>
              <a:gd name="connsiteY518" fmla="*/ 2767959 h 3105260"/>
              <a:gd name="connsiteX519" fmla="*/ 2534256 w 3105279"/>
              <a:gd name="connsiteY519" fmla="*/ 2755586 h 3105260"/>
              <a:gd name="connsiteX520" fmla="*/ 2515963 w 3105279"/>
              <a:gd name="connsiteY520" fmla="*/ 2733120 h 3105260"/>
              <a:gd name="connsiteX521" fmla="*/ 2520412 w 3105279"/>
              <a:gd name="connsiteY521" fmla="*/ 2729480 h 3105260"/>
              <a:gd name="connsiteX522" fmla="*/ 2538797 w 3105279"/>
              <a:gd name="connsiteY522" fmla="*/ 2751873 h 3105260"/>
              <a:gd name="connsiteX523" fmla="*/ 2534256 w 3105279"/>
              <a:gd name="connsiteY523" fmla="*/ 2755586 h 3105260"/>
              <a:gd name="connsiteX524" fmla="*/ 570399 w 3105279"/>
              <a:gd name="connsiteY524" fmla="*/ 2755145 h 3105260"/>
              <a:gd name="connsiteX525" fmla="*/ 565877 w 3105279"/>
              <a:gd name="connsiteY525" fmla="*/ 2751450 h 3105260"/>
              <a:gd name="connsiteX526" fmla="*/ 584280 w 3105279"/>
              <a:gd name="connsiteY526" fmla="*/ 2729076 h 3105260"/>
              <a:gd name="connsiteX527" fmla="*/ 588710 w 3105279"/>
              <a:gd name="connsiteY527" fmla="*/ 2732698 h 3105260"/>
              <a:gd name="connsiteX528" fmla="*/ 570399 w 3105279"/>
              <a:gd name="connsiteY528" fmla="*/ 2755145 h 3105260"/>
              <a:gd name="connsiteX529" fmla="*/ 2550067 w 3105279"/>
              <a:gd name="connsiteY529" fmla="*/ 2742552 h 3105260"/>
              <a:gd name="connsiteX530" fmla="*/ 2531480 w 3105279"/>
              <a:gd name="connsiteY530" fmla="*/ 2720325 h 3105260"/>
              <a:gd name="connsiteX531" fmla="*/ 2535874 w 3105279"/>
              <a:gd name="connsiteY531" fmla="*/ 2716630 h 3105260"/>
              <a:gd name="connsiteX532" fmla="*/ 2554552 w 3105279"/>
              <a:gd name="connsiteY532" fmla="*/ 2738783 h 3105260"/>
              <a:gd name="connsiteX533" fmla="*/ 2550067 w 3105279"/>
              <a:gd name="connsiteY533" fmla="*/ 2742552 h 3105260"/>
              <a:gd name="connsiteX534" fmla="*/ 554662 w 3105279"/>
              <a:gd name="connsiteY534" fmla="*/ 2742129 h 3105260"/>
              <a:gd name="connsiteX535" fmla="*/ 550195 w 3105279"/>
              <a:gd name="connsiteY535" fmla="*/ 2738378 h 3105260"/>
              <a:gd name="connsiteX536" fmla="*/ 568892 w 3105279"/>
              <a:gd name="connsiteY536" fmla="*/ 2716243 h 3105260"/>
              <a:gd name="connsiteX537" fmla="*/ 573267 w 3105279"/>
              <a:gd name="connsiteY537" fmla="*/ 2719939 h 3105260"/>
              <a:gd name="connsiteX538" fmla="*/ 554662 w 3105279"/>
              <a:gd name="connsiteY538" fmla="*/ 2742147 h 3105260"/>
              <a:gd name="connsiteX539" fmla="*/ 2565693 w 3105279"/>
              <a:gd name="connsiteY539" fmla="*/ 2729297 h 3105260"/>
              <a:gd name="connsiteX540" fmla="*/ 2546794 w 3105279"/>
              <a:gd name="connsiteY540" fmla="*/ 2707327 h 3105260"/>
              <a:gd name="connsiteX541" fmla="*/ 2551151 w 3105279"/>
              <a:gd name="connsiteY541" fmla="*/ 2703576 h 3105260"/>
              <a:gd name="connsiteX542" fmla="*/ 2570124 w 3105279"/>
              <a:gd name="connsiteY542" fmla="*/ 2725472 h 3105260"/>
              <a:gd name="connsiteX543" fmla="*/ 2565693 w 3105279"/>
              <a:gd name="connsiteY543" fmla="*/ 2729297 h 3105260"/>
              <a:gd name="connsiteX544" fmla="*/ 539072 w 3105279"/>
              <a:gd name="connsiteY544" fmla="*/ 2728892 h 3105260"/>
              <a:gd name="connsiteX545" fmla="*/ 534660 w 3105279"/>
              <a:gd name="connsiteY545" fmla="*/ 2725086 h 3105260"/>
              <a:gd name="connsiteX546" fmla="*/ 553633 w 3105279"/>
              <a:gd name="connsiteY546" fmla="*/ 2703190 h 3105260"/>
              <a:gd name="connsiteX547" fmla="*/ 557971 w 3105279"/>
              <a:gd name="connsiteY547" fmla="*/ 2706941 h 3105260"/>
              <a:gd name="connsiteX548" fmla="*/ 539054 w 3105279"/>
              <a:gd name="connsiteY548" fmla="*/ 2728892 h 3105260"/>
              <a:gd name="connsiteX549" fmla="*/ 2581136 w 3105279"/>
              <a:gd name="connsiteY549" fmla="*/ 2715821 h 3105260"/>
              <a:gd name="connsiteX550" fmla="*/ 2561962 w 3105279"/>
              <a:gd name="connsiteY550" fmla="*/ 2694109 h 3105260"/>
              <a:gd name="connsiteX551" fmla="*/ 2566245 w 3105279"/>
              <a:gd name="connsiteY551" fmla="*/ 2690321 h 3105260"/>
              <a:gd name="connsiteX552" fmla="*/ 2585512 w 3105279"/>
              <a:gd name="connsiteY552" fmla="*/ 2711960 h 3105260"/>
              <a:gd name="connsiteX553" fmla="*/ 2581155 w 3105279"/>
              <a:gd name="connsiteY553" fmla="*/ 2715821 h 3105260"/>
              <a:gd name="connsiteX554" fmla="*/ 523684 w 3105279"/>
              <a:gd name="connsiteY554" fmla="*/ 2715453 h 3105260"/>
              <a:gd name="connsiteX555" fmla="*/ 519327 w 3105279"/>
              <a:gd name="connsiteY555" fmla="*/ 2711592 h 3105260"/>
              <a:gd name="connsiteX556" fmla="*/ 538594 w 3105279"/>
              <a:gd name="connsiteY556" fmla="*/ 2689954 h 3105260"/>
              <a:gd name="connsiteX557" fmla="*/ 542878 w 3105279"/>
              <a:gd name="connsiteY557" fmla="*/ 2693759 h 3105260"/>
              <a:gd name="connsiteX558" fmla="*/ 523684 w 3105279"/>
              <a:gd name="connsiteY558" fmla="*/ 2715471 h 3105260"/>
              <a:gd name="connsiteX559" fmla="*/ 2596341 w 3105279"/>
              <a:gd name="connsiteY559" fmla="*/ 2702216 h 3105260"/>
              <a:gd name="connsiteX560" fmla="*/ 2576871 w 3105279"/>
              <a:gd name="connsiteY560" fmla="*/ 2680743 h 3105260"/>
              <a:gd name="connsiteX561" fmla="*/ 2581100 w 3105279"/>
              <a:gd name="connsiteY561" fmla="*/ 2676901 h 3105260"/>
              <a:gd name="connsiteX562" fmla="*/ 2600642 w 3105279"/>
              <a:gd name="connsiteY562" fmla="*/ 2698282 h 3105260"/>
              <a:gd name="connsiteX563" fmla="*/ 2596322 w 3105279"/>
              <a:gd name="connsiteY563" fmla="*/ 2702216 h 3105260"/>
              <a:gd name="connsiteX564" fmla="*/ 508480 w 3105279"/>
              <a:gd name="connsiteY564" fmla="*/ 2701830 h 3105260"/>
              <a:gd name="connsiteX565" fmla="*/ 504160 w 3105279"/>
              <a:gd name="connsiteY565" fmla="*/ 2697896 h 3105260"/>
              <a:gd name="connsiteX566" fmla="*/ 523702 w 3105279"/>
              <a:gd name="connsiteY566" fmla="*/ 2676514 h 3105260"/>
              <a:gd name="connsiteX567" fmla="*/ 527931 w 3105279"/>
              <a:gd name="connsiteY567" fmla="*/ 2680375 h 3105260"/>
              <a:gd name="connsiteX568" fmla="*/ 508462 w 3105279"/>
              <a:gd name="connsiteY568" fmla="*/ 2701830 h 3105260"/>
              <a:gd name="connsiteX569" fmla="*/ 2611379 w 3105279"/>
              <a:gd name="connsiteY569" fmla="*/ 2688409 h 3105260"/>
              <a:gd name="connsiteX570" fmla="*/ 2591634 w 3105279"/>
              <a:gd name="connsiteY570" fmla="*/ 2667212 h 3105260"/>
              <a:gd name="connsiteX571" fmla="*/ 2595807 w 3105279"/>
              <a:gd name="connsiteY571" fmla="*/ 2663296 h 3105260"/>
              <a:gd name="connsiteX572" fmla="*/ 2615644 w 3105279"/>
              <a:gd name="connsiteY572" fmla="*/ 2684420 h 3105260"/>
              <a:gd name="connsiteX573" fmla="*/ 2611379 w 3105279"/>
              <a:gd name="connsiteY573" fmla="*/ 2688391 h 3105260"/>
              <a:gd name="connsiteX574" fmla="*/ 493441 w 3105279"/>
              <a:gd name="connsiteY574" fmla="*/ 2687986 h 3105260"/>
              <a:gd name="connsiteX575" fmla="*/ 489195 w 3105279"/>
              <a:gd name="connsiteY575" fmla="*/ 2684015 h 3105260"/>
              <a:gd name="connsiteX576" fmla="*/ 509032 w 3105279"/>
              <a:gd name="connsiteY576" fmla="*/ 2662891 h 3105260"/>
              <a:gd name="connsiteX577" fmla="*/ 513223 w 3105279"/>
              <a:gd name="connsiteY577" fmla="*/ 2666807 h 3105260"/>
              <a:gd name="connsiteX578" fmla="*/ 493460 w 3105279"/>
              <a:gd name="connsiteY578" fmla="*/ 2687986 h 3105260"/>
              <a:gd name="connsiteX579" fmla="*/ 2626215 w 3105279"/>
              <a:gd name="connsiteY579" fmla="*/ 2674400 h 3105260"/>
              <a:gd name="connsiteX580" fmla="*/ 2606176 w 3105279"/>
              <a:gd name="connsiteY580" fmla="*/ 2653478 h 3105260"/>
              <a:gd name="connsiteX581" fmla="*/ 2610313 w 3105279"/>
              <a:gd name="connsiteY581" fmla="*/ 2649508 h 3105260"/>
              <a:gd name="connsiteX582" fmla="*/ 2630407 w 3105279"/>
              <a:gd name="connsiteY582" fmla="*/ 2670374 h 3105260"/>
              <a:gd name="connsiteX583" fmla="*/ 2626215 w 3105279"/>
              <a:gd name="connsiteY583" fmla="*/ 2674400 h 3105260"/>
              <a:gd name="connsiteX584" fmla="*/ 478605 w 3105279"/>
              <a:gd name="connsiteY584" fmla="*/ 2673959 h 3105260"/>
              <a:gd name="connsiteX585" fmla="*/ 474413 w 3105279"/>
              <a:gd name="connsiteY585" fmla="*/ 2669914 h 3105260"/>
              <a:gd name="connsiteX586" fmla="*/ 494526 w 3105279"/>
              <a:gd name="connsiteY586" fmla="*/ 2649066 h 3105260"/>
              <a:gd name="connsiteX587" fmla="*/ 498663 w 3105279"/>
              <a:gd name="connsiteY587" fmla="*/ 2653037 h 3105260"/>
              <a:gd name="connsiteX588" fmla="*/ 478624 w 3105279"/>
              <a:gd name="connsiteY588" fmla="*/ 2673959 h 3105260"/>
              <a:gd name="connsiteX589" fmla="*/ 2640868 w 3105279"/>
              <a:gd name="connsiteY589" fmla="*/ 2660189 h 3105260"/>
              <a:gd name="connsiteX590" fmla="*/ 2620571 w 3105279"/>
              <a:gd name="connsiteY590" fmla="*/ 2639506 h 3105260"/>
              <a:gd name="connsiteX591" fmla="*/ 2624634 w 3105279"/>
              <a:gd name="connsiteY591" fmla="*/ 2635499 h 3105260"/>
              <a:gd name="connsiteX592" fmla="*/ 2645023 w 3105279"/>
              <a:gd name="connsiteY592" fmla="*/ 2656089 h 3105260"/>
              <a:gd name="connsiteX593" fmla="*/ 2640868 w 3105279"/>
              <a:gd name="connsiteY593" fmla="*/ 2660189 h 3105260"/>
              <a:gd name="connsiteX594" fmla="*/ 463953 w 3105279"/>
              <a:gd name="connsiteY594" fmla="*/ 2659748 h 3105260"/>
              <a:gd name="connsiteX595" fmla="*/ 459798 w 3105279"/>
              <a:gd name="connsiteY595" fmla="*/ 2655648 h 3105260"/>
              <a:gd name="connsiteX596" fmla="*/ 480205 w 3105279"/>
              <a:gd name="connsiteY596" fmla="*/ 2635076 h 3105260"/>
              <a:gd name="connsiteX597" fmla="*/ 484268 w 3105279"/>
              <a:gd name="connsiteY597" fmla="*/ 2639083 h 3105260"/>
              <a:gd name="connsiteX598" fmla="*/ 463953 w 3105279"/>
              <a:gd name="connsiteY598" fmla="*/ 2659748 h 3105260"/>
              <a:gd name="connsiteX599" fmla="*/ 2655337 w 3105279"/>
              <a:gd name="connsiteY599" fmla="*/ 2645794 h 3105260"/>
              <a:gd name="connsiteX600" fmla="*/ 2634764 w 3105279"/>
              <a:gd name="connsiteY600" fmla="*/ 2625387 h 3105260"/>
              <a:gd name="connsiteX601" fmla="*/ 2638790 w 3105279"/>
              <a:gd name="connsiteY601" fmla="*/ 2621324 h 3105260"/>
              <a:gd name="connsiteX602" fmla="*/ 2659436 w 3105279"/>
              <a:gd name="connsiteY602" fmla="*/ 2641657 h 3105260"/>
              <a:gd name="connsiteX603" fmla="*/ 2655337 w 3105279"/>
              <a:gd name="connsiteY603" fmla="*/ 2645794 h 3105260"/>
              <a:gd name="connsiteX604" fmla="*/ 449484 w 3105279"/>
              <a:gd name="connsiteY604" fmla="*/ 2645334 h 3105260"/>
              <a:gd name="connsiteX605" fmla="*/ 445384 w 3105279"/>
              <a:gd name="connsiteY605" fmla="*/ 2641179 h 3105260"/>
              <a:gd name="connsiteX606" fmla="*/ 466049 w 3105279"/>
              <a:gd name="connsiteY606" fmla="*/ 2620864 h 3105260"/>
              <a:gd name="connsiteX607" fmla="*/ 470056 w 3105279"/>
              <a:gd name="connsiteY607" fmla="*/ 2624946 h 3105260"/>
              <a:gd name="connsiteX608" fmla="*/ 449466 w 3105279"/>
              <a:gd name="connsiteY608" fmla="*/ 2645334 h 3105260"/>
              <a:gd name="connsiteX609" fmla="*/ 2669640 w 3105279"/>
              <a:gd name="connsiteY609" fmla="*/ 2631178 h 3105260"/>
              <a:gd name="connsiteX610" fmla="*/ 2648792 w 3105279"/>
              <a:gd name="connsiteY610" fmla="*/ 2611065 h 3105260"/>
              <a:gd name="connsiteX611" fmla="*/ 2652763 w 3105279"/>
              <a:gd name="connsiteY611" fmla="*/ 2606929 h 3105260"/>
              <a:gd name="connsiteX612" fmla="*/ 2673684 w 3105279"/>
              <a:gd name="connsiteY612" fmla="*/ 2626968 h 3105260"/>
              <a:gd name="connsiteX613" fmla="*/ 2669640 w 3105279"/>
              <a:gd name="connsiteY613" fmla="*/ 2631160 h 3105260"/>
              <a:gd name="connsiteX614" fmla="*/ 435218 w 3105279"/>
              <a:gd name="connsiteY614" fmla="*/ 2630737 h 3105260"/>
              <a:gd name="connsiteX615" fmla="*/ 431173 w 3105279"/>
              <a:gd name="connsiteY615" fmla="*/ 2626527 h 3105260"/>
              <a:gd name="connsiteX616" fmla="*/ 452113 w 3105279"/>
              <a:gd name="connsiteY616" fmla="*/ 2606506 h 3105260"/>
              <a:gd name="connsiteX617" fmla="*/ 456066 w 3105279"/>
              <a:gd name="connsiteY617" fmla="*/ 2610624 h 3105260"/>
              <a:gd name="connsiteX618" fmla="*/ 435218 w 3105279"/>
              <a:gd name="connsiteY618" fmla="*/ 2630737 h 3105260"/>
              <a:gd name="connsiteX619" fmla="*/ 2683722 w 3105279"/>
              <a:gd name="connsiteY619" fmla="*/ 2616415 h 3105260"/>
              <a:gd name="connsiteX620" fmla="*/ 2662617 w 3105279"/>
              <a:gd name="connsiteY620" fmla="*/ 2596560 h 3105260"/>
              <a:gd name="connsiteX621" fmla="*/ 2666533 w 3105279"/>
              <a:gd name="connsiteY621" fmla="*/ 2592387 h 3105260"/>
              <a:gd name="connsiteX622" fmla="*/ 2687712 w 3105279"/>
              <a:gd name="connsiteY622" fmla="*/ 2612150 h 3105260"/>
              <a:gd name="connsiteX623" fmla="*/ 2683722 w 3105279"/>
              <a:gd name="connsiteY623" fmla="*/ 2616397 h 3105260"/>
              <a:gd name="connsiteX624" fmla="*/ 421135 w 3105279"/>
              <a:gd name="connsiteY624" fmla="*/ 2615937 h 3105260"/>
              <a:gd name="connsiteX625" fmla="*/ 417164 w 3105279"/>
              <a:gd name="connsiteY625" fmla="*/ 2611690 h 3105260"/>
              <a:gd name="connsiteX626" fmla="*/ 438361 w 3105279"/>
              <a:gd name="connsiteY626" fmla="*/ 2591927 h 3105260"/>
              <a:gd name="connsiteX627" fmla="*/ 442277 w 3105279"/>
              <a:gd name="connsiteY627" fmla="*/ 2596119 h 3105260"/>
              <a:gd name="connsiteX628" fmla="*/ 421153 w 3105279"/>
              <a:gd name="connsiteY628" fmla="*/ 2615956 h 3105260"/>
              <a:gd name="connsiteX629" fmla="*/ 2697603 w 3105279"/>
              <a:gd name="connsiteY629" fmla="*/ 2601432 h 3105260"/>
              <a:gd name="connsiteX630" fmla="*/ 2676221 w 3105279"/>
              <a:gd name="connsiteY630" fmla="*/ 2581871 h 3105260"/>
              <a:gd name="connsiteX631" fmla="*/ 2680082 w 3105279"/>
              <a:gd name="connsiteY631" fmla="*/ 2577642 h 3105260"/>
              <a:gd name="connsiteX632" fmla="*/ 2701519 w 3105279"/>
              <a:gd name="connsiteY632" fmla="*/ 2597130 h 3105260"/>
              <a:gd name="connsiteX633" fmla="*/ 2697584 w 3105279"/>
              <a:gd name="connsiteY633" fmla="*/ 2601432 h 3105260"/>
              <a:gd name="connsiteX634" fmla="*/ 407273 w 3105279"/>
              <a:gd name="connsiteY634" fmla="*/ 2600972 h 3105260"/>
              <a:gd name="connsiteX635" fmla="*/ 403357 w 3105279"/>
              <a:gd name="connsiteY635" fmla="*/ 2596670 h 3105260"/>
              <a:gd name="connsiteX636" fmla="*/ 424812 w 3105279"/>
              <a:gd name="connsiteY636" fmla="*/ 2577183 h 3105260"/>
              <a:gd name="connsiteX637" fmla="*/ 428673 w 3105279"/>
              <a:gd name="connsiteY637" fmla="*/ 2581411 h 3105260"/>
              <a:gd name="connsiteX638" fmla="*/ 407291 w 3105279"/>
              <a:gd name="connsiteY638" fmla="*/ 2600954 h 3105260"/>
              <a:gd name="connsiteX639" fmla="*/ 2711299 w 3105279"/>
              <a:gd name="connsiteY639" fmla="*/ 2586265 h 3105260"/>
              <a:gd name="connsiteX640" fmla="*/ 2689661 w 3105279"/>
              <a:gd name="connsiteY640" fmla="*/ 2566998 h 3105260"/>
              <a:gd name="connsiteX641" fmla="*/ 2693466 w 3105279"/>
              <a:gd name="connsiteY641" fmla="*/ 2562714 h 3105260"/>
              <a:gd name="connsiteX642" fmla="*/ 2715178 w 3105279"/>
              <a:gd name="connsiteY642" fmla="*/ 2581908 h 3105260"/>
              <a:gd name="connsiteX643" fmla="*/ 2711299 w 3105279"/>
              <a:gd name="connsiteY643" fmla="*/ 2586265 h 3105260"/>
              <a:gd name="connsiteX644" fmla="*/ 393595 w 3105279"/>
              <a:gd name="connsiteY644" fmla="*/ 2585823 h 3105260"/>
              <a:gd name="connsiteX645" fmla="*/ 389734 w 3105279"/>
              <a:gd name="connsiteY645" fmla="*/ 2581466 h 3105260"/>
              <a:gd name="connsiteX646" fmla="*/ 411446 w 3105279"/>
              <a:gd name="connsiteY646" fmla="*/ 2562273 h 3105260"/>
              <a:gd name="connsiteX647" fmla="*/ 415252 w 3105279"/>
              <a:gd name="connsiteY647" fmla="*/ 2566557 h 3105260"/>
              <a:gd name="connsiteX648" fmla="*/ 393613 w 3105279"/>
              <a:gd name="connsiteY648" fmla="*/ 2585823 h 3105260"/>
              <a:gd name="connsiteX649" fmla="*/ 2724793 w 3105279"/>
              <a:gd name="connsiteY649" fmla="*/ 2570932 h 3105260"/>
              <a:gd name="connsiteX650" fmla="*/ 2702916 w 3105279"/>
              <a:gd name="connsiteY650" fmla="*/ 2551941 h 3105260"/>
              <a:gd name="connsiteX651" fmla="*/ 2706666 w 3105279"/>
              <a:gd name="connsiteY651" fmla="*/ 2547602 h 3105260"/>
              <a:gd name="connsiteX652" fmla="*/ 2728617 w 3105279"/>
              <a:gd name="connsiteY652" fmla="*/ 2566520 h 3105260"/>
              <a:gd name="connsiteX653" fmla="*/ 2724793 w 3105279"/>
              <a:gd name="connsiteY653" fmla="*/ 2570932 h 3105260"/>
              <a:gd name="connsiteX654" fmla="*/ 380137 w 3105279"/>
              <a:gd name="connsiteY654" fmla="*/ 2570491 h 3105260"/>
              <a:gd name="connsiteX655" fmla="*/ 376314 w 3105279"/>
              <a:gd name="connsiteY655" fmla="*/ 2566060 h 3105260"/>
              <a:gd name="connsiteX656" fmla="*/ 398283 w 3105279"/>
              <a:gd name="connsiteY656" fmla="*/ 2547179 h 3105260"/>
              <a:gd name="connsiteX657" fmla="*/ 402033 w 3105279"/>
              <a:gd name="connsiteY657" fmla="*/ 2551518 h 3105260"/>
              <a:gd name="connsiteX658" fmla="*/ 380137 w 3105279"/>
              <a:gd name="connsiteY658" fmla="*/ 2570509 h 3105260"/>
              <a:gd name="connsiteX659" fmla="*/ 2738085 w 3105279"/>
              <a:gd name="connsiteY659" fmla="*/ 2555415 h 3105260"/>
              <a:gd name="connsiteX660" fmla="*/ 2715951 w 3105279"/>
              <a:gd name="connsiteY660" fmla="*/ 2536718 h 3105260"/>
              <a:gd name="connsiteX661" fmla="*/ 2719627 w 3105279"/>
              <a:gd name="connsiteY661" fmla="*/ 2532343 h 3105260"/>
              <a:gd name="connsiteX662" fmla="*/ 2741836 w 3105279"/>
              <a:gd name="connsiteY662" fmla="*/ 2550948 h 3105260"/>
              <a:gd name="connsiteX663" fmla="*/ 2738067 w 3105279"/>
              <a:gd name="connsiteY663" fmla="*/ 2555415 h 3105260"/>
              <a:gd name="connsiteX664" fmla="*/ 366809 w 3105279"/>
              <a:gd name="connsiteY664" fmla="*/ 2554919 h 3105260"/>
              <a:gd name="connsiteX665" fmla="*/ 363040 w 3105279"/>
              <a:gd name="connsiteY665" fmla="*/ 2550433 h 3105260"/>
              <a:gd name="connsiteX666" fmla="*/ 385248 w 3105279"/>
              <a:gd name="connsiteY666" fmla="*/ 2531828 h 3105260"/>
              <a:gd name="connsiteX667" fmla="*/ 388944 w 3105279"/>
              <a:gd name="connsiteY667" fmla="*/ 2536222 h 3105260"/>
              <a:gd name="connsiteX668" fmla="*/ 366809 w 3105279"/>
              <a:gd name="connsiteY668" fmla="*/ 2554901 h 3105260"/>
              <a:gd name="connsiteX669" fmla="*/ 2751175 w 3105279"/>
              <a:gd name="connsiteY669" fmla="*/ 2539715 h 3105260"/>
              <a:gd name="connsiteX670" fmla="*/ 2728783 w 3105279"/>
              <a:gd name="connsiteY670" fmla="*/ 2521330 h 3105260"/>
              <a:gd name="connsiteX671" fmla="*/ 2732423 w 3105279"/>
              <a:gd name="connsiteY671" fmla="*/ 2516881 h 3105260"/>
              <a:gd name="connsiteX672" fmla="*/ 2754852 w 3105279"/>
              <a:gd name="connsiteY672" fmla="*/ 2535211 h 3105260"/>
              <a:gd name="connsiteX673" fmla="*/ 2751157 w 3105279"/>
              <a:gd name="connsiteY673" fmla="*/ 2539715 h 3105260"/>
              <a:gd name="connsiteX674" fmla="*/ 353700 w 3105279"/>
              <a:gd name="connsiteY674" fmla="*/ 2539163 h 3105260"/>
              <a:gd name="connsiteX675" fmla="*/ 350005 w 3105279"/>
              <a:gd name="connsiteY675" fmla="*/ 2534641 h 3105260"/>
              <a:gd name="connsiteX676" fmla="*/ 372453 w 3105279"/>
              <a:gd name="connsiteY676" fmla="*/ 2516330 h 3105260"/>
              <a:gd name="connsiteX677" fmla="*/ 376093 w 3105279"/>
              <a:gd name="connsiteY677" fmla="*/ 2520779 h 3105260"/>
              <a:gd name="connsiteX678" fmla="*/ 353700 w 3105279"/>
              <a:gd name="connsiteY678" fmla="*/ 2539163 h 3105260"/>
              <a:gd name="connsiteX679" fmla="*/ 2764063 w 3105279"/>
              <a:gd name="connsiteY679" fmla="*/ 2523849 h 3105260"/>
              <a:gd name="connsiteX680" fmla="*/ 2741432 w 3105279"/>
              <a:gd name="connsiteY680" fmla="*/ 2505759 h 3105260"/>
              <a:gd name="connsiteX681" fmla="*/ 2745016 w 3105279"/>
              <a:gd name="connsiteY681" fmla="*/ 2501273 h 3105260"/>
              <a:gd name="connsiteX682" fmla="*/ 2767703 w 3105279"/>
              <a:gd name="connsiteY682" fmla="*/ 2519308 h 3105260"/>
              <a:gd name="connsiteX683" fmla="*/ 2764081 w 3105279"/>
              <a:gd name="connsiteY683" fmla="*/ 2523867 h 3105260"/>
              <a:gd name="connsiteX684" fmla="*/ 340795 w 3105279"/>
              <a:gd name="connsiteY684" fmla="*/ 2523242 h 3105260"/>
              <a:gd name="connsiteX685" fmla="*/ 337154 w 3105279"/>
              <a:gd name="connsiteY685" fmla="*/ 2518665 h 3105260"/>
              <a:gd name="connsiteX686" fmla="*/ 359859 w 3105279"/>
              <a:gd name="connsiteY686" fmla="*/ 2500666 h 3105260"/>
              <a:gd name="connsiteX687" fmla="*/ 363444 w 3105279"/>
              <a:gd name="connsiteY687" fmla="*/ 2505152 h 3105260"/>
              <a:gd name="connsiteX688" fmla="*/ 340813 w 3105279"/>
              <a:gd name="connsiteY688" fmla="*/ 2523242 h 3105260"/>
              <a:gd name="connsiteX689" fmla="*/ 2776730 w 3105279"/>
              <a:gd name="connsiteY689" fmla="*/ 2507799 h 3105260"/>
              <a:gd name="connsiteX690" fmla="*/ 2753860 w 3105279"/>
              <a:gd name="connsiteY690" fmla="*/ 2490003 h 3105260"/>
              <a:gd name="connsiteX691" fmla="*/ 2757389 w 3105279"/>
              <a:gd name="connsiteY691" fmla="*/ 2485462 h 3105260"/>
              <a:gd name="connsiteX692" fmla="*/ 2780315 w 3105279"/>
              <a:gd name="connsiteY692" fmla="*/ 2503185 h 3105260"/>
              <a:gd name="connsiteX693" fmla="*/ 2776748 w 3105279"/>
              <a:gd name="connsiteY693" fmla="*/ 2507781 h 3105260"/>
              <a:gd name="connsiteX694" fmla="*/ 328109 w 3105279"/>
              <a:gd name="connsiteY694" fmla="*/ 2507156 h 3105260"/>
              <a:gd name="connsiteX695" fmla="*/ 324524 w 3105279"/>
              <a:gd name="connsiteY695" fmla="*/ 2502523 h 3105260"/>
              <a:gd name="connsiteX696" fmla="*/ 347468 w 3105279"/>
              <a:gd name="connsiteY696" fmla="*/ 2484837 h 3105260"/>
              <a:gd name="connsiteX697" fmla="*/ 350980 w 3105279"/>
              <a:gd name="connsiteY697" fmla="*/ 2489378 h 3105260"/>
              <a:gd name="connsiteX698" fmla="*/ 328109 w 3105279"/>
              <a:gd name="connsiteY698" fmla="*/ 2507174 h 3105260"/>
              <a:gd name="connsiteX699" fmla="*/ 2789195 w 3105279"/>
              <a:gd name="connsiteY699" fmla="*/ 2491603 h 3105260"/>
              <a:gd name="connsiteX700" fmla="*/ 2766085 w 3105279"/>
              <a:gd name="connsiteY700" fmla="*/ 2474119 h 3105260"/>
              <a:gd name="connsiteX701" fmla="*/ 2769541 w 3105279"/>
              <a:gd name="connsiteY701" fmla="*/ 2469541 h 3105260"/>
              <a:gd name="connsiteX702" fmla="*/ 2792706 w 3105279"/>
              <a:gd name="connsiteY702" fmla="*/ 2486951 h 3105260"/>
              <a:gd name="connsiteX703" fmla="*/ 2789195 w 3105279"/>
              <a:gd name="connsiteY703" fmla="*/ 2491603 h 3105260"/>
              <a:gd name="connsiteX704" fmla="*/ 315644 w 3105279"/>
              <a:gd name="connsiteY704" fmla="*/ 2490904 h 3105260"/>
              <a:gd name="connsiteX705" fmla="*/ 312115 w 3105279"/>
              <a:gd name="connsiteY705" fmla="*/ 2486216 h 3105260"/>
              <a:gd name="connsiteX706" fmla="*/ 335298 w 3105279"/>
              <a:gd name="connsiteY706" fmla="*/ 2468824 h 3105260"/>
              <a:gd name="connsiteX707" fmla="*/ 338754 w 3105279"/>
              <a:gd name="connsiteY707" fmla="*/ 2473402 h 3105260"/>
              <a:gd name="connsiteX708" fmla="*/ 315663 w 3105279"/>
              <a:gd name="connsiteY708" fmla="*/ 2490886 h 3105260"/>
              <a:gd name="connsiteX709" fmla="*/ 2801420 w 3105279"/>
              <a:gd name="connsiteY709" fmla="*/ 2475240 h 3105260"/>
              <a:gd name="connsiteX710" fmla="*/ 2778109 w 3105279"/>
              <a:gd name="connsiteY710" fmla="*/ 2458032 h 3105260"/>
              <a:gd name="connsiteX711" fmla="*/ 2781491 w 3105279"/>
              <a:gd name="connsiteY711" fmla="*/ 2453418 h 3105260"/>
              <a:gd name="connsiteX712" fmla="*/ 2804877 w 3105279"/>
              <a:gd name="connsiteY712" fmla="*/ 2470534 h 3105260"/>
              <a:gd name="connsiteX713" fmla="*/ 2801420 w 3105279"/>
              <a:gd name="connsiteY713" fmla="*/ 2475240 h 3105260"/>
              <a:gd name="connsiteX714" fmla="*/ 303382 w 3105279"/>
              <a:gd name="connsiteY714" fmla="*/ 2474487 h 3105260"/>
              <a:gd name="connsiteX715" fmla="*/ 299907 w 3105279"/>
              <a:gd name="connsiteY715" fmla="*/ 2469762 h 3105260"/>
              <a:gd name="connsiteX716" fmla="*/ 323311 w 3105279"/>
              <a:gd name="connsiteY716" fmla="*/ 2452683 h 3105260"/>
              <a:gd name="connsiteX717" fmla="*/ 326694 w 3105279"/>
              <a:gd name="connsiteY717" fmla="*/ 2457315 h 3105260"/>
              <a:gd name="connsiteX718" fmla="*/ 303364 w 3105279"/>
              <a:gd name="connsiteY718" fmla="*/ 2474505 h 3105260"/>
              <a:gd name="connsiteX719" fmla="*/ 2813462 w 3105279"/>
              <a:gd name="connsiteY719" fmla="*/ 2458694 h 3105260"/>
              <a:gd name="connsiteX720" fmla="*/ 2789930 w 3105279"/>
              <a:gd name="connsiteY720" fmla="*/ 2441799 h 3105260"/>
              <a:gd name="connsiteX721" fmla="*/ 2793257 w 3105279"/>
              <a:gd name="connsiteY721" fmla="*/ 2437148 h 3105260"/>
              <a:gd name="connsiteX722" fmla="*/ 2816863 w 3105279"/>
              <a:gd name="connsiteY722" fmla="*/ 2453933 h 3105260"/>
              <a:gd name="connsiteX723" fmla="*/ 2813462 w 3105279"/>
              <a:gd name="connsiteY723" fmla="*/ 2458694 h 3105260"/>
              <a:gd name="connsiteX724" fmla="*/ 291340 w 3105279"/>
              <a:gd name="connsiteY724" fmla="*/ 2457885 h 3105260"/>
              <a:gd name="connsiteX725" fmla="*/ 287939 w 3105279"/>
              <a:gd name="connsiteY725" fmla="*/ 2453124 h 3105260"/>
              <a:gd name="connsiteX726" fmla="*/ 311563 w 3105279"/>
              <a:gd name="connsiteY726" fmla="*/ 2436339 h 3105260"/>
              <a:gd name="connsiteX727" fmla="*/ 314909 w 3105279"/>
              <a:gd name="connsiteY727" fmla="*/ 2441027 h 3105260"/>
              <a:gd name="connsiteX728" fmla="*/ 291340 w 3105279"/>
              <a:gd name="connsiteY728" fmla="*/ 2457885 h 3105260"/>
              <a:gd name="connsiteX729" fmla="*/ 2825265 w 3105279"/>
              <a:gd name="connsiteY729" fmla="*/ 2442001 h 3105260"/>
              <a:gd name="connsiteX730" fmla="*/ 2801494 w 3105279"/>
              <a:gd name="connsiteY730" fmla="*/ 2425437 h 3105260"/>
              <a:gd name="connsiteX731" fmla="*/ 2804766 w 3105279"/>
              <a:gd name="connsiteY731" fmla="*/ 2420730 h 3105260"/>
              <a:gd name="connsiteX732" fmla="*/ 2828593 w 3105279"/>
              <a:gd name="connsiteY732" fmla="*/ 2437221 h 3105260"/>
              <a:gd name="connsiteX733" fmla="*/ 2825265 w 3105279"/>
              <a:gd name="connsiteY733" fmla="*/ 2442020 h 3105260"/>
              <a:gd name="connsiteX734" fmla="*/ 279519 w 3105279"/>
              <a:gd name="connsiteY734" fmla="*/ 2441155 h 3105260"/>
              <a:gd name="connsiteX735" fmla="*/ 276173 w 3105279"/>
              <a:gd name="connsiteY735" fmla="*/ 2436339 h 3105260"/>
              <a:gd name="connsiteX736" fmla="*/ 300018 w 3105279"/>
              <a:gd name="connsiteY736" fmla="*/ 2419885 h 3105260"/>
              <a:gd name="connsiteX737" fmla="*/ 303290 w 3105279"/>
              <a:gd name="connsiteY737" fmla="*/ 2424609 h 3105260"/>
              <a:gd name="connsiteX738" fmla="*/ 279519 w 3105279"/>
              <a:gd name="connsiteY738" fmla="*/ 2441155 h 3105260"/>
              <a:gd name="connsiteX739" fmla="*/ 2836847 w 3105279"/>
              <a:gd name="connsiteY739" fmla="*/ 2425142 h 3105260"/>
              <a:gd name="connsiteX740" fmla="*/ 2812874 w 3105279"/>
              <a:gd name="connsiteY740" fmla="*/ 2408872 h 3105260"/>
              <a:gd name="connsiteX741" fmla="*/ 2816073 w 3105279"/>
              <a:gd name="connsiteY741" fmla="*/ 2404129 h 3105260"/>
              <a:gd name="connsiteX742" fmla="*/ 2840120 w 3105279"/>
              <a:gd name="connsiteY742" fmla="*/ 2420289 h 3105260"/>
              <a:gd name="connsiteX743" fmla="*/ 2836847 w 3105279"/>
              <a:gd name="connsiteY743" fmla="*/ 2425142 h 3105260"/>
              <a:gd name="connsiteX744" fmla="*/ 267918 w 3105279"/>
              <a:gd name="connsiteY744" fmla="*/ 2424260 h 3105260"/>
              <a:gd name="connsiteX745" fmla="*/ 264646 w 3105279"/>
              <a:gd name="connsiteY745" fmla="*/ 2419407 h 3105260"/>
              <a:gd name="connsiteX746" fmla="*/ 288693 w 3105279"/>
              <a:gd name="connsiteY746" fmla="*/ 2403265 h 3105260"/>
              <a:gd name="connsiteX747" fmla="*/ 291910 w 3105279"/>
              <a:gd name="connsiteY747" fmla="*/ 2408027 h 3105260"/>
              <a:gd name="connsiteX748" fmla="*/ 267900 w 3105279"/>
              <a:gd name="connsiteY748" fmla="*/ 2424260 h 3105260"/>
              <a:gd name="connsiteX749" fmla="*/ 2848227 w 3105279"/>
              <a:gd name="connsiteY749" fmla="*/ 2408155 h 3105260"/>
              <a:gd name="connsiteX750" fmla="*/ 2824033 w 3105279"/>
              <a:gd name="connsiteY750" fmla="*/ 2392197 h 3105260"/>
              <a:gd name="connsiteX751" fmla="*/ 2827177 w 3105279"/>
              <a:gd name="connsiteY751" fmla="*/ 2387417 h 3105260"/>
              <a:gd name="connsiteX752" fmla="*/ 2851426 w 3105279"/>
              <a:gd name="connsiteY752" fmla="*/ 2403265 h 3105260"/>
              <a:gd name="connsiteX753" fmla="*/ 2848209 w 3105279"/>
              <a:gd name="connsiteY753" fmla="*/ 2408155 h 3105260"/>
              <a:gd name="connsiteX754" fmla="*/ 256556 w 3105279"/>
              <a:gd name="connsiteY754" fmla="*/ 2407218 h 3105260"/>
              <a:gd name="connsiteX755" fmla="*/ 253358 w 3105279"/>
              <a:gd name="connsiteY755" fmla="*/ 2402327 h 3105260"/>
              <a:gd name="connsiteX756" fmla="*/ 277625 w 3105279"/>
              <a:gd name="connsiteY756" fmla="*/ 2386498 h 3105260"/>
              <a:gd name="connsiteX757" fmla="*/ 280769 w 3105279"/>
              <a:gd name="connsiteY757" fmla="*/ 2391296 h 3105260"/>
              <a:gd name="connsiteX758" fmla="*/ 256556 w 3105279"/>
              <a:gd name="connsiteY758" fmla="*/ 2407218 h 3105260"/>
              <a:gd name="connsiteX759" fmla="*/ 2859368 w 3105279"/>
              <a:gd name="connsiteY759" fmla="*/ 2390984 h 3105260"/>
              <a:gd name="connsiteX760" fmla="*/ 2834972 w 3105279"/>
              <a:gd name="connsiteY760" fmla="*/ 2375357 h 3105260"/>
              <a:gd name="connsiteX761" fmla="*/ 2838061 w 3105279"/>
              <a:gd name="connsiteY761" fmla="*/ 2370522 h 3105260"/>
              <a:gd name="connsiteX762" fmla="*/ 2862512 w 3105279"/>
              <a:gd name="connsiteY762" fmla="*/ 2386057 h 3105260"/>
              <a:gd name="connsiteX763" fmla="*/ 2859368 w 3105279"/>
              <a:gd name="connsiteY763" fmla="*/ 2390984 h 3105260"/>
              <a:gd name="connsiteX764" fmla="*/ 245415 w 3105279"/>
              <a:gd name="connsiteY764" fmla="*/ 2390028 h 3105260"/>
              <a:gd name="connsiteX765" fmla="*/ 242272 w 3105279"/>
              <a:gd name="connsiteY765" fmla="*/ 2385101 h 3105260"/>
              <a:gd name="connsiteX766" fmla="*/ 266742 w 3105279"/>
              <a:gd name="connsiteY766" fmla="*/ 2369584 h 3105260"/>
              <a:gd name="connsiteX767" fmla="*/ 269830 w 3105279"/>
              <a:gd name="connsiteY767" fmla="*/ 2374438 h 3105260"/>
              <a:gd name="connsiteX768" fmla="*/ 245415 w 3105279"/>
              <a:gd name="connsiteY768" fmla="*/ 2390046 h 3105260"/>
              <a:gd name="connsiteX769" fmla="*/ 2870270 w 3105279"/>
              <a:gd name="connsiteY769" fmla="*/ 2373684 h 3105260"/>
              <a:gd name="connsiteX770" fmla="*/ 2845672 w 3105279"/>
              <a:gd name="connsiteY770" fmla="*/ 2358370 h 3105260"/>
              <a:gd name="connsiteX771" fmla="*/ 2848687 w 3105279"/>
              <a:gd name="connsiteY771" fmla="*/ 2353498 h 3105260"/>
              <a:gd name="connsiteX772" fmla="*/ 2873341 w 3105279"/>
              <a:gd name="connsiteY772" fmla="*/ 2368702 h 3105260"/>
              <a:gd name="connsiteX773" fmla="*/ 2870252 w 3105279"/>
              <a:gd name="connsiteY773" fmla="*/ 2373684 h 3105260"/>
              <a:gd name="connsiteX774" fmla="*/ 234495 w 3105279"/>
              <a:gd name="connsiteY774" fmla="*/ 2372673 h 3105260"/>
              <a:gd name="connsiteX775" fmla="*/ 231425 w 3105279"/>
              <a:gd name="connsiteY775" fmla="*/ 2367691 h 3105260"/>
              <a:gd name="connsiteX776" fmla="*/ 256097 w 3105279"/>
              <a:gd name="connsiteY776" fmla="*/ 2352505 h 3105260"/>
              <a:gd name="connsiteX777" fmla="*/ 259112 w 3105279"/>
              <a:gd name="connsiteY777" fmla="*/ 2357395 h 3105260"/>
              <a:gd name="connsiteX778" fmla="*/ 234495 w 3105279"/>
              <a:gd name="connsiteY778" fmla="*/ 2372673 h 3105260"/>
              <a:gd name="connsiteX779" fmla="*/ 2880970 w 3105279"/>
              <a:gd name="connsiteY779" fmla="*/ 2356237 h 3105260"/>
              <a:gd name="connsiteX780" fmla="*/ 2856169 w 3105279"/>
              <a:gd name="connsiteY780" fmla="*/ 2341272 h 3105260"/>
              <a:gd name="connsiteX781" fmla="*/ 2859129 w 3105279"/>
              <a:gd name="connsiteY781" fmla="*/ 2336363 h 3105260"/>
              <a:gd name="connsiteX782" fmla="*/ 2883985 w 3105279"/>
              <a:gd name="connsiteY782" fmla="*/ 2351237 h 3105260"/>
              <a:gd name="connsiteX783" fmla="*/ 2880970 w 3105279"/>
              <a:gd name="connsiteY783" fmla="*/ 2356237 h 3105260"/>
              <a:gd name="connsiteX784" fmla="*/ 223795 w 3105279"/>
              <a:gd name="connsiteY784" fmla="*/ 2355189 h 3105260"/>
              <a:gd name="connsiteX785" fmla="*/ 220780 w 3105279"/>
              <a:gd name="connsiteY785" fmla="*/ 2350170 h 3105260"/>
              <a:gd name="connsiteX786" fmla="*/ 245654 w 3105279"/>
              <a:gd name="connsiteY786" fmla="*/ 2335316 h 3105260"/>
              <a:gd name="connsiteX787" fmla="*/ 248614 w 3105279"/>
              <a:gd name="connsiteY787" fmla="*/ 2340243 h 3105260"/>
              <a:gd name="connsiteX788" fmla="*/ 223795 w 3105279"/>
              <a:gd name="connsiteY788" fmla="*/ 2355189 h 3105260"/>
              <a:gd name="connsiteX789" fmla="*/ 2891431 w 3105279"/>
              <a:gd name="connsiteY789" fmla="*/ 2338662 h 3105260"/>
              <a:gd name="connsiteX790" fmla="*/ 2866428 w 3105279"/>
              <a:gd name="connsiteY790" fmla="*/ 2324009 h 3105260"/>
              <a:gd name="connsiteX791" fmla="*/ 2869314 w 3105279"/>
              <a:gd name="connsiteY791" fmla="*/ 2319064 h 3105260"/>
              <a:gd name="connsiteX792" fmla="*/ 2894373 w 3105279"/>
              <a:gd name="connsiteY792" fmla="*/ 2333606 h 3105260"/>
              <a:gd name="connsiteX793" fmla="*/ 2891431 w 3105279"/>
              <a:gd name="connsiteY793" fmla="*/ 2338662 h 3105260"/>
              <a:gd name="connsiteX794" fmla="*/ 213353 w 3105279"/>
              <a:gd name="connsiteY794" fmla="*/ 2337577 h 3105260"/>
              <a:gd name="connsiteX795" fmla="*/ 210411 w 3105279"/>
              <a:gd name="connsiteY795" fmla="*/ 2332521 h 3105260"/>
              <a:gd name="connsiteX796" fmla="*/ 235469 w 3105279"/>
              <a:gd name="connsiteY796" fmla="*/ 2317979 h 3105260"/>
              <a:gd name="connsiteX797" fmla="*/ 238356 w 3105279"/>
              <a:gd name="connsiteY797" fmla="*/ 2322943 h 3105260"/>
              <a:gd name="connsiteX798" fmla="*/ 213353 w 3105279"/>
              <a:gd name="connsiteY798" fmla="*/ 2337577 h 3105260"/>
              <a:gd name="connsiteX799" fmla="*/ 2901653 w 3105279"/>
              <a:gd name="connsiteY799" fmla="*/ 2320939 h 3105260"/>
              <a:gd name="connsiteX800" fmla="*/ 2876466 w 3105279"/>
              <a:gd name="connsiteY800" fmla="*/ 2306617 h 3105260"/>
              <a:gd name="connsiteX801" fmla="*/ 2879297 w 3105279"/>
              <a:gd name="connsiteY801" fmla="*/ 2301617 h 3105260"/>
              <a:gd name="connsiteX802" fmla="*/ 2904539 w 3105279"/>
              <a:gd name="connsiteY802" fmla="*/ 2315846 h 3105260"/>
              <a:gd name="connsiteX803" fmla="*/ 2901653 w 3105279"/>
              <a:gd name="connsiteY803" fmla="*/ 2320939 h 3105260"/>
              <a:gd name="connsiteX804" fmla="*/ 203113 w 3105279"/>
              <a:gd name="connsiteY804" fmla="*/ 2319817 h 3105260"/>
              <a:gd name="connsiteX805" fmla="*/ 200245 w 3105279"/>
              <a:gd name="connsiteY805" fmla="*/ 2314725 h 3105260"/>
              <a:gd name="connsiteX806" fmla="*/ 225487 w 3105279"/>
              <a:gd name="connsiteY806" fmla="*/ 2300514 h 3105260"/>
              <a:gd name="connsiteX807" fmla="*/ 228318 w 3105279"/>
              <a:gd name="connsiteY807" fmla="*/ 2305514 h 3105260"/>
              <a:gd name="connsiteX808" fmla="*/ 203113 w 3105279"/>
              <a:gd name="connsiteY808" fmla="*/ 2319817 h 3105260"/>
              <a:gd name="connsiteX809" fmla="*/ 2911654 w 3105279"/>
              <a:gd name="connsiteY809" fmla="*/ 2303069 h 3105260"/>
              <a:gd name="connsiteX810" fmla="*/ 2886283 w 3105279"/>
              <a:gd name="connsiteY810" fmla="*/ 2289078 h 3105260"/>
              <a:gd name="connsiteX811" fmla="*/ 2889041 w 3105279"/>
              <a:gd name="connsiteY811" fmla="*/ 2284059 h 3105260"/>
              <a:gd name="connsiteX812" fmla="*/ 2914467 w 3105279"/>
              <a:gd name="connsiteY812" fmla="*/ 2297940 h 3105260"/>
              <a:gd name="connsiteX813" fmla="*/ 2911654 w 3105279"/>
              <a:gd name="connsiteY813" fmla="*/ 2303069 h 3105260"/>
              <a:gd name="connsiteX814" fmla="*/ 193130 w 3105279"/>
              <a:gd name="connsiteY814" fmla="*/ 2301948 h 3105260"/>
              <a:gd name="connsiteX815" fmla="*/ 190335 w 3105279"/>
              <a:gd name="connsiteY815" fmla="*/ 2296837 h 3105260"/>
              <a:gd name="connsiteX816" fmla="*/ 215761 w 3105279"/>
              <a:gd name="connsiteY816" fmla="*/ 2282956 h 3105260"/>
              <a:gd name="connsiteX817" fmla="*/ 218519 w 3105279"/>
              <a:gd name="connsiteY817" fmla="*/ 2287975 h 3105260"/>
              <a:gd name="connsiteX818" fmla="*/ 193130 w 3105279"/>
              <a:gd name="connsiteY818" fmla="*/ 2301948 h 3105260"/>
              <a:gd name="connsiteX819" fmla="*/ 2921416 w 3105279"/>
              <a:gd name="connsiteY819" fmla="*/ 2285089 h 3105260"/>
              <a:gd name="connsiteX820" fmla="*/ 2895862 w 3105279"/>
              <a:gd name="connsiteY820" fmla="*/ 2271448 h 3105260"/>
              <a:gd name="connsiteX821" fmla="*/ 2898564 w 3105279"/>
              <a:gd name="connsiteY821" fmla="*/ 2266374 h 3105260"/>
              <a:gd name="connsiteX822" fmla="*/ 2924174 w 3105279"/>
              <a:gd name="connsiteY822" fmla="*/ 2279923 h 3105260"/>
              <a:gd name="connsiteX823" fmla="*/ 2921435 w 3105279"/>
              <a:gd name="connsiteY823" fmla="*/ 2285089 h 3105260"/>
              <a:gd name="connsiteX824" fmla="*/ 183404 w 3105279"/>
              <a:gd name="connsiteY824" fmla="*/ 2283986 h 3105260"/>
              <a:gd name="connsiteX825" fmla="*/ 180665 w 3105279"/>
              <a:gd name="connsiteY825" fmla="*/ 2278820 h 3105260"/>
              <a:gd name="connsiteX826" fmla="*/ 206275 w 3105279"/>
              <a:gd name="connsiteY826" fmla="*/ 2265271 h 3105260"/>
              <a:gd name="connsiteX827" fmla="*/ 208959 w 3105279"/>
              <a:gd name="connsiteY827" fmla="*/ 2270326 h 3105260"/>
              <a:gd name="connsiteX828" fmla="*/ 183404 w 3105279"/>
              <a:gd name="connsiteY828" fmla="*/ 2283967 h 3105260"/>
              <a:gd name="connsiteX829" fmla="*/ 2930939 w 3105279"/>
              <a:gd name="connsiteY829" fmla="*/ 2266962 h 3105260"/>
              <a:gd name="connsiteX830" fmla="*/ 2905201 w 3105279"/>
              <a:gd name="connsiteY830" fmla="*/ 2253651 h 3105260"/>
              <a:gd name="connsiteX831" fmla="*/ 2907830 w 3105279"/>
              <a:gd name="connsiteY831" fmla="*/ 2248541 h 3105260"/>
              <a:gd name="connsiteX832" fmla="*/ 2933605 w 3105279"/>
              <a:gd name="connsiteY832" fmla="*/ 2261759 h 3105260"/>
              <a:gd name="connsiteX833" fmla="*/ 2930921 w 3105279"/>
              <a:gd name="connsiteY833" fmla="*/ 2266962 h 3105260"/>
              <a:gd name="connsiteX834" fmla="*/ 173881 w 3105279"/>
              <a:gd name="connsiteY834" fmla="*/ 2265877 h 3105260"/>
              <a:gd name="connsiteX835" fmla="*/ 171215 w 3105279"/>
              <a:gd name="connsiteY835" fmla="*/ 2260693 h 3105260"/>
              <a:gd name="connsiteX836" fmla="*/ 196991 w 3105279"/>
              <a:gd name="connsiteY836" fmla="*/ 2247474 h 3105260"/>
              <a:gd name="connsiteX837" fmla="*/ 199620 w 3105279"/>
              <a:gd name="connsiteY837" fmla="*/ 2252585 h 3105260"/>
              <a:gd name="connsiteX838" fmla="*/ 173881 w 3105279"/>
              <a:gd name="connsiteY838" fmla="*/ 2265896 h 3105260"/>
              <a:gd name="connsiteX839" fmla="*/ 2940224 w 3105279"/>
              <a:gd name="connsiteY839" fmla="*/ 2248724 h 3105260"/>
              <a:gd name="connsiteX840" fmla="*/ 2914320 w 3105279"/>
              <a:gd name="connsiteY840" fmla="*/ 2235763 h 3105260"/>
              <a:gd name="connsiteX841" fmla="*/ 2916875 w 3105279"/>
              <a:gd name="connsiteY841" fmla="*/ 2230616 h 3105260"/>
              <a:gd name="connsiteX842" fmla="*/ 2942834 w 3105279"/>
              <a:gd name="connsiteY842" fmla="*/ 2243503 h 3105260"/>
              <a:gd name="connsiteX843" fmla="*/ 2940224 w 3105279"/>
              <a:gd name="connsiteY843" fmla="*/ 2248724 h 3105260"/>
              <a:gd name="connsiteX844" fmla="*/ 164597 w 3105279"/>
              <a:gd name="connsiteY844" fmla="*/ 2247640 h 3105260"/>
              <a:gd name="connsiteX845" fmla="*/ 161968 w 3105279"/>
              <a:gd name="connsiteY845" fmla="*/ 2242382 h 3105260"/>
              <a:gd name="connsiteX846" fmla="*/ 187927 w 3105279"/>
              <a:gd name="connsiteY846" fmla="*/ 2229494 h 3105260"/>
              <a:gd name="connsiteX847" fmla="*/ 190482 w 3105279"/>
              <a:gd name="connsiteY847" fmla="*/ 2234642 h 3105260"/>
              <a:gd name="connsiteX848" fmla="*/ 164579 w 3105279"/>
              <a:gd name="connsiteY848" fmla="*/ 2247640 h 3105260"/>
              <a:gd name="connsiteX849" fmla="*/ 2949269 w 3105279"/>
              <a:gd name="connsiteY849" fmla="*/ 2230358 h 3105260"/>
              <a:gd name="connsiteX850" fmla="*/ 2923181 w 3105279"/>
              <a:gd name="connsiteY850" fmla="*/ 2217728 h 3105260"/>
              <a:gd name="connsiteX851" fmla="*/ 2925681 w 3105279"/>
              <a:gd name="connsiteY851" fmla="*/ 2212544 h 3105260"/>
              <a:gd name="connsiteX852" fmla="*/ 2951806 w 3105279"/>
              <a:gd name="connsiteY852" fmla="*/ 2225082 h 3105260"/>
              <a:gd name="connsiteX853" fmla="*/ 2949269 w 3105279"/>
              <a:gd name="connsiteY853" fmla="*/ 2230340 h 3105260"/>
              <a:gd name="connsiteX854" fmla="*/ 155533 w 3105279"/>
              <a:gd name="connsiteY854" fmla="*/ 2229200 h 3105260"/>
              <a:gd name="connsiteX855" fmla="*/ 152978 w 3105279"/>
              <a:gd name="connsiteY855" fmla="*/ 2223905 h 3105260"/>
              <a:gd name="connsiteX856" fmla="*/ 179102 w 3105279"/>
              <a:gd name="connsiteY856" fmla="*/ 2211385 h 3105260"/>
              <a:gd name="connsiteX857" fmla="*/ 181603 w 3105279"/>
              <a:gd name="connsiteY857" fmla="*/ 2216570 h 3105260"/>
              <a:gd name="connsiteX858" fmla="*/ 155533 w 3105279"/>
              <a:gd name="connsiteY858" fmla="*/ 2229200 h 3105260"/>
              <a:gd name="connsiteX859" fmla="*/ 2958075 w 3105279"/>
              <a:gd name="connsiteY859" fmla="*/ 2211882 h 3105260"/>
              <a:gd name="connsiteX860" fmla="*/ 2931840 w 3105279"/>
              <a:gd name="connsiteY860" fmla="*/ 2199583 h 3105260"/>
              <a:gd name="connsiteX861" fmla="*/ 2934267 w 3105279"/>
              <a:gd name="connsiteY861" fmla="*/ 2194380 h 3105260"/>
              <a:gd name="connsiteX862" fmla="*/ 2960557 w 3105279"/>
              <a:gd name="connsiteY862" fmla="*/ 2206569 h 3105260"/>
              <a:gd name="connsiteX863" fmla="*/ 2958075 w 3105279"/>
              <a:gd name="connsiteY863" fmla="*/ 2211882 h 3105260"/>
              <a:gd name="connsiteX864" fmla="*/ 146690 w 3105279"/>
              <a:gd name="connsiteY864" fmla="*/ 2210668 h 3105260"/>
              <a:gd name="connsiteX865" fmla="*/ 144208 w 3105279"/>
              <a:gd name="connsiteY865" fmla="*/ 2205355 h 3105260"/>
              <a:gd name="connsiteX866" fmla="*/ 170498 w 3105279"/>
              <a:gd name="connsiteY866" fmla="*/ 2193148 h 3105260"/>
              <a:gd name="connsiteX867" fmla="*/ 172944 w 3105279"/>
              <a:gd name="connsiteY867" fmla="*/ 2198369 h 3105260"/>
              <a:gd name="connsiteX868" fmla="*/ 146709 w 3105279"/>
              <a:gd name="connsiteY868" fmla="*/ 2210668 h 3105260"/>
              <a:gd name="connsiteX869" fmla="*/ 2966624 w 3105279"/>
              <a:gd name="connsiteY869" fmla="*/ 2193277 h 3105260"/>
              <a:gd name="connsiteX870" fmla="*/ 2940224 w 3105279"/>
              <a:gd name="connsiteY870" fmla="*/ 2181345 h 3105260"/>
              <a:gd name="connsiteX871" fmla="*/ 2942577 w 3105279"/>
              <a:gd name="connsiteY871" fmla="*/ 2176105 h 3105260"/>
              <a:gd name="connsiteX872" fmla="*/ 2969014 w 3105279"/>
              <a:gd name="connsiteY872" fmla="*/ 2187945 h 3105260"/>
              <a:gd name="connsiteX873" fmla="*/ 2966606 w 3105279"/>
              <a:gd name="connsiteY873" fmla="*/ 2193277 h 3105260"/>
              <a:gd name="connsiteX874" fmla="*/ 138105 w 3105279"/>
              <a:gd name="connsiteY874" fmla="*/ 2192008 h 3105260"/>
              <a:gd name="connsiteX875" fmla="*/ 135696 w 3105279"/>
              <a:gd name="connsiteY875" fmla="*/ 2186658 h 3105260"/>
              <a:gd name="connsiteX876" fmla="*/ 162133 w 3105279"/>
              <a:gd name="connsiteY876" fmla="*/ 2174800 h 3105260"/>
              <a:gd name="connsiteX877" fmla="*/ 164505 w 3105279"/>
              <a:gd name="connsiteY877" fmla="*/ 2180058 h 3105260"/>
              <a:gd name="connsiteX878" fmla="*/ 138105 w 3105279"/>
              <a:gd name="connsiteY878" fmla="*/ 2192008 h 3105260"/>
              <a:gd name="connsiteX879" fmla="*/ 2974952 w 3105279"/>
              <a:gd name="connsiteY879" fmla="*/ 2174561 h 3105260"/>
              <a:gd name="connsiteX880" fmla="*/ 2948405 w 3105279"/>
              <a:gd name="connsiteY880" fmla="*/ 2162979 h 3105260"/>
              <a:gd name="connsiteX881" fmla="*/ 2950684 w 3105279"/>
              <a:gd name="connsiteY881" fmla="*/ 2157703 h 3105260"/>
              <a:gd name="connsiteX882" fmla="*/ 2977287 w 3105279"/>
              <a:gd name="connsiteY882" fmla="*/ 2169193 h 3105260"/>
              <a:gd name="connsiteX883" fmla="*/ 2974952 w 3105279"/>
              <a:gd name="connsiteY883" fmla="*/ 2174561 h 3105260"/>
              <a:gd name="connsiteX884" fmla="*/ 129740 w 3105279"/>
              <a:gd name="connsiteY884" fmla="*/ 2173256 h 3105260"/>
              <a:gd name="connsiteX885" fmla="*/ 127405 w 3105279"/>
              <a:gd name="connsiteY885" fmla="*/ 2167869 h 3105260"/>
              <a:gd name="connsiteX886" fmla="*/ 153989 w 3105279"/>
              <a:gd name="connsiteY886" fmla="*/ 2156361 h 3105260"/>
              <a:gd name="connsiteX887" fmla="*/ 156287 w 3105279"/>
              <a:gd name="connsiteY887" fmla="*/ 2161655 h 3105260"/>
              <a:gd name="connsiteX888" fmla="*/ 129740 w 3105279"/>
              <a:gd name="connsiteY888" fmla="*/ 2173256 h 3105260"/>
              <a:gd name="connsiteX889" fmla="*/ 2983023 w 3105279"/>
              <a:gd name="connsiteY889" fmla="*/ 2155754 h 3105260"/>
              <a:gd name="connsiteX890" fmla="*/ 2956329 w 3105279"/>
              <a:gd name="connsiteY890" fmla="*/ 2144502 h 3105260"/>
              <a:gd name="connsiteX891" fmla="*/ 2958553 w 3105279"/>
              <a:gd name="connsiteY891" fmla="*/ 2139208 h 3105260"/>
              <a:gd name="connsiteX892" fmla="*/ 2985302 w 3105279"/>
              <a:gd name="connsiteY892" fmla="*/ 2150349 h 3105260"/>
              <a:gd name="connsiteX893" fmla="*/ 2983041 w 3105279"/>
              <a:gd name="connsiteY893" fmla="*/ 2155754 h 3105260"/>
              <a:gd name="connsiteX894" fmla="*/ 121651 w 3105279"/>
              <a:gd name="connsiteY894" fmla="*/ 2154375 h 3105260"/>
              <a:gd name="connsiteX895" fmla="*/ 119371 w 3105279"/>
              <a:gd name="connsiteY895" fmla="*/ 2148951 h 3105260"/>
              <a:gd name="connsiteX896" fmla="*/ 146120 w 3105279"/>
              <a:gd name="connsiteY896" fmla="*/ 2137792 h 3105260"/>
              <a:gd name="connsiteX897" fmla="*/ 148345 w 3105279"/>
              <a:gd name="connsiteY897" fmla="*/ 2143105 h 3105260"/>
              <a:gd name="connsiteX898" fmla="*/ 121651 w 3105279"/>
              <a:gd name="connsiteY898" fmla="*/ 2154356 h 3105260"/>
              <a:gd name="connsiteX899" fmla="*/ 2990836 w 3105279"/>
              <a:gd name="connsiteY899" fmla="*/ 2136818 h 3105260"/>
              <a:gd name="connsiteX900" fmla="*/ 2963995 w 3105279"/>
              <a:gd name="connsiteY900" fmla="*/ 2125934 h 3105260"/>
              <a:gd name="connsiteX901" fmla="*/ 2966146 w 3105279"/>
              <a:gd name="connsiteY901" fmla="*/ 2120602 h 3105260"/>
              <a:gd name="connsiteX902" fmla="*/ 2993043 w 3105279"/>
              <a:gd name="connsiteY902" fmla="*/ 2131394 h 3105260"/>
              <a:gd name="connsiteX903" fmla="*/ 2990855 w 3105279"/>
              <a:gd name="connsiteY903" fmla="*/ 2136818 h 3105260"/>
              <a:gd name="connsiteX904" fmla="*/ 113800 w 3105279"/>
              <a:gd name="connsiteY904" fmla="*/ 2135402 h 3105260"/>
              <a:gd name="connsiteX905" fmla="*/ 111594 w 3105279"/>
              <a:gd name="connsiteY905" fmla="*/ 2129960 h 3105260"/>
              <a:gd name="connsiteX906" fmla="*/ 138472 w 3105279"/>
              <a:gd name="connsiteY906" fmla="*/ 2119150 h 3105260"/>
              <a:gd name="connsiteX907" fmla="*/ 140623 w 3105279"/>
              <a:gd name="connsiteY907" fmla="*/ 2124482 h 3105260"/>
              <a:gd name="connsiteX908" fmla="*/ 113782 w 3105279"/>
              <a:gd name="connsiteY908" fmla="*/ 2135384 h 3105260"/>
              <a:gd name="connsiteX909" fmla="*/ 2998429 w 3105279"/>
              <a:gd name="connsiteY909" fmla="*/ 2117771 h 3105260"/>
              <a:gd name="connsiteX910" fmla="*/ 2971441 w 3105279"/>
              <a:gd name="connsiteY910" fmla="*/ 2107255 h 3105260"/>
              <a:gd name="connsiteX911" fmla="*/ 2973518 w 3105279"/>
              <a:gd name="connsiteY911" fmla="*/ 2101887 h 3105260"/>
              <a:gd name="connsiteX912" fmla="*/ 3000543 w 3105279"/>
              <a:gd name="connsiteY912" fmla="*/ 2112329 h 3105260"/>
              <a:gd name="connsiteX913" fmla="*/ 2998429 w 3105279"/>
              <a:gd name="connsiteY913" fmla="*/ 2117771 h 3105260"/>
              <a:gd name="connsiteX914" fmla="*/ 106189 w 3105279"/>
              <a:gd name="connsiteY914" fmla="*/ 2116337 h 3105260"/>
              <a:gd name="connsiteX915" fmla="*/ 104057 w 3105279"/>
              <a:gd name="connsiteY915" fmla="*/ 2110877 h 3105260"/>
              <a:gd name="connsiteX916" fmla="*/ 131082 w 3105279"/>
              <a:gd name="connsiteY916" fmla="*/ 2100435 h 3105260"/>
              <a:gd name="connsiteX917" fmla="*/ 133178 w 3105279"/>
              <a:gd name="connsiteY917" fmla="*/ 2105803 h 3105260"/>
              <a:gd name="connsiteX918" fmla="*/ 106189 w 3105279"/>
              <a:gd name="connsiteY918" fmla="*/ 2116356 h 3105260"/>
              <a:gd name="connsiteX919" fmla="*/ 3005746 w 3105279"/>
              <a:gd name="connsiteY919" fmla="*/ 2098670 h 3105260"/>
              <a:gd name="connsiteX920" fmla="*/ 2978629 w 3105279"/>
              <a:gd name="connsiteY920" fmla="*/ 2088485 h 3105260"/>
              <a:gd name="connsiteX921" fmla="*/ 2980633 w 3105279"/>
              <a:gd name="connsiteY921" fmla="*/ 2083116 h 3105260"/>
              <a:gd name="connsiteX922" fmla="*/ 3007805 w 3105279"/>
              <a:gd name="connsiteY922" fmla="*/ 2093191 h 3105260"/>
              <a:gd name="connsiteX923" fmla="*/ 3005764 w 3105279"/>
              <a:gd name="connsiteY923" fmla="*/ 2098688 h 3105260"/>
              <a:gd name="connsiteX924" fmla="*/ 98835 w 3105279"/>
              <a:gd name="connsiteY924" fmla="*/ 2097162 h 3105260"/>
              <a:gd name="connsiteX925" fmla="*/ 96776 w 3105279"/>
              <a:gd name="connsiteY925" fmla="*/ 2091665 h 3105260"/>
              <a:gd name="connsiteX926" fmla="*/ 123930 w 3105279"/>
              <a:gd name="connsiteY926" fmla="*/ 2081572 h 3105260"/>
              <a:gd name="connsiteX927" fmla="*/ 125953 w 3105279"/>
              <a:gd name="connsiteY927" fmla="*/ 2086977 h 3105260"/>
              <a:gd name="connsiteX928" fmla="*/ 98835 w 3105279"/>
              <a:gd name="connsiteY928" fmla="*/ 2097162 h 3105260"/>
              <a:gd name="connsiteX929" fmla="*/ 3012824 w 3105279"/>
              <a:gd name="connsiteY929" fmla="*/ 2079439 h 3105260"/>
              <a:gd name="connsiteX930" fmla="*/ 2985560 w 3105279"/>
              <a:gd name="connsiteY930" fmla="*/ 2069622 h 3105260"/>
              <a:gd name="connsiteX931" fmla="*/ 2987509 w 3105279"/>
              <a:gd name="connsiteY931" fmla="*/ 2064199 h 3105260"/>
              <a:gd name="connsiteX932" fmla="*/ 3014791 w 3105279"/>
              <a:gd name="connsiteY932" fmla="*/ 2073924 h 3105260"/>
              <a:gd name="connsiteX933" fmla="*/ 3012824 w 3105279"/>
              <a:gd name="connsiteY933" fmla="*/ 2079421 h 3105260"/>
              <a:gd name="connsiteX934" fmla="*/ 91739 w 3105279"/>
              <a:gd name="connsiteY934" fmla="*/ 2077895 h 3105260"/>
              <a:gd name="connsiteX935" fmla="*/ 89753 w 3105279"/>
              <a:gd name="connsiteY935" fmla="*/ 2072380 h 3105260"/>
              <a:gd name="connsiteX936" fmla="*/ 117036 w 3105279"/>
              <a:gd name="connsiteY936" fmla="*/ 2062636 h 3105260"/>
              <a:gd name="connsiteX937" fmla="*/ 118985 w 3105279"/>
              <a:gd name="connsiteY937" fmla="*/ 2068059 h 3105260"/>
              <a:gd name="connsiteX938" fmla="*/ 91721 w 3105279"/>
              <a:gd name="connsiteY938" fmla="*/ 2077895 h 3105260"/>
              <a:gd name="connsiteX939" fmla="*/ 3019645 w 3105279"/>
              <a:gd name="connsiteY939" fmla="*/ 2060117 h 3105260"/>
              <a:gd name="connsiteX940" fmla="*/ 2992252 w 3105279"/>
              <a:gd name="connsiteY940" fmla="*/ 2050668 h 3105260"/>
              <a:gd name="connsiteX941" fmla="*/ 2994127 w 3105279"/>
              <a:gd name="connsiteY941" fmla="*/ 2045226 h 3105260"/>
              <a:gd name="connsiteX942" fmla="*/ 3021539 w 3105279"/>
              <a:gd name="connsiteY942" fmla="*/ 2054602 h 3105260"/>
              <a:gd name="connsiteX943" fmla="*/ 3019645 w 3105279"/>
              <a:gd name="connsiteY943" fmla="*/ 2060136 h 3105260"/>
              <a:gd name="connsiteX944" fmla="*/ 84900 w 3105279"/>
              <a:gd name="connsiteY944" fmla="*/ 2058536 h 3105260"/>
              <a:gd name="connsiteX945" fmla="*/ 82988 w 3105279"/>
              <a:gd name="connsiteY945" fmla="*/ 2052984 h 3105260"/>
              <a:gd name="connsiteX946" fmla="*/ 110399 w 3105279"/>
              <a:gd name="connsiteY946" fmla="*/ 2043608 h 3105260"/>
              <a:gd name="connsiteX947" fmla="*/ 112274 w 3105279"/>
              <a:gd name="connsiteY947" fmla="*/ 2049050 h 3105260"/>
              <a:gd name="connsiteX948" fmla="*/ 84900 w 3105279"/>
              <a:gd name="connsiteY948" fmla="*/ 2058518 h 3105260"/>
              <a:gd name="connsiteX949" fmla="*/ 3026208 w 3105279"/>
              <a:gd name="connsiteY949" fmla="*/ 2040722 h 3105260"/>
              <a:gd name="connsiteX950" fmla="*/ 2998705 w 3105279"/>
              <a:gd name="connsiteY950" fmla="*/ 2031621 h 3105260"/>
              <a:gd name="connsiteX951" fmla="*/ 3000507 w 3105279"/>
              <a:gd name="connsiteY951" fmla="*/ 2026161 h 3105260"/>
              <a:gd name="connsiteX952" fmla="*/ 3028047 w 3105279"/>
              <a:gd name="connsiteY952" fmla="*/ 2035169 h 3105260"/>
              <a:gd name="connsiteX953" fmla="*/ 3026227 w 3105279"/>
              <a:gd name="connsiteY953" fmla="*/ 2040722 h 3105260"/>
              <a:gd name="connsiteX954" fmla="*/ 78318 w 3105279"/>
              <a:gd name="connsiteY954" fmla="*/ 2039104 h 3105260"/>
              <a:gd name="connsiteX955" fmla="*/ 76480 w 3105279"/>
              <a:gd name="connsiteY955" fmla="*/ 2033515 h 3105260"/>
              <a:gd name="connsiteX956" fmla="*/ 104020 w 3105279"/>
              <a:gd name="connsiteY956" fmla="*/ 2024525 h 3105260"/>
              <a:gd name="connsiteX957" fmla="*/ 105822 w 3105279"/>
              <a:gd name="connsiteY957" fmla="*/ 2029985 h 3105260"/>
              <a:gd name="connsiteX958" fmla="*/ 78318 w 3105279"/>
              <a:gd name="connsiteY958" fmla="*/ 2039104 h 3105260"/>
              <a:gd name="connsiteX959" fmla="*/ 3032533 w 3105279"/>
              <a:gd name="connsiteY959" fmla="*/ 2021216 h 3105260"/>
              <a:gd name="connsiteX960" fmla="*/ 3004900 w 3105279"/>
              <a:gd name="connsiteY960" fmla="*/ 2012483 h 3105260"/>
              <a:gd name="connsiteX961" fmla="*/ 3006629 w 3105279"/>
              <a:gd name="connsiteY961" fmla="*/ 2006986 h 3105260"/>
              <a:gd name="connsiteX962" fmla="*/ 3034279 w 3105279"/>
              <a:gd name="connsiteY962" fmla="*/ 2015645 h 3105260"/>
              <a:gd name="connsiteX963" fmla="*/ 3032533 w 3105279"/>
              <a:gd name="connsiteY963" fmla="*/ 2021216 h 3105260"/>
              <a:gd name="connsiteX964" fmla="*/ 71994 w 3105279"/>
              <a:gd name="connsiteY964" fmla="*/ 2019561 h 3105260"/>
              <a:gd name="connsiteX965" fmla="*/ 70229 w 3105279"/>
              <a:gd name="connsiteY965" fmla="*/ 2013954 h 3105260"/>
              <a:gd name="connsiteX966" fmla="*/ 97879 w 3105279"/>
              <a:gd name="connsiteY966" fmla="*/ 2005313 h 3105260"/>
              <a:gd name="connsiteX967" fmla="*/ 99608 w 3105279"/>
              <a:gd name="connsiteY967" fmla="*/ 2010810 h 3105260"/>
              <a:gd name="connsiteX968" fmla="*/ 71976 w 3105279"/>
              <a:gd name="connsiteY968" fmla="*/ 2019561 h 3105260"/>
              <a:gd name="connsiteX969" fmla="*/ 3038581 w 3105279"/>
              <a:gd name="connsiteY969" fmla="*/ 2001654 h 3105260"/>
              <a:gd name="connsiteX970" fmla="*/ 3010839 w 3105279"/>
              <a:gd name="connsiteY970" fmla="*/ 1993271 h 3105260"/>
              <a:gd name="connsiteX971" fmla="*/ 3012493 w 3105279"/>
              <a:gd name="connsiteY971" fmla="*/ 1987756 h 3105260"/>
              <a:gd name="connsiteX972" fmla="*/ 3040254 w 3105279"/>
              <a:gd name="connsiteY972" fmla="*/ 1996047 h 3105260"/>
              <a:gd name="connsiteX973" fmla="*/ 3038581 w 3105279"/>
              <a:gd name="connsiteY973" fmla="*/ 2001654 h 3105260"/>
              <a:gd name="connsiteX974" fmla="*/ 65927 w 3105279"/>
              <a:gd name="connsiteY974" fmla="*/ 1999963 h 3105260"/>
              <a:gd name="connsiteX975" fmla="*/ 64236 w 3105279"/>
              <a:gd name="connsiteY975" fmla="*/ 1994337 h 3105260"/>
              <a:gd name="connsiteX976" fmla="*/ 91996 w 3105279"/>
              <a:gd name="connsiteY976" fmla="*/ 1986064 h 3105260"/>
              <a:gd name="connsiteX977" fmla="*/ 93651 w 3105279"/>
              <a:gd name="connsiteY977" fmla="*/ 1991580 h 3105260"/>
              <a:gd name="connsiteX978" fmla="*/ 65909 w 3105279"/>
              <a:gd name="connsiteY978" fmla="*/ 1999963 h 3105260"/>
              <a:gd name="connsiteX979" fmla="*/ 3044390 w 3105279"/>
              <a:gd name="connsiteY979" fmla="*/ 1982001 h 3105260"/>
              <a:gd name="connsiteX980" fmla="*/ 3016556 w 3105279"/>
              <a:gd name="connsiteY980" fmla="*/ 1973986 h 3105260"/>
              <a:gd name="connsiteX981" fmla="*/ 3018137 w 3105279"/>
              <a:gd name="connsiteY981" fmla="*/ 1968470 h 3105260"/>
              <a:gd name="connsiteX982" fmla="*/ 3046008 w 3105279"/>
              <a:gd name="connsiteY982" fmla="*/ 1976376 h 3105260"/>
              <a:gd name="connsiteX983" fmla="*/ 3044390 w 3105279"/>
              <a:gd name="connsiteY983" fmla="*/ 1982001 h 3105260"/>
              <a:gd name="connsiteX984" fmla="*/ 60118 w 3105279"/>
              <a:gd name="connsiteY984" fmla="*/ 1980273 h 3105260"/>
              <a:gd name="connsiteX985" fmla="*/ 58500 w 3105279"/>
              <a:gd name="connsiteY985" fmla="*/ 1974629 h 3105260"/>
              <a:gd name="connsiteX986" fmla="*/ 86371 w 3105279"/>
              <a:gd name="connsiteY986" fmla="*/ 1966724 h 3105260"/>
              <a:gd name="connsiteX987" fmla="*/ 87952 w 3105279"/>
              <a:gd name="connsiteY987" fmla="*/ 1972258 h 3105260"/>
              <a:gd name="connsiteX988" fmla="*/ 60099 w 3105279"/>
              <a:gd name="connsiteY988" fmla="*/ 1980273 h 3105260"/>
              <a:gd name="connsiteX989" fmla="*/ 3049924 w 3105279"/>
              <a:gd name="connsiteY989" fmla="*/ 1962275 h 3105260"/>
              <a:gd name="connsiteX990" fmla="*/ 3021980 w 3105279"/>
              <a:gd name="connsiteY990" fmla="*/ 1954627 h 3105260"/>
              <a:gd name="connsiteX991" fmla="*/ 3023487 w 3105279"/>
              <a:gd name="connsiteY991" fmla="*/ 1949093 h 3105260"/>
              <a:gd name="connsiteX992" fmla="*/ 3051469 w 3105279"/>
              <a:gd name="connsiteY992" fmla="*/ 1956631 h 3105260"/>
              <a:gd name="connsiteX993" fmla="*/ 3049924 w 3105279"/>
              <a:gd name="connsiteY993" fmla="*/ 1962275 h 3105260"/>
              <a:gd name="connsiteX994" fmla="*/ 54565 w 3105279"/>
              <a:gd name="connsiteY994" fmla="*/ 1960510 h 3105260"/>
              <a:gd name="connsiteX995" fmla="*/ 53021 w 3105279"/>
              <a:gd name="connsiteY995" fmla="*/ 1954847 h 3105260"/>
              <a:gd name="connsiteX996" fmla="*/ 81002 w 3105279"/>
              <a:gd name="connsiteY996" fmla="*/ 1947310 h 3105260"/>
              <a:gd name="connsiteX997" fmla="*/ 82510 w 3105279"/>
              <a:gd name="connsiteY997" fmla="*/ 1952862 h 3105260"/>
              <a:gd name="connsiteX998" fmla="*/ 54565 w 3105279"/>
              <a:gd name="connsiteY998" fmla="*/ 1960491 h 3105260"/>
              <a:gd name="connsiteX999" fmla="*/ 3055219 w 3105279"/>
              <a:gd name="connsiteY999" fmla="*/ 1942474 h 3105260"/>
              <a:gd name="connsiteX1000" fmla="*/ 3027183 w 3105279"/>
              <a:gd name="connsiteY1000" fmla="*/ 1935176 h 3105260"/>
              <a:gd name="connsiteX1001" fmla="*/ 3028617 w 3105279"/>
              <a:gd name="connsiteY1001" fmla="*/ 1929605 h 3105260"/>
              <a:gd name="connsiteX1002" fmla="*/ 3056690 w 3105279"/>
              <a:gd name="connsiteY1002" fmla="*/ 1936794 h 3105260"/>
              <a:gd name="connsiteX1003" fmla="*/ 3055219 w 3105279"/>
              <a:gd name="connsiteY1003" fmla="*/ 1942456 h 3105260"/>
              <a:gd name="connsiteX1004" fmla="*/ 49289 w 3105279"/>
              <a:gd name="connsiteY1004" fmla="*/ 1940673 h 3105260"/>
              <a:gd name="connsiteX1005" fmla="*/ 47837 w 3105279"/>
              <a:gd name="connsiteY1005" fmla="*/ 1934992 h 3105260"/>
              <a:gd name="connsiteX1006" fmla="*/ 75910 w 3105279"/>
              <a:gd name="connsiteY1006" fmla="*/ 1927840 h 3105260"/>
              <a:gd name="connsiteX1007" fmla="*/ 77344 w 3105279"/>
              <a:gd name="connsiteY1007" fmla="*/ 1933411 h 3105260"/>
              <a:gd name="connsiteX1008" fmla="*/ 49289 w 3105279"/>
              <a:gd name="connsiteY1008" fmla="*/ 1940673 h 3105260"/>
              <a:gd name="connsiteX1009" fmla="*/ 3060238 w 3105279"/>
              <a:gd name="connsiteY1009" fmla="*/ 1922601 h 3105260"/>
              <a:gd name="connsiteX1010" fmla="*/ 3032110 w 3105279"/>
              <a:gd name="connsiteY1010" fmla="*/ 1915688 h 3105260"/>
              <a:gd name="connsiteX1011" fmla="*/ 3033470 w 3105279"/>
              <a:gd name="connsiteY1011" fmla="*/ 1910099 h 3105260"/>
              <a:gd name="connsiteX1012" fmla="*/ 3061635 w 3105279"/>
              <a:gd name="connsiteY1012" fmla="*/ 1916902 h 3105260"/>
              <a:gd name="connsiteX1013" fmla="*/ 3060238 w 3105279"/>
              <a:gd name="connsiteY1013" fmla="*/ 1922601 h 3105260"/>
              <a:gd name="connsiteX1014" fmla="*/ 44270 w 3105279"/>
              <a:gd name="connsiteY1014" fmla="*/ 1920762 h 3105260"/>
              <a:gd name="connsiteX1015" fmla="*/ 42891 w 3105279"/>
              <a:gd name="connsiteY1015" fmla="*/ 1915063 h 3105260"/>
              <a:gd name="connsiteX1016" fmla="*/ 71056 w 3105279"/>
              <a:gd name="connsiteY1016" fmla="*/ 1908279 h 3105260"/>
              <a:gd name="connsiteX1017" fmla="*/ 72417 w 3105279"/>
              <a:gd name="connsiteY1017" fmla="*/ 1913868 h 3105260"/>
              <a:gd name="connsiteX1018" fmla="*/ 44270 w 3105279"/>
              <a:gd name="connsiteY1018" fmla="*/ 1920762 h 3105260"/>
              <a:gd name="connsiteX1019" fmla="*/ 3065018 w 3105279"/>
              <a:gd name="connsiteY1019" fmla="*/ 1902654 h 3105260"/>
              <a:gd name="connsiteX1020" fmla="*/ 3036779 w 3105279"/>
              <a:gd name="connsiteY1020" fmla="*/ 1896127 h 3105260"/>
              <a:gd name="connsiteX1021" fmla="*/ 3038066 w 3105279"/>
              <a:gd name="connsiteY1021" fmla="*/ 1890520 h 3105260"/>
              <a:gd name="connsiteX1022" fmla="*/ 3066323 w 3105279"/>
              <a:gd name="connsiteY1022" fmla="*/ 1896954 h 3105260"/>
              <a:gd name="connsiteX1023" fmla="*/ 3065018 w 3105279"/>
              <a:gd name="connsiteY1023" fmla="*/ 1902654 h 3105260"/>
              <a:gd name="connsiteX1024" fmla="*/ 39527 w 3105279"/>
              <a:gd name="connsiteY1024" fmla="*/ 1900797 h 3105260"/>
              <a:gd name="connsiteX1025" fmla="*/ 38222 w 3105279"/>
              <a:gd name="connsiteY1025" fmla="*/ 1895079 h 3105260"/>
              <a:gd name="connsiteX1026" fmla="*/ 66479 w 3105279"/>
              <a:gd name="connsiteY1026" fmla="*/ 1888663 h 3105260"/>
              <a:gd name="connsiteX1027" fmla="*/ 67765 w 3105279"/>
              <a:gd name="connsiteY1027" fmla="*/ 1894270 h 3105260"/>
              <a:gd name="connsiteX1028" fmla="*/ 39527 w 3105279"/>
              <a:gd name="connsiteY1028" fmla="*/ 1900797 h 3105260"/>
              <a:gd name="connsiteX1029" fmla="*/ 3069504 w 3105279"/>
              <a:gd name="connsiteY1029" fmla="*/ 1882670 h 3105260"/>
              <a:gd name="connsiteX1030" fmla="*/ 3041192 w 3105279"/>
              <a:gd name="connsiteY1030" fmla="*/ 1876511 h 3105260"/>
              <a:gd name="connsiteX1031" fmla="*/ 3042405 w 3105279"/>
              <a:gd name="connsiteY1031" fmla="*/ 1870885 h 3105260"/>
              <a:gd name="connsiteX1032" fmla="*/ 3070736 w 3105279"/>
              <a:gd name="connsiteY1032" fmla="*/ 1876970 h 3105260"/>
              <a:gd name="connsiteX1033" fmla="*/ 3069504 w 3105279"/>
              <a:gd name="connsiteY1033" fmla="*/ 1882688 h 3105260"/>
              <a:gd name="connsiteX1034" fmla="*/ 35041 w 3105279"/>
              <a:gd name="connsiteY1034" fmla="*/ 1880776 h 3105260"/>
              <a:gd name="connsiteX1035" fmla="*/ 33809 w 3105279"/>
              <a:gd name="connsiteY1035" fmla="*/ 1875040 h 3105260"/>
              <a:gd name="connsiteX1036" fmla="*/ 62140 w 3105279"/>
              <a:gd name="connsiteY1036" fmla="*/ 1869010 h 3105260"/>
              <a:gd name="connsiteX1037" fmla="*/ 63353 w 3105279"/>
              <a:gd name="connsiteY1037" fmla="*/ 1874636 h 3105260"/>
              <a:gd name="connsiteX1038" fmla="*/ 35041 w 3105279"/>
              <a:gd name="connsiteY1038" fmla="*/ 1880776 h 3105260"/>
              <a:gd name="connsiteX1039" fmla="*/ 3073751 w 3105279"/>
              <a:gd name="connsiteY1039" fmla="*/ 1862612 h 3105260"/>
              <a:gd name="connsiteX1040" fmla="*/ 3045365 w 3105279"/>
              <a:gd name="connsiteY1040" fmla="*/ 1856784 h 3105260"/>
              <a:gd name="connsiteX1041" fmla="*/ 3046505 w 3105279"/>
              <a:gd name="connsiteY1041" fmla="*/ 1851158 h 3105260"/>
              <a:gd name="connsiteX1042" fmla="*/ 3074909 w 3105279"/>
              <a:gd name="connsiteY1042" fmla="*/ 1856858 h 3105260"/>
              <a:gd name="connsiteX1043" fmla="*/ 3073751 w 3105279"/>
              <a:gd name="connsiteY1043" fmla="*/ 1862612 h 3105260"/>
              <a:gd name="connsiteX1044" fmla="*/ 30813 w 3105279"/>
              <a:gd name="connsiteY1044" fmla="*/ 1860700 h 3105260"/>
              <a:gd name="connsiteX1045" fmla="*/ 29654 w 3105279"/>
              <a:gd name="connsiteY1045" fmla="*/ 1854946 h 3105260"/>
              <a:gd name="connsiteX1046" fmla="*/ 58077 w 3105279"/>
              <a:gd name="connsiteY1046" fmla="*/ 1849283 h 3105260"/>
              <a:gd name="connsiteX1047" fmla="*/ 59217 w 3105279"/>
              <a:gd name="connsiteY1047" fmla="*/ 1854927 h 3105260"/>
              <a:gd name="connsiteX1048" fmla="*/ 30831 w 3105279"/>
              <a:gd name="connsiteY1048" fmla="*/ 1860700 h 3105260"/>
              <a:gd name="connsiteX1049" fmla="*/ 3077722 w 3105279"/>
              <a:gd name="connsiteY1049" fmla="*/ 1842499 h 3105260"/>
              <a:gd name="connsiteX1050" fmla="*/ 3049262 w 3105279"/>
              <a:gd name="connsiteY1050" fmla="*/ 1837058 h 3105260"/>
              <a:gd name="connsiteX1051" fmla="*/ 3050329 w 3105279"/>
              <a:gd name="connsiteY1051" fmla="*/ 1831413 h 3105260"/>
              <a:gd name="connsiteX1052" fmla="*/ 3078807 w 3105279"/>
              <a:gd name="connsiteY1052" fmla="*/ 1836727 h 3105260"/>
              <a:gd name="connsiteX1053" fmla="*/ 3077722 w 3105279"/>
              <a:gd name="connsiteY1053" fmla="*/ 1842499 h 3105260"/>
              <a:gd name="connsiteX1054" fmla="*/ 26860 w 3105279"/>
              <a:gd name="connsiteY1054" fmla="*/ 1840551 h 3105260"/>
              <a:gd name="connsiteX1055" fmla="*/ 25775 w 3105279"/>
              <a:gd name="connsiteY1055" fmla="*/ 1834778 h 3105260"/>
              <a:gd name="connsiteX1056" fmla="*/ 54271 w 3105279"/>
              <a:gd name="connsiteY1056" fmla="*/ 1829502 h 3105260"/>
              <a:gd name="connsiteX1057" fmla="*/ 55338 w 3105279"/>
              <a:gd name="connsiteY1057" fmla="*/ 1835146 h 3105260"/>
              <a:gd name="connsiteX1058" fmla="*/ 26860 w 3105279"/>
              <a:gd name="connsiteY1058" fmla="*/ 1840532 h 3105260"/>
              <a:gd name="connsiteX1059" fmla="*/ 3081435 w 3105279"/>
              <a:gd name="connsiteY1059" fmla="*/ 1822331 h 3105260"/>
              <a:gd name="connsiteX1060" fmla="*/ 3052903 w 3105279"/>
              <a:gd name="connsiteY1060" fmla="*/ 1817276 h 3105260"/>
              <a:gd name="connsiteX1061" fmla="*/ 3053895 w 3105279"/>
              <a:gd name="connsiteY1061" fmla="*/ 1811613 h 3105260"/>
              <a:gd name="connsiteX1062" fmla="*/ 3082447 w 3105279"/>
              <a:gd name="connsiteY1062" fmla="*/ 1816559 h 3105260"/>
              <a:gd name="connsiteX1063" fmla="*/ 3081435 w 3105279"/>
              <a:gd name="connsiteY1063" fmla="*/ 1822331 h 3105260"/>
              <a:gd name="connsiteX1064" fmla="*/ 23183 w 3105279"/>
              <a:gd name="connsiteY1064" fmla="*/ 1820383 h 3105260"/>
              <a:gd name="connsiteX1065" fmla="*/ 22172 w 3105279"/>
              <a:gd name="connsiteY1065" fmla="*/ 1814592 h 3105260"/>
              <a:gd name="connsiteX1066" fmla="*/ 50723 w 3105279"/>
              <a:gd name="connsiteY1066" fmla="*/ 1809701 h 3105260"/>
              <a:gd name="connsiteX1067" fmla="*/ 51697 w 3105279"/>
              <a:gd name="connsiteY1067" fmla="*/ 1815364 h 3105260"/>
              <a:gd name="connsiteX1068" fmla="*/ 23165 w 3105279"/>
              <a:gd name="connsiteY1068" fmla="*/ 1820364 h 3105260"/>
              <a:gd name="connsiteX1069" fmla="*/ 3084873 w 3105279"/>
              <a:gd name="connsiteY1069" fmla="*/ 1802127 h 3105260"/>
              <a:gd name="connsiteX1070" fmla="*/ 3056285 w 3105279"/>
              <a:gd name="connsiteY1070" fmla="*/ 1797420 h 3105260"/>
              <a:gd name="connsiteX1071" fmla="*/ 3057205 w 3105279"/>
              <a:gd name="connsiteY1071" fmla="*/ 1791758 h 3105260"/>
              <a:gd name="connsiteX1072" fmla="*/ 3085811 w 3105279"/>
              <a:gd name="connsiteY1072" fmla="*/ 1796336 h 3105260"/>
              <a:gd name="connsiteX1073" fmla="*/ 3084873 w 3105279"/>
              <a:gd name="connsiteY1073" fmla="*/ 1802127 h 3105260"/>
              <a:gd name="connsiteX1074" fmla="*/ 19782 w 3105279"/>
              <a:gd name="connsiteY1074" fmla="*/ 1800141 h 3105260"/>
              <a:gd name="connsiteX1075" fmla="*/ 18863 w 3105279"/>
              <a:gd name="connsiteY1075" fmla="*/ 1794350 h 3105260"/>
              <a:gd name="connsiteX1076" fmla="*/ 47487 w 3105279"/>
              <a:gd name="connsiteY1076" fmla="*/ 1789846 h 3105260"/>
              <a:gd name="connsiteX1077" fmla="*/ 48388 w 3105279"/>
              <a:gd name="connsiteY1077" fmla="*/ 1795527 h 3105260"/>
              <a:gd name="connsiteX1078" fmla="*/ 19782 w 3105279"/>
              <a:gd name="connsiteY1078" fmla="*/ 1800160 h 3105260"/>
              <a:gd name="connsiteX1079" fmla="*/ 3088054 w 3105279"/>
              <a:gd name="connsiteY1079" fmla="*/ 1781849 h 3105260"/>
              <a:gd name="connsiteX1080" fmla="*/ 3059392 w 3105279"/>
              <a:gd name="connsiteY1080" fmla="*/ 1777547 h 3105260"/>
              <a:gd name="connsiteX1081" fmla="*/ 3060238 w 3105279"/>
              <a:gd name="connsiteY1081" fmla="*/ 1771848 h 3105260"/>
              <a:gd name="connsiteX1082" fmla="*/ 3088900 w 3105279"/>
              <a:gd name="connsiteY1082" fmla="*/ 1776039 h 3105260"/>
              <a:gd name="connsiteX1083" fmla="*/ 3088035 w 3105279"/>
              <a:gd name="connsiteY1083" fmla="*/ 1781830 h 3105260"/>
              <a:gd name="connsiteX1084" fmla="*/ 16638 w 3105279"/>
              <a:gd name="connsiteY1084" fmla="*/ 1779863 h 3105260"/>
              <a:gd name="connsiteX1085" fmla="*/ 15792 w 3105279"/>
              <a:gd name="connsiteY1085" fmla="*/ 1774054 h 3105260"/>
              <a:gd name="connsiteX1086" fmla="*/ 44472 w 3105279"/>
              <a:gd name="connsiteY1086" fmla="*/ 1769917 h 3105260"/>
              <a:gd name="connsiteX1087" fmla="*/ 45300 w 3105279"/>
              <a:gd name="connsiteY1087" fmla="*/ 1775598 h 3105260"/>
              <a:gd name="connsiteX1088" fmla="*/ 16638 w 3105279"/>
              <a:gd name="connsiteY1088" fmla="*/ 1779845 h 3105260"/>
              <a:gd name="connsiteX1089" fmla="*/ 3090959 w 3105279"/>
              <a:gd name="connsiteY1089" fmla="*/ 1761552 h 3105260"/>
              <a:gd name="connsiteX1090" fmla="*/ 3062260 w 3105279"/>
              <a:gd name="connsiteY1090" fmla="*/ 1757618 h 3105260"/>
              <a:gd name="connsiteX1091" fmla="*/ 3063032 w 3105279"/>
              <a:gd name="connsiteY1091" fmla="*/ 1751937 h 3105260"/>
              <a:gd name="connsiteX1092" fmla="*/ 3091749 w 3105279"/>
              <a:gd name="connsiteY1092" fmla="*/ 1755743 h 3105260"/>
              <a:gd name="connsiteX1093" fmla="*/ 3090959 w 3105279"/>
              <a:gd name="connsiteY1093" fmla="*/ 1761552 h 3105260"/>
              <a:gd name="connsiteX1094" fmla="*/ 13770 w 3105279"/>
              <a:gd name="connsiteY1094" fmla="*/ 1759548 h 3105260"/>
              <a:gd name="connsiteX1095" fmla="*/ 12998 w 3105279"/>
              <a:gd name="connsiteY1095" fmla="*/ 1753739 h 3105260"/>
              <a:gd name="connsiteX1096" fmla="*/ 41733 w 3105279"/>
              <a:gd name="connsiteY1096" fmla="*/ 1749988 h 3105260"/>
              <a:gd name="connsiteX1097" fmla="*/ 42487 w 3105279"/>
              <a:gd name="connsiteY1097" fmla="*/ 1755688 h 3105260"/>
              <a:gd name="connsiteX1098" fmla="*/ 13770 w 3105279"/>
              <a:gd name="connsiteY1098" fmla="*/ 1759548 h 3105260"/>
              <a:gd name="connsiteX1099" fmla="*/ 3093606 w 3105279"/>
              <a:gd name="connsiteY1099" fmla="*/ 1741219 h 3105260"/>
              <a:gd name="connsiteX1100" fmla="*/ 3064852 w 3105279"/>
              <a:gd name="connsiteY1100" fmla="*/ 1737671 h 3105260"/>
              <a:gd name="connsiteX1101" fmla="*/ 3065551 w 3105279"/>
              <a:gd name="connsiteY1101" fmla="*/ 1731972 h 3105260"/>
              <a:gd name="connsiteX1102" fmla="*/ 3094323 w 3105279"/>
              <a:gd name="connsiteY1102" fmla="*/ 1735409 h 3105260"/>
              <a:gd name="connsiteX1103" fmla="*/ 3093606 w 3105279"/>
              <a:gd name="connsiteY1103" fmla="*/ 1741237 h 3105260"/>
              <a:gd name="connsiteX1104" fmla="*/ 11159 w 3105279"/>
              <a:gd name="connsiteY1104" fmla="*/ 1739197 h 3105260"/>
              <a:gd name="connsiteX1105" fmla="*/ 10461 w 3105279"/>
              <a:gd name="connsiteY1105" fmla="*/ 1733369 h 3105260"/>
              <a:gd name="connsiteX1106" fmla="*/ 39233 w 3105279"/>
              <a:gd name="connsiteY1106" fmla="*/ 1730004 h 3105260"/>
              <a:gd name="connsiteX1107" fmla="*/ 39913 w 3105279"/>
              <a:gd name="connsiteY1107" fmla="*/ 1735704 h 3105260"/>
              <a:gd name="connsiteX1108" fmla="*/ 11141 w 3105279"/>
              <a:gd name="connsiteY1108" fmla="*/ 1739178 h 3105260"/>
              <a:gd name="connsiteX1109" fmla="*/ 3095996 w 3105279"/>
              <a:gd name="connsiteY1109" fmla="*/ 1720849 h 3105260"/>
              <a:gd name="connsiteX1110" fmla="*/ 3067206 w 3105279"/>
              <a:gd name="connsiteY1110" fmla="*/ 1717668 h 3105260"/>
              <a:gd name="connsiteX1111" fmla="*/ 3067831 w 3105279"/>
              <a:gd name="connsiteY1111" fmla="*/ 1711951 h 3105260"/>
              <a:gd name="connsiteX1112" fmla="*/ 3096639 w 3105279"/>
              <a:gd name="connsiteY1112" fmla="*/ 1715002 h 3105260"/>
              <a:gd name="connsiteX1113" fmla="*/ 3096014 w 3105279"/>
              <a:gd name="connsiteY1113" fmla="*/ 1720849 h 3105260"/>
              <a:gd name="connsiteX1114" fmla="*/ 8843 w 3105279"/>
              <a:gd name="connsiteY1114" fmla="*/ 1718827 h 3105260"/>
              <a:gd name="connsiteX1115" fmla="*/ 8218 w 3105279"/>
              <a:gd name="connsiteY1115" fmla="*/ 1712999 h 3105260"/>
              <a:gd name="connsiteX1116" fmla="*/ 37045 w 3105279"/>
              <a:gd name="connsiteY1116" fmla="*/ 1710002 h 3105260"/>
              <a:gd name="connsiteX1117" fmla="*/ 37652 w 3105279"/>
              <a:gd name="connsiteY1117" fmla="*/ 1715720 h 3105260"/>
              <a:gd name="connsiteX1118" fmla="*/ 8843 w 3105279"/>
              <a:gd name="connsiteY1118" fmla="*/ 1718827 h 3105260"/>
              <a:gd name="connsiteX1119" fmla="*/ 3098092 w 3105279"/>
              <a:gd name="connsiteY1119" fmla="*/ 1700442 h 3105260"/>
              <a:gd name="connsiteX1120" fmla="*/ 3069246 w 3105279"/>
              <a:gd name="connsiteY1120" fmla="*/ 1697647 h 3105260"/>
              <a:gd name="connsiteX1121" fmla="*/ 3069780 w 3105279"/>
              <a:gd name="connsiteY1121" fmla="*/ 1691930 h 3105260"/>
              <a:gd name="connsiteX1122" fmla="*/ 3098625 w 3105279"/>
              <a:gd name="connsiteY1122" fmla="*/ 1694596 h 3105260"/>
              <a:gd name="connsiteX1123" fmla="*/ 3098073 w 3105279"/>
              <a:gd name="connsiteY1123" fmla="*/ 1700442 h 3105260"/>
              <a:gd name="connsiteX1124" fmla="*/ 6784 w 3105279"/>
              <a:gd name="connsiteY1124" fmla="*/ 1698420 h 3105260"/>
              <a:gd name="connsiteX1125" fmla="*/ 6251 w 3105279"/>
              <a:gd name="connsiteY1125" fmla="*/ 1692592 h 3105260"/>
              <a:gd name="connsiteX1126" fmla="*/ 35115 w 3105279"/>
              <a:gd name="connsiteY1126" fmla="*/ 1689981 h 3105260"/>
              <a:gd name="connsiteX1127" fmla="*/ 35648 w 3105279"/>
              <a:gd name="connsiteY1127" fmla="*/ 1695717 h 3105260"/>
              <a:gd name="connsiteX1128" fmla="*/ 6802 w 3105279"/>
              <a:gd name="connsiteY1128" fmla="*/ 1698420 h 3105260"/>
              <a:gd name="connsiteX1129" fmla="*/ 3099930 w 3105279"/>
              <a:gd name="connsiteY1129" fmla="*/ 1679998 h 3105260"/>
              <a:gd name="connsiteX1130" fmla="*/ 3071048 w 3105279"/>
              <a:gd name="connsiteY1130" fmla="*/ 1677590 h 3105260"/>
              <a:gd name="connsiteX1131" fmla="*/ 3071508 w 3105279"/>
              <a:gd name="connsiteY1131" fmla="*/ 1671872 h 3105260"/>
              <a:gd name="connsiteX1132" fmla="*/ 3100390 w 3105279"/>
              <a:gd name="connsiteY1132" fmla="*/ 1674152 h 3105260"/>
              <a:gd name="connsiteX1133" fmla="*/ 3099912 w 3105279"/>
              <a:gd name="connsiteY1133" fmla="*/ 1679998 h 3105260"/>
              <a:gd name="connsiteX1134" fmla="*/ 5001 w 3105279"/>
              <a:gd name="connsiteY1134" fmla="*/ 1677976 h 3105260"/>
              <a:gd name="connsiteX1135" fmla="*/ 4541 w 3105279"/>
              <a:gd name="connsiteY1135" fmla="*/ 1672130 h 3105260"/>
              <a:gd name="connsiteX1136" fmla="*/ 33423 w 3105279"/>
              <a:gd name="connsiteY1136" fmla="*/ 1669924 h 3105260"/>
              <a:gd name="connsiteX1137" fmla="*/ 33883 w 3105279"/>
              <a:gd name="connsiteY1137" fmla="*/ 1675660 h 3105260"/>
              <a:gd name="connsiteX1138" fmla="*/ 5001 w 3105279"/>
              <a:gd name="connsiteY1138" fmla="*/ 1677994 h 3105260"/>
              <a:gd name="connsiteX1139" fmla="*/ 3101493 w 3105279"/>
              <a:gd name="connsiteY1139" fmla="*/ 1659555 h 3105260"/>
              <a:gd name="connsiteX1140" fmla="*/ 3072593 w 3105279"/>
              <a:gd name="connsiteY1140" fmla="*/ 1657514 h 3105260"/>
              <a:gd name="connsiteX1141" fmla="*/ 3072979 w 3105279"/>
              <a:gd name="connsiteY1141" fmla="*/ 1651778 h 3105260"/>
              <a:gd name="connsiteX1142" fmla="*/ 3101897 w 3105279"/>
              <a:gd name="connsiteY1142" fmla="*/ 1653690 h 3105260"/>
              <a:gd name="connsiteX1143" fmla="*/ 3101493 w 3105279"/>
              <a:gd name="connsiteY1143" fmla="*/ 1659555 h 3105260"/>
              <a:gd name="connsiteX1144" fmla="*/ 3475 w 3105279"/>
              <a:gd name="connsiteY1144" fmla="*/ 1657532 h 3105260"/>
              <a:gd name="connsiteX1145" fmla="*/ 3089 w 3105279"/>
              <a:gd name="connsiteY1145" fmla="*/ 1651686 h 3105260"/>
              <a:gd name="connsiteX1146" fmla="*/ 32008 w 3105279"/>
              <a:gd name="connsiteY1146" fmla="*/ 1649848 h 3105260"/>
              <a:gd name="connsiteX1147" fmla="*/ 32375 w 3105279"/>
              <a:gd name="connsiteY1147" fmla="*/ 1655584 h 3105260"/>
              <a:gd name="connsiteX1148" fmla="*/ 3475 w 3105279"/>
              <a:gd name="connsiteY1148" fmla="*/ 1657532 h 3105260"/>
              <a:gd name="connsiteX1149" fmla="*/ 3102798 w 3105279"/>
              <a:gd name="connsiteY1149" fmla="*/ 1639074 h 3105260"/>
              <a:gd name="connsiteX1150" fmla="*/ 3073879 w 3105279"/>
              <a:gd name="connsiteY1150" fmla="*/ 1637420 h 3105260"/>
              <a:gd name="connsiteX1151" fmla="*/ 3074192 w 3105279"/>
              <a:gd name="connsiteY1151" fmla="*/ 1631684 h 3105260"/>
              <a:gd name="connsiteX1152" fmla="*/ 3103129 w 3105279"/>
              <a:gd name="connsiteY1152" fmla="*/ 1633210 h 3105260"/>
              <a:gd name="connsiteX1153" fmla="*/ 3102817 w 3105279"/>
              <a:gd name="connsiteY1153" fmla="*/ 1639074 h 3105260"/>
              <a:gd name="connsiteX1154" fmla="*/ 2243 w 3105279"/>
              <a:gd name="connsiteY1154" fmla="*/ 1637052 h 3105260"/>
              <a:gd name="connsiteX1155" fmla="*/ 1930 w 3105279"/>
              <a:gd name="connsiteY1155" fmla="*/ 1631206 h 3105260"/>
              <a:gd name="connsiteX1156" fmla="*/ 30868 w 3105279"/>
              <a:gd name="connsiteY1156" fmla="*/ 1629753 h 3105260"/>
              <a:gd name="connsiteX1157" fmla="*/ 31162 w 3105279"/>
              <a:gd name="connsiteY1157" fmla="*/ 1635489 h 3105260"/>
              <a:gd name="connsiteX1158" fmla="*/ 2225 w 3105279"/>
              <a:gd name="connsiteY1158" fmla="*/ 1637052 h 3105260"/>
              <a:gd name="connsiteX1159" fmla="*/ 3103828 w 3105279"/>
              <a:gd name="connsiteY1159" fmla="*/ 1618576 h 3105260"/>
              <a:gd name="connsiteX1160" fmla="*/ 3074891 w 3105279"/>
              <a:gd name="connsiteY1160" fmla="*/ 1617307 h 3105260"/>
              <a:gd name="connsiteX1161" fmla="*/ 3075130 w 3105279"/>
              <a:gd name="connsiteY1161" fmla="*/ 1611571 h 3105260"/>
              <a:gd name="connsiteX1162" fmla="*/ 3104085 w 3105279"/>
              <a:gd name="connsiteY1162" fmla="*/ 1612711 h 3105260"/>
              <a:gd name="connsiteX1163" fmla="*/ 3103846 w 3105279"/>
              <a:gd name="connsiteY1163" fmla="*/ 1618576 h 3105260"/>
              <a:gd name="connsiteX1164" fmla="*/ 1269 w 3105279"/>
              <a:gd name="connsiteY1164" fmla="*/ 1616572 h 3105260"/>
              <a:gd name="connsiteX1165" fmla="*/ 1048 w 3105279"/>
              <a:gd name="connsiteY1165" fmla="*/ 1610707 h 3105260"/>
              <a:gd name="connsiteX1166" fmla="*/ 30004 w 3105279"/>
              <a:gd name="connsiteY1166" fmla="*/ 1609641 h 3105260"/>
              <a:gd name="connsiteX1167" fmla="*/ 30224 w 3105279"/>
              <a:gd name="connsiteY1167" fmla="*/ 1615377 h 3105260"/>
              <a:gd name="connsiteX1168" fmla="*/ 1269 w 3105279"/>
              <a:gd name="connsiteY1168" fmla="*/ 1616553 h 3105260"/>
              <a:gd name="connsiteX1169" fmla="*/ 3104581 w 3105279"/>
              <a:gd name="connsiteY1169" fmla="*/ 1598058 h 3105260"/>
              <a:gd name="connsiteX1170" fmla="*/ 3075626 w 3105279"/>
              <a:gd name="connsiteY1170" fmla="*/ 1597194 h 3105260"/>
              <a:gd name="connsiteX1171" fmla="*/ 3075791 w 3105279"/>
              <a:gd name="connsiteY1171" fmla="*/ 1591440 h 3105260"/>
              <a:gd name="connsiteX1172" fmla="*/ 3104765 w 3105279"/>
              <a:gd name="connsiteY1172" fmla="*/ 1592194 h 3105260"/>
              <a:gd name="connsiteX1173" fmla="*/ 3104600 w 3105279"/>
              <a:gd name="connsiteY1173" fmla="*/ 1598058 h 3105260"/>
              <a:gd name="connsiteX1174" fmla="*/ 570 w 3105279"/>
              <a:gd name="connsiteY1174" fmla="*/ 1596073 h 3105260"/>
              <a:gd name="connsiteX1175" fmla="*/ 423 w 3105279"/>
              <a:gd name="connsiteY1175" fmla="*/ 1590208 h 3105260"/>
              <a:gd name="connsiteX1176" fmla="*/ 29397 w 3105279"/>
              <a:gd name="connsiteY1176" fmla="*/ 1589546 h 3105260"/>
              <a:gd name="connsiteX1177" fmla="*/ 29544 w 3105279"/>
              <a:gd name="connsiteY1177" fmla="*/ 1595282 h 3105260"/>
              <a:gd name="connsiteX1178" fmla="*/ 588 w 3105279"/>
              <a:gd name="connsiteY1178" fmla="*/ 1596073 h 3105260"/>
              <a:gd name="connsiteX1179" fmla="*/ 3105059 w 3105279"/>
              <a:gd name="connsiteY1179" fmla="*/ 1577541 h 3105260"/>
              <a:gd name="connsiteX1180" fmla="*/ 3076085 w 3105279"/>
              <a:gd name="connsiteY1180" fmla="*/ 1577063 h 3105260"/>
              <a:gd name="connsiteX1181" fmla="*/ 3076177 w 3105279"/>
              <a:gd name="connsiteY1181" fmla="*/ 1571309 h 3105260"/>
              <a:gd name="connsiteX1182" fmla="*/ 3105152 w 3105279"/>
              <a:gd name="connsiteY1182" fmla="*/ 1571695 h 3105260"/>
              <a:gd name="connsiteX1183" fmla="*/ 3105059 w 3105279"/>
              <a:gd name="connsiteY1183" fmla="*/ 1577560 h 3105260"/>
              <a:gd name="connsiteX1184" fmla="*/ 147 w 3105279"/>
              <a:gd name="connsiteY1184" fmla="*/ 1575556 h 3105260"/>
              <a:gd name="connsiteX1185" fmla="*/ 74 w 3105279"/>
              <a:gd name="connsiteY1185" fmla="*/ 1569709 h 3105260"/>
              <a:gd name="connsiteX1186" fmla="*/ 29048 w 3105279"/>
              <a:gd name="connsiteY1186" fmla="*/ 1569415 h 3105260"/>
              <a:gd name="connsiteX1187" fmla="*/ 29121 w 3105279"/>
              <a:gd name="connsiteY1187" fmla="*/ 1575170 h 3105260"/>
              <a:gd name="connsiteX1188" fmla="*/ 147 w 3105279"/>
              <a:gd name="connsiteY1188" fmla="*/ 1575574 h 3105260"/>
              <a:gd name="connsiteX1189" fmla="*/ 3105280 w 3105279"/>
              <a:gd name="connsiteY1189" fmla="*/ 1557006 h 3105260"/>
              <a:gd name="connsiteX1190" fmla="*/ 3076306 w 3105279"/>
              <a:gd name="connsiteY1190" fmla="*/ 1556895 h 3105260"/>
              <a:gd name="connsiteX1191" fmla="*/ 3076306 w 3105279"/>
              <a:gd name="connsiteY1191" fmla="*/ 1551417 h 3105260"/>
              <a:gd name="connsiteX1192" fmla="*/ 3076306 w 3105279"/>
              <a:gd name="connsiteY1192" fmla="*/ 1551141 h 3105260"/>
              <a:gd name="connsiteX1193" fmla="*/ 3105280 w 3105279"/>
              <a:gd name="connsiteY1193" fmla="*/ 1551141 h 3105260"/>
              <a:gd name="connsiteX1194" fmla="*/ 3105280 w 3105279"/>
              <a:gd name="connsiteY1194" fmla="*/ 1551417 h 3105260"/>
              <a:gd name="connsiteX1195" fmla="*/ 3105280 w 3105279"/>
              <a:gd name="connsiteY1195" fmla="*/ 1557006 h 3105260"/>
              <a:gd name="connsiteX1196" fmla="*/ 28974 w 3105279"/>
              <a:gd name="connsiteY1196" fmla="*/ 1555057 h 3105260"/>
              <a:gd name="connsiteX1197" fmla="*/ 0 w 3105279"/>
              <a:gd name="connsiteY1197" fmla="*/ 1555057 h 3105260"/>
              <a:gd name="connsiteX1198" fmla="*/ 0 w 3105279"/>
              <a:gd name="connsiteY1198" fmla="*/ 1553862 h 3105260"/>
              <a:gd name="connsiteX1199" fmla="*/ 0 w 3105279"/>
              <a:gd name="connsiteY1199" fmla="*/ 1549211 h 3105260"/>
              <a:gd name="connsiteX1200" fmla="*/ 28974 w 3105279"/>
              <a:gd name="connsiteY1200" fmla="*/ 1549303 h 3105260"/>
              <a:gd name="connsiteX1201" fmla="*/ 28974 w 3105279"/>
              <a:gd name="connsiteY1201" fmla="*/ 1553844 h 3105260"/>
              <a:gd name="connsiteX1202" fmla="*/ 28974 w 3105279"/>
              <a:gd name="connsiteY1202" fmla="*/ 1555075 h 3105260"/>
              <a:gd name="connsiteX1203" fmla="*/ 3076233 w 3105279"/>
              <a:gd name="connsiteY1203" fmla="*/ 1536783 h 3105260"/>
              <a:gd name="connsiteX1204" fmla="*/ 3076159 w 3105279"/>
              <a:gd name="connsiteY1204" fmla="*/ 1531028 h 3105260"/>
              <a:gd name="connsiteX1205" fmla="*/ 3105133 w 3105279"/>
              <a:gd name="connsiteY1205" fmla="*/ 1530642 h 3105260"/>
              <a:gd name="connsiteX1206" fmla="*/ 3105207 w 3105279"/>
              <a:gd name="connsiteY1206" fmla="*/ 1536489 h 3105260"/>
              <a:gd name="connsiteX1207" fmla="*/ 3076233 w 3105279"/>
              <a:gd name="connsiteY1207" fmla="*/ 1536764 h 3105260"/>
              <a:gd name="connsiteX1208" fmla="*/ 29084 w 3105279"/>
              <a:gd name="connsiteY1208" fmla="*/ 1534908 h 3105260"/>
              <a:gd name="connsiteX1209" fmla="*/ 110 w 3105279"/>
              <a:gd name="connsiteY1209" fmla="*/ 1534540 h 3105260"/>
              <a:gd name="connsiteX1210" fmla="*/ 202 w 3105279"/>
              <a:gd name="connsiteY1210" fmla="*/ 1528675 h 3105260"/>
              <a:gd name="connsiteX1211" fmla="*/ 29176 w 3105279"/>
              <a:gd name="connsiteY1211" fmla="*/ 1529153 h 3105260"/>
              <a:gd name="connsiteX1212" fmla="*/ 29103 w 3105279"/>
              <a:gd name="connsiteY1212" fmla="*/ 1534908 h 3105260"/>
              <a:gd name="connsiteX1213" fmla="*/ 3075902 w 3105279"/>
              <a:gd name="connsiteY1213" fmla="*/ 1516670 h 3105260"/>
              <a:gd name="connsiteX1214" fmla="*/ 3075755 w 3105279"/>
              <a:gd name="connsiteY1214" fmla="*/ 1510934 h 3105260"/>
              <a:gd name="connsiteX1215" fmla="*/ 3104710 w 3105279"/>
              <a:gd name="connsiteY1215" fmla="*/ 1510143 h 3105260"/>
              <a:gd name="connsiteX1216" fmla="*/ 3104857 w 3105279"/>
              <a:gd name="connsiteY1216" fmla="*/ 1516008 h 3105260"/>
              <a:gd name="connsiteX1217" fmla="*/ 3075883 w 3105279"/>
              <a:gd name="connsiteY1217" fmla="*/ 1516670 h 3105260"/>
              <a:gd name="connsiteX1218" fmla="*/ 29470 w 3105279"/>
              <a:gd name="connsiteY1218" fmla="*/ 1514758 h 3105260"/>
              <a:gd name="connsiteX1219" fmla="*/ 496 w 3105279"/>
              <a:gd name="connsiteY1219" fmla="*/ 1514023 h 3105260"/>
              <a:gd name="connsiteX1220" fmla="*/ 662 w 3105279"/>
              <a:gd name="connsiteY1220" fmla="*/ 1508158 h 3105260"/>
              <a:gd name="connsiteX1221" fmla="*/ 29618 w 3105279"/>
              <a:gd name="connsiteY1221" fmla="*/ 1509022 h 3105260"/>
              <a:gd name="connsiteX1222" fmla="*/ 29452 w 3105279"/>
              <a:gd name="connsiteY1222" fmla="*/ 1514776 h 3105260"/>
              <a:gd name="connsiteX1223" fmla="*/ 3075313 w 3105279"/>
              <a:gd name="connsiteY1223" fmla="*/ 1496557 h 3105260"/>
              <a:gd name="connsiteX1224" fmla="*/ 3075093 w 3105279"/>
              <a:gd name="connsiteY1224" fmla="*/ 1490821 h 3105260"/>
              <a:gd name="connsiteX1225" fmla="*/ 3104048 w 3105279"/>
              <a:gd name="connsiteY1225" fmla="*/ 1489663 h 3105260"/>
              <a:gd name="connsiteX1226" fmla="*/ 3104269 w 3105279"/>
              <a:gd name="connsiteY1226" fmla="*/ 1495528 h 3105260"/>
              <a:gd name="connsiteX1227" fmla="*/ 3075313 w 3105279"/>
              <a:gd name="connsiteY1227" fmla="*/ 1496557 h 3105260"/>
              <a:gd name="connsiteX1228" fmla="*/ 30132 w 3105279"/>
              <a:gd name="connsiteY1228" fmla="*/ 1494645 h 3105260"/>
              <a:gd name="connsiteX1229" fmla="*/ 1177 w 3105279"/>
              <a:gd name="connsiteY1229" fmla="*/ 1493506 h 3105260"/>
              <a:gd name="connsiteX1230" fmla="*/ 1416 w 3105279"/>
              <a:gd name="connsiteY1230" fmla="*/ 1487641 h 3105260"/>
              <a:gd name="connsiteX1231" fmla="*/ 30371 w 3105279"/>
              <a:gd name="connsiteY1231" fmla="*/ 1488873 h 3105260"/>
              <a:gd name="connsiteX1232" fmla="*/ 30132 w 3105279"/>
              <a:gd name="connsiteY1232" fmla="*/ 1494627 h 3105260"/>
              <a:gd name="connsiteX1233" fmla="*/ 3074449 w 3105279"/>
              <a:gd name="connsiteY1233" fmla="*/ 1476463 h 3105260"/>
              <a:gd name="connsiteX1234" fmla="*/ 3074155 w 3105279"/>
              <a:gd name="connsiteY1234" fmla="*/ 1470709 h 3105260"/>
              <a:gd name="connsiteX1235" fmla="*/ 3103092 w 3105279"/>
              <a:gd name="connsiteY1235" fmla="*/ 1469164 h 3105260"/>
              <a:gd name="connsiteX1236" fmla="*/ 3103387 w 3105279"/>
              <a:gd name="connsiteY1236" fmla="*/ 1475011 h 3105260"/>
              <a:gd name="connsiteX1237" fmla="*/ 3074449 w 3105279"/>
              <a:gd name="connsiteY1237" fmla="*/ 1476445 h 3105260"/>
              <a:gd name="connsiteX1238" fmla="*/ 31052 w 3105279"/>
              <a:gd name="connsiteY1238" fmla="*/ 1474514 h 3105260"/>
              <a:gd name="connsiteX1239" fmla="*/ 2114 w 3105279"/>
              <a:gd name="connsiteY1239" fmla="*/ 1473007 h 3105260"/>
              <a:gd name="connsiteX1240" fmla="*/ 2427 w 3105279"/>
              <a:gd name="connsiteY1240" fmla="*/ 1467160 h 3105260"/>
              <a:gd name="connsiteX1241" fmla="*/ 31364 w 3105279"/>
              <a:gd name="connsiteY1241" fmla="*/ 1468778 h 3105260"/>
              <a:gd name="connsiteX1242" fmla="*/ 31052 w 3105279"/>
              <a:gd name="connsiteY1242" fmla="*/ 1474533 h 3105260"/>
              <a:gd name="connsiteX1243" fmla="*/ 3073328 w 3105279"/>
              <a:gd name="connsiteY1243" fmla="*/ 1456350 h 3105260"/>
              <a:gd name="connsiteX1244" fmla="*/ 3072960 w 3105279"/>
              <a:gd name="connsiteY1244" fmla="*/ 1450614 h 3105260"/>
              <a:gd name="connsiteX1245" fmla="*/ 3101861 w 3105279"/>
              <a:gd name="connsiteY1245" fmla="*/ 1448684 h 3105260"/>
              <a:gd name="connsiteX1246" fmla="*/ 3102247 w 3105279"/>
              <a:gd name="connsiteY1246" fmla="*/ 1454530 h 3105260"/>
              <a:gd name="connsiteX1247" fmla="*/ 3073328 w 3105279"/>
              <a:gd name="connsiteY1247" fmla="*/ 1456350 h 3105260"/>
              <a:gd name="connsiteX1248" fmla="*/ 32228 w 3105279"/>
              <a:gd name="connsiteY1248" fmla="*/ 1454420 h 3105260"/>
              <a:gd name="connsiteX1249" fmla="*/ 3309 w 3105279"/>
              <a:gd name="connsiteY1249" fmla="*/ 1452526 h 3105260"/>
              <a:gd name="connsiteX1250" fmla="*/ 3695 w 3105279"/>
              <a:gd name="connsiteY1250" fmla="*/ 1446680 h 3105260"/>
              <a:gd name="connsiteX1251" fmla="*/ 32596 w 3105279"/>
              <a:gd name="connsiteY1251" fmla="*/ 1448684 h 3105260"/>
              <a:gd name="connsiteX1252" fmla="*/ 32210 w 3105279"/>
              <a:gd name="connsiteY1252" fmla="*/ 1454420 h 3105260"/>
              <a:gd name="connsiteX1253" fmla="*/ 3071930 w 3105279"/>
              <a:gd name="connsiteY1253" fmla="*/ 1436274 h 3105260"/>
              <a:gd name="connsiteX1254" fmla="*/ 3071489 w 3105279"/>
              <a:gd name="connsiteY1254" fmla="*/ 1430538 h 3105260"/>
              <a:gd name="connsiteX1255" fmla="*/ 3100372 w 3105279"/>
              <a:gd name="connsiteY1255" fmla="*/ 1428222 h 3105260"/>
              <a:gd name="connsiteX1256" fmla="*/ 3100831 w 3105279"/>
              <a:gd name="connsiteY1256" fmla="*/ 1434068 h 3105260"/>
              <a:gd name="connsiteX1257" fmla="*/ 3071949 w 3105279"/>
              <a:gd name="connsiteY1257" fmla="*/ 1436274 h 3105260"/>
              <a:gd name="connsiteX1258" fmla="*/ 33681 w 3105279"/>
              <a:gd name="connsiteY1258" fmla="*/ 1434326 h 3105260"/>
              <a:gd name="connsiteX1259" fmla="*/ 4798 w 3105279"/>
              <a:gd name="connsiteY1259" fmla="*/ 1432046 h 3105260"/>
              <a:gd name="connsiteX1260" fmla="*/ 5276 w 3105279"/>
              <a:gd name="connsiteY1260" fmla="*/ 1426200 h 3105260"/>
              <a:gd name="connsiteX1261" fmla="*/ 34159 w 3105279"/>
              <a:gd name="connsiteY1261" fmla="*/ 1428590 h 3105260"/>
              <a:gd name="connsiteX1262" fmla="*/ 33699 w 3105279"/>
              <a:gd name="connsiteY1262" fmla="*/ 1434326 h 3105260"/>
              <a:gd name="connsiteX1263" fmla="*/ 3070258 w 3105279"/>
              <a:gd name="connsiteY1263" fmla="*/ 1416217 h 3105260"/>
              <a:gd name="connsiteX1264" fmla="*/ 3069724 w 3105279"/>
              <a:gd name="connsiteY1264" fmla="*/ 1410481 h 3105260"/>
              <a:gd name="connsiteX1265" fmla="*/ 3098570 w 3105279"/>
              <a:gd name="connsiteY1265" fmla="*/ 1407797 h 3105260"/>
              <a:gd name="connsiteX1266" fmla="*/ 3099103 w 3105279"/>
              <a:gd name="connsiteY1266" fmla="*/ 1413625 h 3105260"/>
              <a:gd name="connsiteX1267" fmla="*/ 3070239 w 3105279"/>
              <a:gd name="connsiteY1267" fmla="*/ 1416217 h 3105260"/>
              <a:gd name="connsiteX1268" fmla="*/ 35390 w 3105279"/>
              <a:gd name="connsiteY1268" fmla="*/ 1414268 h 3105260"/>
              <a:gd name="connsiteX1269" fmla="*/ 6545 w 3105279"/>
              <a:gd name="connsiteY1269" fmla="*/ 1411602 h 3105260"/>
              <a:gd name="connsiteX1270" fmla="*/ 7096 w 3105279"/>
              <a:gd name="connsiteY1270" fmla="*/ 1405756 h 3105260"/>
              <a:gd name="connsiteX1271" fmla="*/ 35942 w 3105279"/>
              <a:gd name="connsiteY1271" fmla="*/ 1408532 h 3105260"/>
              <a:gd name="connsiteX1272" fmla="*/ 35409 w 3105279"/>
              <a:gd name="connsiteY1272" fmla="*/ 1414250 h 3105260"/>
              <a:gd name="connsiteX1273" fmla="*/ 3068327 w 3105279"/>
              <a:gd name="connsiteY1273" fmla="*/ 1396178 h 3105260"/>
              <a:gd name="connsiteX1274" fmla="*/ 3067721 w 3105279"/>
              <a:gd name="connsiteY1274" fmla="*/ 1390460 h 3105260"/>
              <a:gd name="connsiteX1275" fmla="*/ 3096529 w 3105279"/>
              <a:gd name="connsiteY1275" fmla="*/ 1387390 h 3105260"/>
              <a:gd name="connsiteX1276" fmla="*/ 3097136 w 3105279"/>
              <a:gd name="connsiteY1276" fmla="*/ 1393218 h 3105260"/>
              <a:gd name="connsiteX1277" fmla="*/ 3068309 w 3105279"/>
              <a:gd name="connsiteY1277" fmla="*/ 1396178 h 3105260"/>
              <a:gd name="connsiteX1278" fmla="*/ 37376 w 3105279"/>
              <a:gd name="connsiteY1278" fmla="*/ 1394229 h 3105260"/>
              <a:gd name="connsiteX1279" fmla="*/ 8567 w 3105279"/>
              <a:gd name="connsiteY1279" fmla="*/ 1391195 h 3105260"/>
              <a:gd name="connsiteX1280" fmla="*/ 9192 w 3105279"/>
              <a:gd name="connsiteY1280" fmla="*/ 1385368 h 3105260"/>
              <a:gd name="connsiteX1281" fmla="*/ 38001 w 3105279"/>
              <a:gd name="connsiteY1281" fmla="*/ 1388511 h 3105260"/>
              <a:gd name="connsiteX1282" fmla="*/ 37394 w 3105279"/>
              <a:gd name="connsiteY1282" fmla="*/ 1394229 h 3105260"/>
              <a:gd name="connsiteX1283" fmla="*/ 3066140 w 3105279"/>
              <a:gd name="connsiteY1283" fmla="*/ 1376175 h 3105260"/>
              <a:gd name="connsiteX1284" fmla="*/ 3065459 w 3105279"/>
              <a:gd name="connsiteY1284" fmla="*/ 1370476 h 3105260"/>
              <a:gd name="connsiteX1285" fmla="*/ 3094231 w 3105279"/>
              <a:gd name="connsiteY1285" fmla="*/ 1367001 h 3105260"/>
              <a:gd name="connsiteX1286" fmla="*/ 3094930 w 3105279"/>
              <a:gd name="connsiteY1286" fmla="*/ 1372829 h 3105260"/>
              <a:gd name="connsiteX1287" fmla="*/ 3066158 w 3105279"/>
              <a:gd name="connsiteY1287" fmla="*/ 1376175 h 3105260"/>
              <a:gd name="connsiteX1288" fmla="*/ 39619 w 3105279"/>
              <a:gd name="connsiteY1288" fmla="*/ 1374227 h 3105260"/>
              <a:gd name="connsiteX1289" fmla="*/ 10847 w 3105279"/>
              <a:gd name="connsiteY1289" fmla="*/ 1370807 h 3105260"/>
              <a:gd name="connsiteX1290" fmla="*/ 11545 w 3105279"/>
              <a:gd name="connsiteY1290" fmla="*/ 1364997 h 3105260"/>
              <a:gd name="connsiteX1291" fmla="*/ 40299 w 3105279"/>
              <a:gd name="connsiteY1291" fmla="*/ 1368527 h 3105260"/>
              <a:gd name="connsiteX1292" fmla="*/ 39600 w 3105279"/>
              <a:gd name="connsiteY1292" fmla="*/ 1374245 h 3105260"/>
              <a:gd name="connsiteX1293" fmla="*/ 3063676 w 3105279"/>
              <a:gd name="connsiteY1293" fmla="*/ 1356191 h 3105260"/>
              <a:gd name="connsiteX1294" fmla="*/ 3062922 w 3105279"/>
              <a:gd name="connsiteY1294" fmla="*/ 1350492 h 3105260"/>
              <a:gd name="connsiteX1295" fmla="*/ 3091639 w 3105279"/>
              <a:gd name="connsiteY1295" fmla="*/ 1346631 h 3105260"/>
              <a:gd name="connsiteX1296" fmla="*/ 3092411 w 3105279"/>
              <a:gd name="connsiteY1296" fmla="*/ 1352459 h 3105260"/>
              <a:gd name="connsiteX1297" fmla="*/ 3063676 w 3105279"/>
              <a:gd name="connsiteY1297" fmla="*/ 1356191 h 3105260"/>
              <a:gd name="connsiteX1298" fmla="*/ 42119 w 3105279"/>
              <a:gd name="connsiteY1298" fmla="*/ 1354261 h 3105260"/>
              <a:gd name="connsiteX1299" fmla="*/ 13402 w 3105279"/>
              <a:gd name="connsiteY1299" fmla="*/ 1350455 h 3105260"/>
              <a:gd name="connsiteX1300" fmla="*/ 14175 w 3105279"/>
              <a:gd name="connsiteY1300" fmla="*/ 1344646 h 3105260"/>
              <a:gd name="connsiteX1301" fmla="*/ 42891 w 3105279"/>
              <a:gd name="connsiteY1301" fmla="*/ 1348543 h 3105260"/>
              <a:gd name="connsiteX1302" fmla="*/ 42119 w 3105279"/>
              <a:gd name="connsiteY1302" fmla="*/ 1354243 h 3105260"/>
              <a:gd name="connsiteX1303" fmla="*/ 3060955 w 3105279"/>
              <a:gd name="connsiteY1303" fmla="*/ 1336263 h 3105260"/>
              <a:gd name="connsiteX1304" fmla="*/ 3060128 w 3105279"/>
              <a:gd name="connsiteY1304" fmla="*/ 1330582 h 3105260"/>
              <a:gd name="connsiteX1305" fmla="*/ 3088789 w 3105279"/>
              <a:gd name="connsiteY1305" fmla="*/ 1326353 h 3105260"/>
              <a:gd name="connsiteX1306" fmla="*/ 3089635 w 3105279"/>
              <a:gd name="connsiteY1306" fmla="*/ 1332163 h 3105260"/>
              <a:gd name="connsiteX1307" fmla="*/ 3060955 w 3105279"/>
              <a:gd name="connsiteY1307" fmla="*/ 1336263 h 3105260"/>
              <a:gd name="connsiteX1308" fmla="*/ 44895 w 3105279"/>
              <a:gd name="connsiteY1308" fmla="*/ 1334314 h 3105260"/>
              <a:gd name="connsiteX1309" fmla="*/ 16215 w 3105279"/>
              <a:gd name="connsiteY1309" fmla="*/ 1330140 h 3105260"/>
              <a:gd name="connsiteX1310" fmla="*/ 17061 w 3105279"/>
              <a:gd name="connsiteY1310" fmla="*/ 1324349 h 3105260"/>
              <a:gd name="connsiteX1311" fmla="*/ 45722 w 3105279"/>
              <a:gd name="connsiteY1311" fmla="*/ 1328633 h 3105260"/>
              <a:gd name="connsiteX1312" fmla="*/ 44877 w 3105279"/>
              <a:gd name="connsiteY1312" fmla="*/ 1334332 h 3105260"/>
              <a:gd name="connsiteX1313" fmla="*/ 3057958 w 3105279"/>
              <a:gd name="connsiteY1313" fmla="*/ 1316352 h 3105260"/>
              <a:gd name="connsiteX1314" fmla="*/ 3057057 w 3105279"/>
              <a:gd name="connsiteY1314" fmla="*/ 1310671 h 3105260"/>
              <a:gd name="connsiteX1315" fmla="*/ 3085664 w 3105279"/>
              <a:gd name="connsiteY1315" fmla="*/ 1306057 h 3105260"/>
              <a:gd name="connsiteX1316" fmla="*/ 3086583 w 3105279"/>
              <a:gd name="connsiteY1316" fmla="*/ 1311848 h 3105260"/>
              <a:gd name="connsiteX1317" fmla="*/ 3057958 w 3105279"/>
              <a:gd name="connsiteY1317" fmla="*/ 1316334 h 3105260"/>
              <a:gd name="connsiteX1318" fmla="*/ 47929 w 3105279"/>
              <a:gd name="connsiteY1318" fmla="*/ 1314422 h 3105260"/>
              <a:gd name="connsiteX1319" fmla="*/ 19322 w 3105279"/>
              <a:gd name="connsiteY1319" fmla="*/ 1309862 h 3105260"/>
              <a:gd name="connsiteX1320" fmla="*/ 20260 w 3105279"/>
              <a:gd name="connsiteY1320" fmla="*/ 1304071 h 3105260"/>
              <a:gd name="connsiteX1321" fmla="*/ 48848 w 3105279"/>
              <a:gd name="connsiteY1321" fmla="*/ 1308741 h 3105260"/>
              <a:gd name="connsiteX1322" fmla="*/ 47929 w 3105279"/>
              <a:gd name="connsiteY1322" fmla="*/ 1314422 h 3105260"/>
              <a:gd name="connsiteX1323" fmla="*/ 3054686 w 3105279"/>
              <a:gd name="connsiteY1323" fmla="*/ 1296478 h 3105260"/>
              <a:gd name="connsiteX1324" fmla="*/ 3053712 w 3105279"/>
              <a:gd name="connsiteY1324" fmla="*/ 1290816 h 3105260"/>
              <a:gd name="connsiteX1325" fmla="*/ 3082244 w 3105279"/>
              <a:gd name="connsiteY1325" fmla="*/ 1285815 h 3105260"/>
              <a:gd name="connsiteX1326" fmla="*/ 3083237 w 3105279"/>
              <a:gd name="connsiteY1326" fmla="*/ 1291606 h 3105260"/>
              <a:gd name="connsiteX1327" fmla="*/ 3054668 w 3105279"/>
              <a:gd name="connsiteY1327" fmla="*/ 1296478 h 3105260"/>
              <a:gd name="connsiteX1328" fmla="*/ 51219 w 3105279"/>
              <a:gd name="connsiteY1328" fmla="*/ 1294566 h 3105260"/>
              <a:gd name="connsiteX1329" fmla="*/ 22668 w 3105279"/>
              <a:gd name="connsiteY1329" fmla="*/ 1289621 h 3105260"/>
              <a:gd name="connsiteX1330" fmla="*/ 23679 w 3105279"/>
              <a:gd name="connsiteY1330" fmla="*/ 1283848 h 3105260"/>
              <a:gd name="connsiteX1331" fmla="*/ 52212 w 3105279"/>
              <a:gd name="connsiteY1331" fmla="*/ 1288886 h 3105260"/>
              <a:gd name="connsiteX1332" fmla="*/ 51219 w 3105279"/>
              <a:gd name="connsiteY1332" fmla="*/ 1294548 h 3105260"/>
              <a:gd name="connsiteX1333" fmla="*/ 3051174 w 3105279"/>
              <a:gd name="connsiteY1333" fmla="*/ 1276660 h 3105260"/>
              <a:gd name="connsiteX1334" fmla="*/ 3050126 w 3105279"/>
              <a:gd name="connsiteY1334" fmla="*/ 1271016 h 3105260"/>
              <a:gd name="connsiteX1335" fmla="*/ 3078604 w 3105279"/>
              <a:gd name="connsiteY1335" fmla="*/ 1265647 h 3105260"/>
              <a:gd name="connsiteX1336" fmla="*/ 3079689 w 3105279"/>
              <a:gd name="connsiteY1336" fmla="*/ 1271420 h 3105260"/>
              <a:gd name="connsiteX1337" fmla="*/ 3051193 w 3105279"/>
              <a:gd name="connsiteY1337" fmla="*/ 1276678 h 3105260"/>
              <a:gd name="connsiteX1338" fmla="*/ 54786 w 3105279"/>
              <a:gd name="connsiteY1338" fmla="*/ 1274766 h 3105260"/>
              <a:gd name="connsiteX1339" fmla="*/ 26308 w 3105279"/>
              <a:gd name="connsiteY1339" fmla="*/ 1269453 h 3105260"/>
              <a:gd name="connsiteX1340" fmla="*/ 27393 w 3105279"/>
              <a:gd name="connsiteY1340" fmla="*/ 1263699 h 3105260"/>
              <a:gd name="connsiteX1341" fmla="*/ 55852 w 3105279"/>
              <a:gd name="connsiteY1341" fmla="*/ 1269104 h 3105260"/>
              <a:gd name="connsiteX1342" fmla="*/ 54786 w 3105279"/>
              <a:gd name="connsiteY1342" fmla="*/ 1274748 h 3105260"/>
              <a:gd name="connsiteX1343" fmla="*/ 3047387 w 3105279"/>
              <a:gd name="connsiteY1343" fmla="*/ 1256896 h 3105260"/>
              <a:gd name="connsiteX1344" fmla="*/ 3046266 w 3105279"/>
              <a:gd name="connsiteY1344" fmla="*/ 1251271 h 3105260"/>
              <a:gd name="connsiteX1345" fmla="*/ 3074670 w 3105279"/>
              <a:gd name="connsiteY1345" fmla="*/ 1245516 h 3105260"/>
              <a:gd name="connsiteX1346" fmla="*/ 3075828 w 3105279"/>
              <a:gd name="connsiteY1346" fmla="*/ 1251271 h 3105260"/>
              <a:gd name="connsiteX1347" fmla="*/ 3047406 w 3105279"/>
              <a:gd name="connsiteY1347" fmla="*/ 1256896 h 3105260"/>
              <a:gd name="connsiteX1348" fmla="*/ 58592 w 3105279"/>
              <a:gd name="connsiteY1348" fmla="*/ 1255003 h 3105260"/>
              <a:gd name="connsiteX1349" fmla="*/ 30169 w 3105279"/>
              <a:gd name="connsiteY1349" fmla="*/ 1249322 h 3105260"/>
              <a:gd name="connsiteX1350" fmla="*/ 31327 w 3105279"/>
              <a:gd name="connsiteY1350" fmla="*/ 1243568 h 3105260"/>
              <a:gd name="connsiteX1351" fmla="*/ 59713 w 3105279"/>
              <a:gd name="connsiteY1351" fmla="*/ 1249359 h 3105260"/>
              <a:gd name="connsiteX1352" fmla="*/ 58573 w 3105279"/>
              <a:gd name="connsiteY1352" fmla="*/ 1254984 h 3105260"/>
              <a:gd name="connsiteX1353" fmla="*/ 3043324 w 3105279"/>
              <a:gd name="connsiteY1353" fmla="*/ 1237170 h 3105260"/>
              <a:gd name="connsiteX1354" fmla="*/ 3042111 w 3105279"/>
              <a:gd name="connsiteY1354" fmla="*/ 1231544 h 3105260"/>
              <a:gd name="connsiteX1355" fmla="*/ 3070423 w 3105279"/>
              <a:gd name="connsiteY1355" fmla="*/ 1225422 h 3105260"/>
              <a:gd name="connsiteX1356" fmla="*/ 3071655 w 3105279"/>
              <a:gd name="connsiteY1356" fmla="*/ 1231158 h 3105260"/>
              <a:gd name="connsiteX1357" fmla="*/ 3043306 w 3105279"/>
              <a:gd name="connsiteY1357" fmla="*/ 1237170 h 3105260"/>
              <a:gd name="connsiteX1358" fmla="*/ 62673 w 3105279"/>
              <a:gd name="connsiteY1358" fmla="*/ 1235313 h 3105260"/>
              <a:gd name="connsiteX1359" fmla="*/ 34342 w 3105279"/>
              <a:gd name="connsiteY1359" fmla="*/ 1229264 h 3105260"/>
              <a:gd name="connsiteX1360" fmla="*/ 35574 w 3105279"/>
              <a:gd name="connsiteY1360" fmla="*/ 1223528 h 3105260"/>
              <a:gd name="connsiteX1361" fmla="*/ 63886 w 3105279"/>
              <a:gd name="connsiteY1361" fmla="*/ 1229687 h 3105260"/>
              <a:gd name="connsiteX1362" fmla="*/ 62673 w 3105279"/>
              <a:gd name="connsiteY1362" fmla="*/ 1235295 h 3105260"/>
              <a:gd name="connsiteX1363" fmla="*/ 3039022 w 3105279"/>
              <a:gd name="connsiteY1363" fmla="*/ 1217498 h 3105260"/>
              <a:gd name="connsiteX1364" fmla="*/ 3037735 w 3105279"/>
              <a:gd name="connsiteY1364" fmla="*/ 1211891 h 3105260"/>
              <a:gd name="connsiteX1365" fmla="*/ 3065974 w 3105279"/>
              <a:gd name="connsiteY1365" fmla="*/ 1205401 h 3105260"/>
              <a:gd name="connsiteX1366" fmla="*/ 3067279 w 3105279"/>
              <a:gd name="connsiteY1366" fmla="*/ 1211119 h 3105260"/>
              <a:gd name="connsiteX1367" fmla="*/ 3039022 w 3105279"/>
              <a:gd name="connsiteY1367" fmla="*/ 1217517 h 3105260"/>
              <a:gd name="connsiteX1368" fmla="*/ 67012 w 3105279"/>
              <a:gd name="connsiteY1368" fmla="*/ 1215660 h 3105260"/>
              <a:gd name="connsiteX1369" fmla="*/ 38755 w 3105279"/>
              <a:gd name="connsiteY1369" fmla="*/ 1209244 h 3105260"/>
              <a:gd name="connsiteX1370" fmla="*/ 40060 w 3105279"/>
              <a:gd name="connsiteY1370" fmla="*/ 1203526 h 3105260"/>
              <a:gd name="connsiteX1371" fmla="*/ 68280 w 3105279"/>
              <a:gd name="connsiteY1371" fmla="*/ 1210071 h 3105260"/>
              <a:gd name="connsiteX1372" fmla="*/ 66993 w 3105279"/>
              <a:gd name="connsiteY1372" fmla="*/ 1215660 h 3105260"/>
              <a:gd name="connsiteX1373" fmla="*/ 3034445 w 3105279"/>
              <a:gd name="connsiteY1373" fmla="*/ 1197882 h 3105260"/>
              <a:gd name="connsiteX1374" fmla="*/ 3033084 w 3105279"/>
              <a:gd name="connsiteY1374" fmla="*/ 1192293 h 3105260"/>
              <a:gd name="connsiteX1375" fmla="*/ 3061231 w 3105279"/>
              <a:gd name="connsiteY1375" fmla="*/ 1185417 h 3105260"/>
              <a:gd name="connsiteX1376" fmla="*/ 3062610 w 3105279"/>
              <a:gd name="connsiteY1376" fmla="*/ 1191117 h 3105260"/>
              <a:gd name="connsiteX1377" fmla="*/ 3034445 w 3105279"/>
              <a:gd name="connsiteY1377" fmla="*/ 1197882 h 3105260"/>
              <a:gd name="connsiteX1378" fmla="*/ 71589 w 3105279"/>
              <a:gd name="connsiteY1378" fmla="*/ 1196062 h 3105260"/>
              <a:gd name="connsiteX1379" fmla="*/ 43424 w 3105279"/>
              <a:gd name="connsiteY1379" fmla="*/ 1189278 h 3105260"/>
              <a:gd name="connsiteX1380" fmla="*/ 44803 w 3105279"/>
              <a:gd name="connsiteY1380" fmla="*/ 1183579 h 3105260"/>
              <a:gd name="connsiteX1381" fmla="*/ 72950 w 3105279"/>
              <a:gd name="connsiteY1381" fmla="*/ 1190491 h 3105260"/>
              <a:gd name="connsiteX1382" fmla="*/ 71589 w 3105279"/>
              <a:gd name="connsiteY1382" fmla="*/ 1196062 h 3105260"/>
              <a:gd name="connsiteX1383" fmla="*/ 3029609 w 3105279"/>
              <a:gd name="connsiteY1383" fmla="*/ 1178339 h 3105260"/>
              <a:gd name="connsiteX1384" fmla="*/ 3028175 w 3105279"/>
              <a:gd name="connsiteY1384" fmla="*/ 1172769 h 3105260"/>
              <a:gd name="connsiteX1385" fmla="*/ 3056230 w 3105279"/>
              <a:gd name="connsiteY1385" fmla="*/ 1165507 h 3105260"/>
              <a:gd name="connsiteX1386" fmla="*/ 3057682 w 3105279"/>
              <a:gd name="connsiteY1386" fmla="*/ 1171188 h 3105260"/>
              <a:gd name="connsiteX1387" fmla="*/ 3029591 w 3105279"/>
              <a:gd name="connsiteY1387" fmla="*/ 1178321 h 3105260"/>
              <a:gd name="connsiteX1388" fmla="*/ 76443 w 3105279"/>
              <a:gd name="connsiteY1388" fmla="*/ 1176538 h 3105260"/>
              <a:gd name="connsiteX1389" fmla="*/ 48370 w 3105279"/>
              <a:gd name="connsiteY1389" fmla="*/ 1169368 h 3105260"/>
              <a:gd name="connsiteX1390" fmla="*/ 49822 w 3105279"/>
              <a:gd name="connsiteY1390" fmla="*/ 1163687 h 3105260"/>
              <a:gd name="connsiteX1391" fmla="*/ 77877 w 3105279"/>
              <a:gd name="connsiteY1391" fmla="*/ 1170967 h 3105260"/>
              <a:gd name="connsiteX1392" fmla="*/ 76443 w 3105279"/>
              <a:gd name="connsiteY1392" fmla="*/ 1176538 h 3105260"/>
              <a:gd name="connsiteX1393" fmla="*/ 3024517 w 3105279"/>
              <a:gd name="connsiteY1393" fmla="*/ 1158852 h 3105260"/>
              <a:gd name="connsiteX1394" fmla="*/ 3023009 w 3105279"/>
              <a:gd name="connsiteY1394" fmla="*/ 1153299 h 3105260"/>
              <a:gd name="connsiteX1395" fmla="*/ 3050972 w 3105279"/>
              <a:gd name="connsiteY1395" fmla="*/ 1145688 h 3105260"/>
              <a:gd name="connsiteX1396" fmla="*/ 3052498 w 3105279"/>
              <a:gd name="connsiteY1396" fmla="*/ 1151351 h 3105260"/>
              <a:gd name="connsiteX1397" fmla="*/ 3024517 w 3105279"/>
              <a:gd name="connsiteY1397" fmla="*/ 1158870 h 3105260"/>
              <a:gd name="connsiteX1398" fmla="*/ 81536 w 3105279"/>
              <a:gd name="connsiteY1398" fmla="*/ 1157087 h 3105260"/>
              <a:gd name="connsiteX1399" fmla="*/ 53554 w 3105279"/>
              <a:gd name="connsiteY1399" fmla="*/ 1149549 h 3105260"/>
              <a:gd name="connsiteX1400" fmla="*/ 55080 w 3105279"/>
              <a:gd name="connsiteY1400" fmla="*/ 1143905 h 3105260"/>
              <a:gd name="connsiteX1401" fmla="*/ 83025 w 3105279"/>
              <a:gd name="connsiteY1401" fmla="*/ 1151535 h 3105260"/>
              <a:gd name="connsiteX1402" fmla="*/ 81517 w 3105279"/>
              <a:gd name="connsiteY1402" fmla="*/ 1157087 h 3105260"/>
              <a:gd name="connsiteX1403" fmla="*/ 3019148 w 3105279"/>
              <a:gd name="connsiteY1403" fmla="*/ 1139438 h 3105260"/>
              <a:gd name="connsiteX1404" fmla="*/ 3017567 w 3105279"/>
              <a:gd name="connsiteY1404" fmla="*/ 1133904 h 3105260"/>
              <a:gd name="connsiteX1405" fmla="*/ 3045420 w 3105279"/>
              <a:gd name="connsiteY1405" fmla="*/ 1125906 h 3105260"/>
              <a:gd name="connsiteX1406" fmla="*/ 3047020 w 3105279"/>
              <a:gd name="connsiteY1406" fmla="*/ 1131551 h 3105260"/>
              <a:gd name="connsiteX1407" fmla="*/ 3019148 w 3105279"/>
              <a:gd name="connsiteY1407" fmla="*/ 1139438 h 3105260"/>
              <a:gd name="connsiteX1408" fmla="*/ 86904 w 3105279"/>
              <a:gd name="connsiteY1408" fmla="*/ 1137709 h 3105260"/>
              <a:gd name="connsiteX1409" fmla="*/ 59033 w 3105279"/>
              <a:gd name="connsiteY1409" fmla="*/ 1129804 h 3105260"/>
              <a:gd name="connsiteX1410" fmla="*/ 60651 w 3105279"/>
              <a:gd name="connsiteY1410" fmla="*/ 1124178 h 3105260"/>
              <a:gd name="connsiteX1411" fmla="*/ 88503 w 3105279"/>
              <a:gd name="connsiteY1411" fmla="*/ 1132194 h 3105260"/>
              <a:gd name="connsiteX1412" fmla="*/ 86922 w 3105279"/>
              <a:gd name="connsiteY1412" fmla="*/ 1137709 h 3105260"/>
              <a:gd name="connsiteX1413" fmla="*/ 3013541 w 3105279"/>
              <a:gd name="connsiteY1413" fmla="*/ 1120097 h 3105260"/>
              <a:gd name="connsiteX1414" fmla="*/ 3011887 w 3105279"/>
              <a:gd name="connsiteY1414" fmla="*/ 1114582 h 3105260"/>
              <a:gd name="connsiteX1415" fmla="*/ 3039629 w 3105279"/>
              <a:gd name="connsiteY1415" fmla="*/ 1106235 h 3105260"/>
              <a:gd name="connsiteX1416" fmla="*/ 3041320 w 3105279"/>
              <a:gd name="connsiteY1416" fmla="*/ 1111861 h 3105260"/>
              <a:gd name="connsiteX1417" fmla="*/ 3013541 w 3105279"/>
              <a:gd name="connsiteY1417" fmla="*/ 1120115 h 3105260"/>
              <a:gd name="connsiteX1418" fmla="*/ 92511 w 3105279"/>
              <a:gd name="connsiteY1418" fmla="*/ 1118387 h 3105260"/>
              <a:gd name="connsiteX1419" fmla="*/ 64750 w 3105279"/>
              <a:gd name="connsiteY1419" fmla="*/ 1110114 h 3105260"/>
              <a:gd name="connsiteX1420" fmla="*/ 66423 w 3105279"/>
              <a:gd name="connsiteY1420" fmla="*/ 1104507 h 3105260"/>
              <a:gd name="connsiteX1421" fmla="*/ 94166 w 3105279"/>
              <a:gd name="connsiteY1421" fmla="*/ 1112872 h 3105260"/>
              <a:gd name="connsiteX1422" fmla="*/ 92511 w 3105279"/>
              <a:gd name="connsiteY1422" fmla="*/ 1118387 h 3105260"/>
              <a:gd name="connsiteX1423" fmla="*/ 3007677 w 3105279"/>
              <a:gd name="connsiteY1423" fmla="*/ 1100830 h 3105260"/>
              <a:gd name="connsiteX1424" fmla="*/ 3005949 w 3105279"/>
              <a:gd name="connsiteY1424" fmla="*/ 1095351 h 3105260"/>
              <a:gd name="connsiteX1425" fmla="*/ 3033580 w 3105279"/>
              <a:gd name="connsiteY1425" fmla="*/ 1086619 h 3105260"/>
              <a:gd name="connsiteX1426" fmla="*/ 3035345 w 3105279"/>
              <a:gd name="connsiteY1426" fmla="*/ 1092226 h 3105260"/>
              <a:gd name="connsiteX1427" fmla="*/ 3007677 w 3105279"/>
              <a:gd name="connsiteY1427" fmla="*/ 1100848 h 3105260"/>
              <a:gd name="connsiteX1428" fmla="*/ 98376 w 3105279"/>
              <a:gd name="connsiteY1428" fmla="*/ 1099157 h 3105260"/>
              <a:gd name="connsiteX1429" fmla="*/ 70707 w 3105279"/>
              <a:gd name="connsiteY1429" fmla="*/ 1090535 h 3105260"/>
              <a:gd name="connsiteX1430" fmla="*/ 72454 w 3105279"/>
              <a:gd name="connsiteY1430" fmla="*/ 1084946 h 3105260"/>
              <a:gd name="connsiteX1431" fmla="*/ 100086 w 3105279"/>
              <a:gd name="connsiteY1431" fmla="*/ 1093678 h 3105260"/>
              <a:gd name="connsiteX1432" fmla="*/ 98357 w 3105279"/>
              <a:gd name="connsiteY1432" fmla="*/ 1099157 h 3105260"/>
              <a:gd name="connsiteX1433" fmla="*/ 3001555 w 3105279"/>
              <a:gd name="connsiteY1433" fmla="*/ 1081637 h 3105260"/>
              <a:gd name="connsiteX1434" fmla="*/ 2999753 w 3105279"/>
              <a:gd name="connsiteY1434" fmla="*/ 1076158 h 3105260"/>
              <a:gd name="connsiteX1435" fmla="*/ 3027256 w 3105279"/>
              <a:gd name="connsiteY1435" fmla="*/ 1067058 h 3105260"/>
              <a:gd name="connsiteX1436" fmla="*/ 3029095 w 3105279"/>
              <a:gd name="connsiteY1436" fmla="*/ 1072628 h 3105260"/>
              <a:gd name="connsiteX1437" fmla="*/ 3001555 w 3105279"/>
              <a:gd name="connsiteY1437" fmla="*/ 1081618 h 3105260"/>
              <a:gd name="connsiteX1438" fmla="*/ 104479 w 3105279"/>
              <a:gd name="connsiteY1438" fmla="*/ 1080000 h 3105260"/>
              <a:gd name="connsiteX1439" fmla="*/ 76939 w 3105279"/>
              <a:gd name="connsiteY1439" fmla="*/ 1071010 h 3105260"/>
              <a:gd name="connsiteX1440" fmla="*/ 78759 w 3105279"/>
              <a:gd name="connsiteY1440" fmla="*/ 1065440 h 3105260"/>
              <a:gd name="connsiteX1441" fmla="*/ 106263 w 3105279"/>
              <a:gd name="connsiteY1441" fmla="*/ 1074540 h 3105260"/>
              <a:gd name="connsiteX1442" fmla="*/ 104461 w 3105279"/>
              <a:gd name="connsiteY1442" fmla="*/ 1080000 h 3105260"/>
              <a:gd name="connsiteX1443" fmla="*/ 2995175 w 3105279"/>
              <a:gd name="connsiteY1443" fmla="*/ 1062535 h 3105260"/>
              <a:gd name="connsiteX1444" fmla="*/ 2993300 w 3105279"/>
              <a:gd name="connsiteY1444" fmla="*/ 1057093 h 3105260"/>
              <a:gd name="connsiteX1445" fmla="*/ 3020693 w 3105279"/>
              <a:gd name="connsiteY1445" fmla="*/ 1047643 h 3105260"/>
              <a:gd name="connsiteX1446" fmla="*/ 3022605 w 3105279"/>
              <a:gd name="connsiteY1446" fmla="*/ 1053196 h 3105260"/>
              <a:gd name="connsiteX1447" fmla="*/ 2995175 w 3105279"/>
              <a:gd name="connsiteY1447" fmla="*/ 1062553 h 3105260"/>
              <a:gd name="connsiteX1448" fmla="*/ 110859 w 3105279"/>
              <a:gd name="connsiteY1448" fmla="*/ 1060917 h 3105260"/>
              <a:gd name="connsiteX1449" fmla="*/ 83429 w 3105279"/>
              <a:gd name="connsiteY1449" fmla="*/ 1051559 h 3105260"/>
              <a:gd name="connsiteX1450" fmla="*/ 85323 w 3105279"/>
              <a:gd name="connsiteY1450" fmla="*/ 1046026 h 3105260"/>
              <a:gd name="connsiteX1451" fmla="*/ 112716 w 3105279"/>
              <a:gd name="connsiteY1451" fmla="*/ 1055475 h 3105260"/>
              <a:gd name="connsiteX1452" fmla="*/ 110859 w 3105279"/>
              <a:gd name="connsiteY1452" fmla="*/ 1060917 h 3105260"/>
              <a:gd name="connsiteX1453" fmla="*/ 2988538 w 3105279"/>
              <a:gd name="connsiteY1453" fmla="*/ 1043507 h 3105260"/>
              <a:gd name="connsiteX1454" fmla="*/ 2986590 w 3105279"/>
              <a:gd name="connsiteY1454" fmla="*/ 1038084 h 3105260"/>
              <a:gd name="connsiteX1455" fmla="*/ 3013854 w 3105279"/>
              <a:gd name="connsiteY1455" fmla="*/ 1028266 h 3105260"/>
              <a:gd name="connsiteX1456" fmla="*/ 3015821 w 3105279"/>
              <a:gd name="connsiteY1456" fmla="*/ 1033781 h 3105260"/>
              <a:gd name="connsiteX1457" fmla="*/ 2988520 w 3105279"/>
              <a:gd name="connsiteY1457" fmla="*/ 1043489 h 3105260"/>
              <a:gd name="connsiteX1458" fmla="*/ 117459 w 3105279"/>
              <a:gd name="connsiteY1458" fmla="*/ 1041944 h 3105260"/>
              <a:gd name="connsiteX1459" fmla="*/ 90158 w 3105279"/>
              <a:gd name="connsiteY1459" fmla="*/ 1032237 h 3105260"/>
              <a:gd name="connsiteX1460" fmla="*/ 92125 w 3105279"/>
              <a:gd name="connsiteY1460" fmla="*/ 1026740 h 3105260"/>
              <a:gd name="connsiteX1461" fmla="*/ 119389 w 3105279"/>
              <a:gd name="connsiteY1461" fmla="*/ 1036539 h 3105260"/>
              <a:gd name="connsiteX1462" fmla="*/ 117459 w 3105279"/>
              <a:gd name="connsiteY1462" fmla="*/ 1041963 h 3105260"/>
              <a:gd name="connsiteX1463" fmla="*/ 2981644 w 3105279"/>
              <a:gd name="connsiteY1463" fmla="*/ 1024571 h 3105260"/>
              <a:gd name="connsiteX1464" fmla="*/ 2979622 w 3105279"/>
              <a:gd name="connsiteY1464" fmla="*/ 1019166 h 3105260"/>
              <a:gd name="connsiteX1465" fmla="*/ 3006757 w 3105279"/>
              <a:gd name="connsiteY1465" fmla="*/ 1008999 h 3105260"/>
              <a:gd name="connsiteX1466" fmla="*/ 3008816 w 3105279"/>
              <a:gd name="connsiteY1466" fmla="*/ 1014496 h 3105260"/>
              <a:gd name="connsiteX1467" fmla="*/ 2981644 w 3105279"/>
              <a:gd name="connsiteY1467" fmla="*/ 1024571 h 3105260"/>
              <a:gd name="connsiteX1468" fmla="*/ 124335 w 3105279"/>
              <a:gd name="connsiteY1468" fmla="*/ 1023045 h 3105260"/>
              <a:gd name="connsiteX1469" fmla="*/ 97162 w 3105279"/>
              <a:gd name="connsiteY1469" fmla="*/ 1012989 h 3105260"/>
              <a:gd name="connsiteX1470" fmla="*/ 99203 w 3105279"/>
              <a:gd name="connsiteY1470" fmla="*/ 1007510 h 3105260"/>
              <a:gd name="connsiteX1471" fmla="*/ 126339 w 3105279"/>
              <a:gd name="connsiteY1471" fmla="*/ 1017677 h 3105260"/>
              <a:gd name="connsiteX1472" fmla="*/ 124335 w 3105279"/>
              <a:gd name="connsiteY1472" fmla="*/ 1023063 h 3105260"/>
              <a:gd name="connsiteX1473" fmla="*/ 2974529 w 3105279"/>
              <a:gd name="connsiteY1473" fmla="*/ 1005727 h 3105260"/>
              <a:gd name="connsiteX1474" fmla="*/ 2972452 w 3105279"/>
              <a:gd name="connsiteY1474" fmla="*/ 1000358 h 3105260"/>
              <a:gd name="connsiteX1475" fmla="*/ 2999440 w 3105279"/>
              <a:gd name="connsiteY1475" fmla="*/ 989824 h 3105260"/>
              <a:gd name="connsiteX1476" fmla="*/ 3001573 w 3105279"/>
              <a:gd name="connsiteY1476" fmla="*/ 995303 h 3105260"/>
              <a:gd name="connsiteX1477" fmla="*/ 2974548 w 3105279"/>
              <a:gd name="connsiteY1477" fmla="*/ 1005727 h 3105260"/>
              <a:gd name="connsiteX1478" fmla="*/ 131431 w 3105279"/>
              <a:gd name="connsiteY1478" fmla="*/ 1004238 h 3105260"/>
              <a:gd name="connsiteX1479" fmla="*/ 104406 w 3105279"/>
              <a:gd name="connsiteY1479" fmla="*/ 993814 h 3105260"/>
              <a:gd name="connsiteX1480" fmla="*/ 106520 w 3105279"/>
              <a:gd name="connsiteY1480" fmla="*/ 988372 h 3105260"/>
              <a:gd name="connsiteX1481" fmla="*/ 133527 w 3105279"/>
              <a:gd name="connsiteY1481" fmla="*/ 998888 h 3105260"/>
              <a:gd name="connsiteX1482" fmla="*/ 131450 w 3105279"/>
              <a:gd name="connsiteY1482" fmla="*/ 1004256 h 3105260"/>
              <a:gd name="connsiteX1483" fmla="*/ 2967139 w 3105279"/>
              <a:gd name="connsiteY1483" fmla="*/ 986974 h 3105260"/>
              <a:gd name="connsiteX1484" fmla="*/ 2964988 w 3105279"/>
              <a:gd name="connsiteY1484" fmla="*/ 981643 h 3105260"/>
              <a:gd name="connsiteX1485" fmla="*/ 2991847 w 3105279"/>
              <a:gd name="connsiteY1485" fmla="*/ 970759 h 3105260"/>
              <a:gd name="connsiteX1486" fmla="*/ 2994054 w 3105279"/>
              <a:gd name="connsiteY1486" fmla="*/ 976201 h 3105260"/>
              <a:gd name="connsiteX1487" fmla="*/ 2967157 w 3105279"/>
              <a:gd name="connsiteY1487" fmla="*/ 986974 h 3105260"/>
              <a:gd name="connsiteX1488" fmla="*/ 138785 w 3105279"/>
              <a:gd name="connsiteY1488" fmla="*/ 985522 h 3105260"/>
              <a:gd name="connsiteX1489" fmla="*/ 111888 w 3105279"/>
              <a:gd name="connsiteY1489" fmla="*/ 974749 h 3105260"/>
              <a:gd name="connsiteX1490" fmla="*/ 114076 w 3105279"/>
              <a:gd name="connsiteY1490" fmla="*/ 969325 h 3105260"/>
              <a:gd name="connsiteX1491" fmla="*/ 140936 w 3105279"/>
              <a:gd name="connsiteY1491" fmla="*/ 980209 h 3105260"/>
              <a:gd name="connsiteX1492" fmla="*/ 138785 w 3105279"/>
              <a:gd name="connsiteY1492" fmla="*/ 985540 h 3105260"/>
              <a:gd name="connsiteX1493" fmla="*/ 2959509 w 3105279"/>
              <a:gd name="connsiteY1493" fmla="*/ 968314 h 3105260"/>
              <a:gd name="connsiteX1494" fmla="*/ 2957284 w 3105279"/>
              <a:gd name="connsiteY1494" fmla="*/ 963001 h 3105260"/>
              <a:gd name="connsiteX1495" fmla="*/ 2983979 w 3105279"/>
              <a:gd name="connsiteY1495" fmla="*/ 951750 h 3105260"/>
              <a:gd name="connsiteX1496" fmla="*/ 2986240 w 3105279"/>
              <a:gd name="connsiteY1496" fmla="*/ 957173 h 3105260"/>
              <a:gd name="connsiteX1497" fmla="*/ 2959491 w 3105279"/>
              <a:gd name="connsiteY1497" fmla="*/ 968296 h 3105260"/>
              <a:gd name="connsiteX1498" fmla="*/ 146396 w 3105279"/>
              <a:gd name="connsiteY1498" fmla="*/ 966917 h 3105260"/>
              <a:gd name="connsiteX1499" fmla="*/ 119647 w 3105279"/>
              <a:gd name="connsiteY1499" fmla="*/ 955794 h 3105260"/>
              <a:gd name="connsiteX1500" fmla="*/ 121908 w 3105279"/>
              <a:gd name="connsiteY1500" fmla="*/ 950389 h 3105260"/>
              <a:gd name="connsiteX1501" fmla="*/ 148621 w 3105279"/>
              <a:gd name="connsiteY1501" fmla="*/ 961604 h 3105260"/>
              <a:gd name="connsiteX1502" fmla="*/ 146396 w 3105279"/>
              <a:gd name="connsiteY1502" fmla="*/ 966899 h 3105260"/>
              <a:gd name="connsiteX1503" fmla="*/ 2951640 w 3105279"/>
              <a:gd name="connsiteY1503" fmla="*/ 949764 h 3105260"/>
              <a:gd name="connsiteX1504" fmla="*/ 2949342 w 3105279"/>
              <a:gd name="connsiteY1504" fmla="*/ 944469 h 3105260"/>
              <a:gd name="connsiteX1505" fmla="*/ 2975908 w 3105279"/>
              <a:gd name="connsiteY1505" fmla="*/ 932887 h 3105260"/>
              <a:gd name="connsiteX1506" fmla="*/ 2978243 w 3105279"/>
              <a:gd name="connsiteY1506" fmla="*/ 938274 h 3105260"/>
              <a:gd name="connsiteX1507" fmla="*/ 2951640 w 3105279"/>
              <a:gd name="connsiteY1507" fmla="*/ 949764 h 3105260"/>
              <a:gd name="connsiteX1508" fmla="*/ 154228 w 3105279"/>
              <a:gd name="connsiteY1508" fmla="*/ 948422 h 3105260"/>
              <a:gd name="connsiteX1509" fmla="*/ 127626 w 3105279"/>
              <a:gd name="connsiteY1509" fmla="*/ 936950 h 3105260"/>
              <a:gd name="connsiteX1510" fmla="*/ 129960 w 3105279"/>
              <a:gd name="connsiteY1510" fmla="*/ 931582 h 3105260"/>
              <a:gd name="connsiteX1511" fmla="*/ 156526 w 3105279"/>
              <a:gd name="connsiteY1511" fmla="*/ 943164 h 3105260"/>
              <a:gd name="connsiteX1512" fmla="*/ 154246 w 3105279"/>
              <a:gd name="connsiteY1512" fmla="*/ 948440 h 3105260"/>
              <a:gd name="connsiteX1513" fmla="*/ 2943514 w 3105279"/>
              <a:gd name="connsiteY1513" fmla="*/ 931306 h 3105260"/>
              <a:gd name="connsiteX1514" fmla="*/ 2941161 w 3105279"/>
              <a:gd name="connsiteY1514" fmla="*/ 926066 h 3105260"/>
              <a:gd name="connsiteX1515" fmla="*/ 2967562 w 3105279"/>
              <a:gd name="connsiteY1515" fmla="*/ 914116 h 3105260"/>
              <a:gd name="connsiteX1516" fmla="*/ 2969970 w 3105279"/>
              <a:gd name="connsiteY1516" fmla="*/ 919485 h 3105260"/>
              <a:gd name="connsiteX1517" fmla="*/ 2943514 w 3105279"/>
              <a:gd name="connsiteY1517" fmla="*/ 931306 h 3105260"/>
              <a:gd name="connsiteX1518" fmla="*/ 162317 w 3105279"/>
              <a:gd name="connsiteY1518" fmla="*/ 930019 h 3105260"/>
              <a:gd name="connsiteX1519" fmla="*/ 135862 w 3105279"/>
              <a:gd name="connsiteY1519" fmla="*/ 918198 h 3105260"/>
              <a:gd name="connsiteX1520" fmla="*/ 138252 w 3105279"/>
              <a:gd name="connsiteY1520" fmla="*/ 912866 h 3105260"/>
              <a:gd name="connsiteX1521" fmla="*/ 164652 w 3105279"/>
              <a:gd name="connsiteY1521" fmla="*/ 924798 h 3105260"/>
              <a:gd name="connsiteX1522" fmla="*/ 162299 w 3105279"/>
              <a:gd name="connsiteY1522" fmla="*/ 930038 h 3105260"/>
              <a:gd name="connsiteX1523" fmla="*/ 2935168 w 3105279"/>
              <a:gd name="connsiteY1523" fmla="*/ 912977 h 3105260"/>
              <a:gd name="connsiteX1524" fmla="*/ 2932741 w 3105279"/>
              <a:gd name="connsiteY1524" fmla="*/ 907755 h 3105260"/>
              <a:gd name="connsiteX1525" fmla="*/ 2958976 w 3105279"/>
              <a:gd name="connsiteY1525" fmla="*/ 895475 h 3105260"/>
              <a:gd name="connsiteX1526" fmla="*/ 2961458 w 3105279"/>
              <a:gd name="connsiteY1526" fmla="*/ 900788 h 3105260"/>
              <a:gd name="connsiteX1527" fmla="*/ 2935168 w 3105279"/>
              <a:gd name="connsiteY1527" fmla="*/ 912977 h 3105260"/>
              <a:gd name="connsiteX1528" fmla="*/ 170627 w 3105279"/>
              <a:gd name="connsiteY1528" fmla="*/ 911727 h 3105260"/>
              <a:gd name="connsiteX1529" fmla="*/ 144337 w 3105279"/>
              <a:gd name="connsiteY1529" fmla="*/ 899556 h 3105260"/>
              <a:gd name="connsiteX1530" fmla="*/ 146801 w 3105279"/>
              <a:gd name="connsiteY1530" fmla="*/ 894243 h 3105260"/>
              <a:gd name="connsiteX1531" fmla="*/ 173054 w 3105279"/>
              <a:gd name="connsiteY1531" fmla="*/ 906524 h 3105260"/>
              <a:gd name="connsiteX1532" fmla="*/ 170627 w 3105279"/>
              <a:gd name="connsiteY1532" fmla="*/ 911727 h 3105260"/>
              <a:gd name="connsiteX1533" fmla="*/ 2926582 w 3105279"/>
              <a:gd name="connsiteY1533" fmla="*/ 894739 h 3105260"/>
              <a:gd name="connsiteX1534" fmla="*/ 2924082 w 3105279"/>
              <a:gd name="connsiteY1534" fmla="*/ 889555 h 3105260"/>
              <a:gd name="connsiteX1535" fmla="*/ 2950170 w 3105279"/>
              <a:gd name="connsiteY1535" fmla="*/ 876943 h 3105260"/>
              <a:gd name="connsiteX1536" fmla="*/ 2952725 w 3105279"/>
              <a:gd name="connsiteY1536" fmla="*/ 882238 h 3105260"/>
              <a:gd name="connsiteX1537" fmla="*/ 2926601 w 3105279"/>
              <a:gd name="connsiteY1537" fmla="*/ 894758 h 3105260"/>
              <a:gd name="connsiteX1538" fmla="*/ 179194 w 3105279"/>
              <a:gd name="connsiteY1538" fmla="*/ 893544 h 3105260"/>
              <a:gd name="connsiteX1539" fmla="*/ 153070 w 3105279"/>
              <a:gd name="connsiteY1539" fmla="*/ 881024 h 3105260"/>
              <a:gd name="connsiteX1540" fmla="*/ 155607 w 3105279"/>
              <a:gd name="connsiteY1540" fmla="*/ 875748 h 3105260"/>
              <a:gd name="connsiteX1541" fmla="*/ 181695 w 3105279"/>
              <a:gd name="connsiteY1541" fmla="*/ 888360 h 3105260"/>
              <a:gd name="connsiteX1542" fmla="*/ 179213 w 3105279"/>
              <a:gd name="connsiteY1542" fmla="*/ 893526 h 3105260"/>
              <a:gd name="connsiteX1543" fmla="*/ 2917739 w 3105279"/>
              <a:gd name="connsiteY1543" fmla="*/ 876612 h 3105260"/>
              <a:gd name="connsiteX1544" fmla="*/ 2915147 w 3105279"/>
              <a:gd name="connsiteY1544" fmla="*/ 871409 h 3105260"/>
              <a:gd name="connsiteX1545" fmla="*/ 2941088 w 3105279"/>
              <a:gd name="connsiteY1545" fmla="*/ 858503 h 3105260"/>
              <a:gd name="connsiteX1546" fmla="*/ 2943680 w 3105279"/>
              <a:gd name="connsiteY1546" fmla="*/ 863724 h 3105260"/>
              <a:gd name="connsiteX1547" fmla="*/ 2917721 w 3105279"/>
              <a:gd name="connsiteY1547" fmla="*/ 876612 h 3105260"/>
              <a:gd name="connsiteX1548" fmla="*/ 188000 w 3105279"/>
              <a:gd name="connsiteY1548" fmla="*/ 875491 h 3105260"/>
              <a:gd name="connsiteX1549" fmla="*/ 162041 w 3105279"/>
              <a:gd name="connsiteY1549" fmla="*/ 862640 h 3105260"/>
              <a:gd name="connsiteX1550" fmla="*/ 164652 w 3105279"/>
              <a:gd name="connsiteY1550" fmla="*/ 857400 h 3105260"/>
              <a:gd name="connsiteX1551" fmla="*/ 190574 w 3105279"/>
              <a:gd name="connsiteY1551" fmla="*/ 870361 h 3105260"/>
              <a:gd name="connsiteX1552" fmla="*/ 188019 w 3105279"/>
              <a:gd name="connsiteY1552" fmla="*/ 875509 h 3105260"/>
              <a:gd name="connsiteX1553" fmla="*/ 2908694 w 3105279"/>
              <a:gd name="connsiteY1553" fmla="*/ 858632 h 3105260"/>
              <a:gd name="connsiteX1554" fmla="*/ 2906065 w 3105279"/>
              <a:gd name="connsiteY1554" fmla="*/ 853521 h 3105260"/>
              <a:gd name="connsiteX1555" fmla="*/ 2931803 w 3105279"/>
              <a:gd name="connsiteY1555" fmla="*/ 840229 h 3105260"/>
              <a:gd name="connsiteX1556" fmla="*/ 2934469 w 3105279"/>
              <a:gd name="connsiteY1556" fmla="*/ 845432 h 3105260"/>
              <a:gd name="connsiteX1557" fmla="*/ 2908676 w 3105279"/>
              <a:gd name="connsiteY1557" fmla="*/ 858632 h 3105260"/>
              <a:gd name="connsiteX1558" fmla="*/ 197027 w 3105279"/>
              <a:gd name="connsiteY1558" fmla="*/ 857547 h 3105260"/>
              <a:gd name="connsiteX1559" fmla="*/ 171234 w 3105279"/>
              <a:gd name="connsiteY1559" fmla="*/ 844347 h 3105260"/>
              <a:gd name="connsiteX1560" fmla="*/ 173900 w 3105279"/>
              <a:gd name="connsiteY1560" fmla="*/ 839144 h 3105260"/>
              <a:gd name="connsiteX1561" fmla="*/ 199638 w 3105279"/>
              <a:gd name="connsiteY1561" fmla="*/ 852436 h 3105260"/>
              <a:gd name="connsiteX1562" fmla="*/ 197009 w 3105279"/>
              <a:gd name="connsiteY1562" fmla="*/ 857547 h 3105260"/>
              <a:gd name="connsiteX1563" fmla="*/ 2899428 w 3105279"/>
              <a:gd name="connsiteY1563" fmla="*/ 840799 h 3105260"/>
              <a:gd name="connsiteX1564" fmla="*/ 2896744 w 3105279"/>
              <a:gd name="connsiteY1564" fmla="*/ 835743 h 3105260"/>
              <a:gd name="connsiteX1565" fmla="*/ 2922317 w 3105279"/>
              <a:gd name="connsiteY1565" fmla="*/ 822120 h 3105260"/>
              <a:gd name="connsiteX1566" fmla="*/ 2925056 w 3105279"/>
              <a:gd name="connsiteY1566" fmla="*/ 827286 h 3105260"/>
              <a:gd name="connsiteX1567" fmla="*/ 2899428 w 3105279"/>
              <a:gd name="connsiteY1567" fmla="*/ 840799 h 3105260"/>
              <a:gd name="connsiteX1568" fmla="*/ 206293 w 3105279"/>
              <a:gd name="connsiteY1568" fmla="*/ 839714 h 3105260"/>
              <a:gd name="connsiteX1569" fmla="*/ 180683 w 3105279"/>
              <a:gd name="connsiteY1569" fmla="*/ 826183 h 3105260"/>
              <a:gd name="connsiteX1570" fmla="*/ 183423 w 3105279"/>
              <a:gd name="connsiteY1570" fmla="*/ 821017 h 3105260"/>
              <a:gd name="connsiteX1571" fmla="*/ 208996 w 3105279"/>
              <a:gd name="connsiteY1571" fmla="*/ 834658 h 3105260"/>
              <a:gd name="connsiteX1572" fmla="*/ 206312 w 3105279"/>
              <a:gd name="connsiteY1572" fmla="*/ 839733 h 3105260"/>
              <a:gd name="connsiteX1573" fmla="*/ 2889960 w 3105279"/>
              <a:gd name="connsiteY1573" fmla="*/ 823131 h 3105260"/>
              <a:gd name="connsiteX1574" fmla="*/ 2887203 w 3105279"/>
              <a:gd name="connsiteY1574" fmla="*/ 818094 h 3105260"/>
              <a:gd name="connsiteX1575" fmla="*/ 2912592 w 3105279"/>
              <a:gd name="connsiteY1575" fmla="*/ 804140 h 3105260"/>
              <a:gd name="connsiteX1576" fmla="*/ 2915386 w 3105279"/>
              <a:gd name="connsiteY1576" fmla="*/ 809251 h 3105260"/>
              <a:gd name="connsiteX1577" fmla="*/ 2889942 w 3105279"/>
              <a:gd name="connsiteY1577" fmla="*/ 823113 h 3105260"/>
              <a:gd name="connsiteX1578" fmla="*/ 215798 w 3105279"/>
              <a:gd name="connsiteY1578" fmla="*/ 822028 h 3105260"/>
              <a:gd name="connsiteX1579" fmla="*/ 190354 w 3105279"/>
              <a:gd name="connsiteY1579" fmla="*/ 808148 h 3105260"/>
              <a:gd name="connsiteX1580" fmla="*/ 193167 w 3105279"/>
              <a:gd name="connsiteY1580" fmla="*/ 803019 h 3105260"/>
              <a:gd name="connsiteX1581" fmla="*/ 218556 w 3105279"/>
              <a:gd name="connsiteY1581" fmla="*/ 816991 h 3105260"/>
              <a:gd name="connsiteX1582" fmla="*/ 215798 w 3105279"/>
              <a:gd name="connsiteY1582" fmla="*/ 822028 h 3105260"/>
              <a:gd name="connsiteX1583" fmla="*/ 2880235 w 3105279"/>
              <a:gd name="connsiteY1583" fmla="*/ 805556 h 3105260"/>
              <a:gd name="connsiteX1584" fmla="*/ 2877404 w 3105279"/>
              <a:gd name="connsiteY1584" fmla="*/ 800537 h 3105260"/>
              <a:gd name="connsiteX1585" fmla="*/ 2902609 w 3105279"/>
              <a:gd name="connsiteY1585" fmla="*/ 786252 h 3105260"/>
              <a:gd name="connsiteX1586" fmla="*/ 2905477 w 3105279"/>
              <a:gd name="connsiteY1586" fmla="*/ 791344 h 3105260"/>
              <a:gd name="connsiteX1587" fmla="*/ 2880217 w 3105279"/>
              <a:gd name="connsiteY1587" fmla="*/ 805537 h 3105260"/>
              <a:gd name="connsiteX1588" fmla="*/ 225523 w 3105279"/>
              <a:gd name="connsiteY1588" fmla="*/ 804453 h 3105260"/>
              <a:gd name="connsiteX1589" fmla="*/ 200263 w 3105279"/>
              <a:gd name="connsiteY1589" fmla="*/ 790241 h 3105260"/>
              <a:gd name="connsiteX1590" fmla="*/ 203131 w 3105279"/>
              <a:gd name="connsiteY1590" fmla="*/ 785149 h 3105260"/>
              <a:gd name="connsiteX1591" fmla="*/ 228336 w 3105279"/>
              <a:gd name="connsiteY1591" fmla="*/ 799452 h 3105260"/>
              <a:gd name="connsiteX1592" fmla="*/ 225505 w 3105279"/>
              <a:gd name="connsiteY1592" fmla="*/ 804453 h 3105260"/>
              <a:gd name="connsiteX1593" fmla="*/ 2870270 w 3105279"/>
              <a:gd name="connsiteY1593" fmla="*/ 788090 h 3105260"/>
              <a:gd name="connsiteX1594" fmla="*/ 2867384 w 3105279"/>
              <a:gd name="connsiteY1594" fmla="*/ 783127 h 3105260"/>
              <a:gd name="connsiteX1595" fmla="*/ 2892405 w 3105279"/>
              <a:gd name="connsiteY1595" fmla="*/ 768511 h 3105260"/>
              <a:gd name="connsiteX1596" fmla="*/ 2895347 w 3105279"/>
              <a:gd name="connsiteY1596" fmla="*/ 773567 h 3105260"/>
              <a:gd name="connsiteX1597" fmla="*/ 2870270 w 3105279"/>
              <a:gd name="connsiteY1597" fmla="*/ 788090 h 3105260"/>
              <a:gd name="connsiteX1598" fmla="*/ 235488 w 3105279"/>
              <a:gd name="connsiteY1598" fmla="*/ 787006 h 3105260"/>
              <a:gd name="connsiteX1599" fmla="*/ 210430 w 3105279"/>
              <a:gd name="connsiteY1599" fmla="*/ 772464 h 3105260"/>
              <a:gd name="connsiteX1600" fmla="*/ 213371 w 3105279"/>
              <a:gd name="connsiteY1600" fmla="*/ 767408 h 3105260"/>
              <a:gd name="connsiteX1601" fmla="*/ 238374 w 3105279"/>
              <a:gd name="connsiteY1601" fmla="*/ 782042 h 3105260"/>
              <a:gd name="connsiteX1602" fmla="*/ 235488 w 3105279"/>
              <a:gd name="connsiteY1602" fmla="*/ 787006 h 3105260"/>
              <a:gd name="connsiteX1603" fmla="*/ 2860067 w 3105279"/>
              <a:gd name="connsiteY1603" fmla="*/ 770754 h 3105260"/>
              <a:gd name="connsiteX1604" fmla="*/ 2857107 w 3105279"/>
              <a:gd name="connsiteY1604" fmla="*/ 765827 h 3105260"/>
              <a:gd name="connsiteX1605" fmla="*/ 2881945 w 3105279"/>
              <a:gd name="connsiteY1605" fmla="*/ 750898 h 3105260"/>
              <a:gd name="connsiteX1606" fmla="*/ 2884941 w 3105279"/>
              <a:gd name="connsiteY1606" fmla="*/ 755917 h 3105260"/>
              <a:gd name="connsiteX1607" fmla="*/ 2860067 w 3105279"/>
              <a:gd name="connsiteY1607" fmla="*/ 770772 h 3105260"/>
              <a:gd name="connsiteX1608" fmla="*/ 245673 w 3105279"/>
              <a:gd name="connsiteY1608" fmla="*/ 769706 h 3105260"/>
              <a:gd name="connsiteX1609" fmla="*/ 220798 w 3105279"/>
              <a:gd name="connsiteY1609" fmla="*/ 754833 h 3105260"/>
              <a:gd name="connsiteX1610" fmla="*/ 223814 w 3105279"/>
              <a:gd name="connsiteY1610" fmla="*/ 749814 h 3105260"/>
              <a:gd name="connsiteX1611" fmla="*/ 248614 w 3105279"/>
              <a:gd name="connsiteY1611" fmla="*/ 764779 h 3105260"/>
              <a:gd name="connsiteX1612" fmla="*/ 245673 w 3105279"/>
              <a:gd name="connsiteY1612" fmla="*/ 769687 h 3105260"/>
              <a:gd name="connsiteX1613" fmla="*/ 2849661 w 3105279"/>
              <a:gd name="connsiteY1613" fmla="*/ 753546 h 3105260"/>
              <a:gd name="connsiteX1614" fmla="*/ 2846646 w 3105279"/>
              <a:gd name="connsiteY1614" fmla="*/ 748674 h 3105260"/>
              <a:gd name="connsiteX1615" fmla="*/ 2871263 w 3105279"/>
              <a:gd name="connsiteY1615" fmla="*/ 733396 h 3105260"/>
              <a:gd name="connsiteX1616" fmla="*/ 2874352 w 3105279"/>
              <a:gd name="connsiteY1616" fmla="*/ 738397 h 3105260"/>
              <a:gd name="connsiteX1617" fmla="*/ 2849661 w 3105279"/>
              <a:gd name="connsiteY1617" fmla="*/ 753546 h 3105260"/>
              <a:gd name="connsiteX1618" fmla="*/ 256097 w 3105279"/>
              <a:gd name="connsiteY1618" fmla="*/ 752553 h 3105260"/>
              <a:gd name="connsiteX1619" fmla="*/ 231425 w 3105279"/>
              <a:gd name="connsiteY1619" fmla="*/ 737349 h 3105260"/>
              <a:gd name="connsiteX1620" fmla="*/ 234495 w 3105279"/>
              <a:gd name="connsiteY1620" fmla="*/ 732385 h 3105260"/>
              <a:gd name="connsiteX1621" fmla="*/ 259112 w 3105279"/>
              <a:gd name="connsiteY1621" fmla="*/ 747663 h 3105260"/>
              <a:gd name="connsiteX1622" fmla="*/ 256097 w 3105279"/>
              <a:gd name="connsiteY1622" fmla="*/ 752553 h 3105260"/>
              <a:gd name="connsiteX1623" fmla="*/ 2839017 w 3105279"/>
              <a:gd name="connsiteY1623" fmla="*/ 736485 h 3105260"/>
              <a:gd name="connsiteX1624" fmla="*/ 2835928 w 3105279"/>
              <a:gd name="connsiteY1624" fmla="*/ 731631 h 3105260"/>
              <a:gd name="connsiteX1625" fmla="*/ 2860361 w 3105279"/>
              <a:gd name="connsiteY1625" fmla="*/ 716041 h 3105260"/>
              <a:gd name="connsiteX1626" fmla="*/ 2863505 w 3105279"/>
              <a:gd name="connsiteY1626" fmla="*/ 720987 h 3105260"/>
              <a:gd name="connsiteX1627" fmla="*/ 2839017 w 3105279"/>
              <a:gd name="connsiteY1627" fmla="*/ 736485 h 3105260"/>
              <a:gd name="connsiteX1628" fmla="*/ 266742 w 3105279"/>
              <a:gd name="connsiteY1628" fmla="*/ 735511 h 3105260"/>
              <a:gd name="connsiteX1629" fmla="*/ 242272 w 3105279"/>
              <a:gd name="connsiteY1629" fmla="*/ 719994 h 3105260"/>
              <a:gd name="connsiteX1630" fmla="*/ 245415 w 3105279"/>
              <a:gd name="connsiteY1630" fmla="*/ 715067 h 3105260"/>
              <a:gd name="connsiteX1631" fmla="*/ 269830 w 3105279"/>
              <a:gd name="connsiteY1631" fmla="*/ 730675 h 3105260"/>
              <a:gd name="connsiteX1632" fmla="*/ 266742 w 3105279"/>
              <a:gd name="connsiteY1632" fmla="*/ 735511 h 3105260"/>
              <a:gd name="connsiteX1633" fmla="*/ 2828151 w 3105279"/>
              <a:gd name="connsiteY1633" fmla="*/ 719553 h 3105260"/>
              <a:gd name="connsiteX1634" fmla="*/ 2825008 w 3105279"/>
              <a:gd name="connsiteY1634" fmla="*/ 714736 h 3105260"/>
              <a:gd name="connsiteX1635" fmla="*/ 2849220 w 3105279"/>
              <a:gd name="connsiteY1635" fmla="*/ 698833 h 3105260"/>
              <a:gd name="connsiteX1636" fmla="*/ 2852419 w 3105279"/>
              <a:gd name="connsiteY1636" fmla="*/ 703742 h 3105260"/>
              <a:gd name="connsiteX1637" fmla="*/ 2828133 w 3105279"/>
              <a:gd name="connsiteY1637" fmla="*/ 719553 h 3105260"/>
              <a:gd name="connsiteX1638" fmla="*/ 277588 w 3105279"/>
              <a:gd name="connsiteY1638" fmla="*/ 718634 h 3105260"/>
              <a:gd name="connsiteX1639" fmla="*/ 253321 w 3105279"/>
              <a:gd name="connsiteY1639" fmla="*/ 702786 h 3105260"/>
              <a:gd name="connsiteX1640" fmla="*/ 256520 w 3105279"/>
              <a:gd name="connsiteY1640" fmla="*/ 697896 h 3105260"/>
              <a:gd name="connsiteX1641" fmla="*/ 280714 w 3105279"/>
              <a:gd name="connsiteY1641" fmla="*/ 713835 h 3105260"/>
              <a:gd name="connsiteX1642" fmla="*/ 277570 w 3105279"/>
              <a:gd name="connsiteY1642" fmla="*/ 718634 h 3105260"/>
              <a:gd name="connsiteX1643" fmla="*/ 2817066 w 3105279"/>
              <a:gd name="connsiteY1643" fmla="*/ 702786 h 3105260"/>
              <a:gd name="connsiteX1644" fmla="*/ 2813848 w 3105279"/>
              <a:gd name="connsiteY1644" fmla="*/ 698025 h 3105260"/>
              <a:gd name="connsiteX1645" fmla="*/ 2837858 w 3105279"/>
              <a:gd name="connsiteY1645" fmla="*/ 681809 h 3105260"/>
              <a:gd name="connsiteX1646" fmla="*/ 2841131 w 3105279"/>
              <a:gd name="connsiteY1646" fmla="*/ 686663 h 3105260"/>
              <a:gd name="connsiteX1647" fmla="*/ 2817066 w 3105279"/>
              <a:gd name="connsiteY1647" fmla="*/ 702786 h 3105260"/>
              <a:gd name="connsiteX1648" fmla="*/ 288674 w 3105279"/>
              <a:gd name="connsiteY1648" fmla="*/ 701904 h 3105260"/>
              <a:gd name="connsiteX1649" fmla="*/ 264627 w 3105279"/>
              <a:gd name="connsiteY1649" fmla="*/ 685744 h 3105260"/>
              <a:gd name="connsiteX1650" fmla="*/ 267900 w 3105279"/>
              <a:gd name="connsiteY1650" fmla="*/ 680908 h 3105260"/>
              <a:gd name="connsiteX1651" fmla="*/ 291892 w 3105279"/>
              <a:gd name="connsiteY1651" fmla="*/ 697142 h 3105260"/>
              <a:gd name="connsiteX1652" fmla="*/ 288693 w 3105279"/>
              <a:gd name="connsiteY1652" fmla="*/ 701904 h 3105260"/>
              <a:gd name="connsiteX1653" fmla="*/ 2805759 w 3105279"/>
              <a:gd name="connsiteY1653" fmla="*/ 686148 h 3105260"/>
              <a:gd name="connsiteX1654" fmla="*/ 2802487 w 3105279"/>
              <a:gd name="connsiteY1654" fmla="*/ 681423 h 3105260"/>
              <a:gd name="connsiteX1655" fmla="*/ 2826276 w 3105279"/>
              <a:gd name="connsiteY1655" fmla="*/ 664877 h 3105260"/>
              <a:gd name="connsiteX1656" fmla="*/ 2829604 w 3105279"/>
              <a:gd name="connsiteY1656" fmla="*/ 669694 h 3105260"/>
              <a:gd name="connsiteX1657" fmla="*/ 2805759 w 3105279"/>
              <a:gd name="connsiteY1657" fmla="*/ 686148 h 3105260"/>
              <a:gd name="connsiteX1658" fmla="*/ 299981 w 3105279"/>
              <a:gd name="connsiteY1658" fmla="*/ 685321 h 3105260"/>
              <a:gd name="connsiteX1659" fmla="*/ 276136 w 3105279"/>
              <a:gd name="connsiteY1659" fmla="*/ 668848 h 3105260"/>
              <a:gd name="connsiteX1660" fmla="*/ 279464 w 3105279"/>
              <a:gd name="connsiteY1660" fmla="*/ 664050 h 3105260"/>
              <a:gd name="connsiteX1661" fmla="*/ 303235 w 3105279"/>
              <a:gd name="connsiteY1661" fmla="*/ 680614 h 3105260"/>
              <a:gd name="connsiteX1662" fmla="*/ 299962 w 3105279"/>
              <a:gd name="connsiteY1662" fmla="*/ 685321 h 3105260"/>
              <a:gd name="connsiteX1663" fmla="*/ 2794232 w 3105279"/>
              <a:gd name="connsiteY1663" fmla="*/ 669676 h 3105260"/>
              <a:gd name="connsiteX1664" fmla="*/ 2790904 w 3105279"/>
              <a:gd name="connsiteY1664" fmla="*/ 665006 h 3105260"/>
              <a:gd name="connsiteX1665" fmla="*/ 2814473 w 3105279"/>
              <a:gd name="connsiteY1665" fmla="*/ 648147 h 3105260"/>
              <a:gd name="connsiteX1666" fmla="*/ 2817874 w 3105279"/>
              <a:gd name="connsiteY1666" fmla="*/ 652927 h 3105260"/>
              <a:gd name="connsiteX1667" fmla="*/ 2794232 w 3105279"/>
              <a:gd name="connsiteY1667" fmla="*/ 669676 h 3105260"/>
              <a:gd name="connsiteX1668" fmla="*/ 311490 w 3105279"/>
              <a:gd name="connsiteY1668" fmla="*/ 668885 h 3105260"/>
              <a:gd name="connsiteX1669" fmla="*/ 287865 w 3105279"/>
              <a:gd name="connsiteY1669" fmla="*/ 652100 h 3105260"/>
              <a:gd name="connsiteX1670" fmla="*/ 291248 w 3105279"/>
              <a:gd name="connsiteY1670" fmla="*/ 647338 h 3105260"/>
              <a:gd name="connsiteX1671" fmla="*/ 314799 w 3105279"/>
              <a:gd name="connsiteY1671" fmla="*/ 664215 h 3105260"/>
              <a:gd name="connsiteX1672" fmla="*/ 311471 w 3105279"/>
              <a:gd name="connsiteY1672" fmla="*/ 668885 h 3105260"/>
              <a:gd name="connsiteX1673" fmla="*/ 2782503 w 3105279"/>
              <a:gd name="connsiteY1673" fmla="*/ 653350 h 3105260"/>
              <a:gd name="connsiteX1674" fmla="*/ 2779101 w 3105279"/>
              <a:gd name="connsiteY1674" fmla="*/ 648717 h 3105260"/>
              <a:gd name="connsiteX1675" fmla="*/ 2802450 w 3105279"/>
              <a:gd name="connsiteY1675" fmla="*/ 631564 h 3105260"/>
              <a:gd name="connsiteX1676" fmla="*/ 2805906 w 3105279"/>
              <a:gd name="connsiteY1676" fmla="*/ 636289 h 3105260"/>
              <a:gd name="connsiteX1677" fmla="*/ 2782503 w 3105279"/>
              <a:gd name="connsiteY1677" fmla="*/ 653368 h 3105260"/>
              <a:gd name="connsiteX1678" fmla="*/ 323237 w 3105279"/>
              <a:gd name="connsiteY1678" fmla="*/ 652615 h 3105260"/>
              <a:gd name="connsiteX1679" fmla="*/ 299852 w 3105279"/>
              <a:gd name="connsiteY1679" fmla="*/ 635517 h 3105260"/>
              <a:gd name="connsiteX1680" fmla="*/ 303308 w 3105279"/>
              <a:gd name="connsiteY1680" fmla="*/ 630811 h 3105260"/>
              <a:gd name="connsiteX1681" fmla="*/ 326638 w 3105279"/>
              <a:gd name="connsiteY1681" fmla="*/ 647982 h 3105260"/>
              <a:gd name="connsiteX1682" fmla="*/ 323237 w 3105279"/>
              <a:gd name="connsiteY1682" fmla="*/ 652615 h 3105260"/>
              <a:gd name="connsiteX1683" fmla="*/ 2770534 w 3105279"/>
              <a:gd name="connsiteY1683" fmla="*/ 637190 h 3105260"/>
              <a:gd name="connsiteX1684" fmla="*/ 2767078 w 3105279"/>
              <a:gd name="connsiteY1684" fmla="*/ 632594 h 3105260"/>
              <a:gd name="connsiteX1685" fmla="*/ 2790187 w 3105279"/>
              <a:gd name="connsiteY1685" fmla="*/ 615129 h 3105260"/>
              <a:gd name="connsiteX1686" fmla="*/ 2793699 w 3105279"/>
              <a:gd name="connsiteY1686" fmla="*/ 619798 h 3105260"/>
              <a:gd name="connsiteX1687" fmla="*/ 2770516 w 3105279"/>
              <a:gd name="connsiteY1687" fmla="*/ 637190 h 3105260"/>
              <a:gd name="connsiteX1688" fmla="*/ 335169 w 3105279"/>
              <a:gd name="connsiteY1688" fmla="*/ 636473 h 3105260"/>
              <a:gd name="connsiteX1689" fmla="*/ 312004 w 3105279"/>
              <a:gd name="connsiteY1689" fmla="*/ 619081 h 3105260"/>
              <a:gd name="connsiteX1690" fmla="*/ 315516 w 3105279"/>
              <a:gd name="connsiteY1690" fmla="*/ 614412 h 3105260"/>
              <a:gd name="connsiteX1691" fmla="*/ 338607 w 3105279"/>
              <a:gd name="connsiteY1691" fmla="*/ 631895 h 3105260"/>
              <a:gd name="connsiteX1692" fmla="*/ 335150 w 3105279"/>
              <a:gd name="connsiteY1692" fmla="*/ 636473 h 3105260"/>
              <a:gd name="connsiteX1693" fmla="*/ 2758382 w 3105279"/>
              <a:gd name="connsiteY1693" fmla="*/ 621196 h 3105260"/>
              <a:gd name="connsiteX1694" fmla="*/ 2754852 w 3105279"/>
              <a:gd name="connsiteY1694" fmla="*/ 616636 h 3105260"/>
              <a:gd name="connsiteX1695" fmla="*/ 2777741 w 3105279"/>
              <a:gd name="connsiteY1695" fmla="*/ 598858 h 3105260"/>
              <a:gd name="connsiteX1696" fmla="*/ 2781326 w 3105279"/>
              <a:gd name="connsiteY1696" fmla="*/ 603473 h 3105260"/>
              <a:gd name="connsiteX1697" fmla="*/ 2758400 w 3105279"/>
              <a:gd name="connsiteY1697" fmla="*/ 621177 h 3105260"/>
              <a:gd name="connsiteX1698" fmla="*/ 347321 w 3105279"/>
              <a:gd name="connsiteY1698" fmla="*/ 620534 h 3105260"/>
              <a:gd name="connsiteX1699" fmla="*/ 324395 w 3105279"/>
              <a:gd name="connsiteY1699" fmla="*/ 602829 h 3105260"/>
              <a:gd name="connsiteX1700" fmla="*/ 327980 w 3105279"/>
              <a:gd name="connsiteY1700" fmla="*/ 598215 h 3105260"/>
              <a:gd name="connsiteX1701" fmla="*/ 350832 w 3105279"/>
              <a:gd name="connsiteY1701" fmla="*/ 616011 h 3105260"/>
              <a:gd name="connsiteX1702" fmla="*/ 347321 w 3105279"/>
              <a:gd name="connsiteY1702" fmla="*/ 620534 h 3105260"/>
              <a:gd name="connsiteX1703" fmla="*/ 2745991 w 3105279"/>
              <a:gd name="connsiteY1703" fmla="*/ 605330 h 3105260"/>
              <a:gd name="connsiteX1704" fmla="*/ 2742406 w 3105279"/>
              <a:gd name="connsiteY1704" fmla="*/ 600825 h 3105260"/>
              <a:gd name="connsiteX1705" fmla="*/ 2765056 w 3105279"/>
              <a:gd name="connsiteY1705" fmla="*/ 582753 h 3105260"/>
              <a:gd name="connsiteX1706" fmla="*/ 2768696 w 3105279"/>
              <a:gd name="connsiteY1706" fmla="*/ 587331 h 3105260"/>
              <a:gd name="connsiteX1707" fmla="*/ 2745991 w 3105279"/>
              <a:gd name="connsiteY1707" fmla="*/ 605330 h 3105260"/>
              <a:gd name="connsiteX1708" fmla="*/ 359694 w 3105279"/>
              <a:gd name="connsiteY1708" fmla="*/ 604723 h 3105260"/>
              <a:gd name="connsiteX1709" fmla="*/ 336989 w 3105279"/>
              <a:gd name="connsiteY1709" fmla="*/ 586706 h 3105260"/>
              <a:gd name="connsiteX1710" fmla="*/ 340629 w 3105279"/>
              <a:gd name="connsiteY1710" fmla="*/ 582128 h 3105260"/>
              <a:gd name="connsiteX1711" fmla="*/ 363260 w 3105279"/>
              <a:gd name="connsiteY1711" fmla="*/ 600219 h 3105260"/>
              <a:gd name="connsiteX1712" fmla="*/ 359694 w 3105279"/>
              <a:gd name="connsiteY1712" fmla="*/ 604705 h 3105260"/>
              <a:gd name="connsiteX1713" fmla="*/ 2733397 w 3105279"/>
              <a:gd name="connsiteY1713" fmla="*/ 589666 h 3105260"/>
              <a:gd name="connsiteX1714" fmla="*/ 2729757 w 3105279"/>
              <a:gd name="connsiteY1714" fmla="*/ 585217 h 3105260"/>
              <a:gd name="connsiteX1715" fmla="*/ 2752150 w 3105279"/>
              <a:gd name="connsiteY1715" fmla="*/ 566832 h 3105260"/>
              <a:gd name="connsiteX1716" fmla="*/ 2755863 w 3105279"/>
              <a:gd name="connsiteY1716" fmla="*/ 571373 h 3105260"/>
              <a:gd name="connsiteX1717" fmla="*/ 2733397 w 3105279"/>
              <a:gd name="connsiteY1717" fmla="*/ 589666 h 3105260"/>
              <a:gd name="connsiteX1718" fmla="*/ 372269 w 3105279"/>
              <a:gd name="connsiteY1718" fmla="*/ 589096 h 3105260"/>
              <a:gd name="connsiteX1719" fmla="*/ 349821 w 3105279"/>
              <a:gd name="connsiteY1719" fmla="*/ 570785 h 3105260"/>
              <a:gd name="connsiteX1720" fmla="*/ 353517 w 3105279"/>
              <a:gd name="connsiteY1720" fmla="*/ 566262 h 3105260"/>
              <a:gd name="connsiteX1721" fmla="*/ 375909 w 3105279"/>
              <a:gd name="connsiteY1721" fmla="*/ 584665 h 3105260"/>
              <a:gd name="connsiteX1722" fmla="*/ 372287 w 3105279"/>
              <a:gd name="connsiteY1722" fmla="*/ 589096 h 3105260"/>
              <a:gd name="connsiteX1723" fmla="*/ 2720602 w 3105279"/>
              <a:gd name="connsiteY1723" fmla="*/ 574149 h 3105260"/>
              <a:gd name="connsiteX1724" fmla="*/ 2716906 w 3105279"/>
              <a:gd name="connsiteY1724" fmla="*/ 569756 h 3105260"/>
              <a:gd name="connsiteX1725" fmla="*/ 2739060 w 3105279"/>
              <a:gd name="connsiteY1725" fmla="*/ 551095 h 3105260"/>
              <a:gd name="connsiteX1726" fmla="*/ 2742829 w 3105279"/>
              <a:gd name="connsiteY1726" fmla="*/ 555581 h 3105260"/>
              <a:gd name="connsiteX1727" fmla="*/ 2720602 w 3105279"/>
              <a:gd name="connsiteY1727" fmla="*/ 574168 h 3105260"/>
              <a:gd name="connsiteX1728" fmla="*/ 385046 w 3105279"/>
              <a:gd name="connsiteY1728" fmla="*/ 573635 h 3105260"/>
              <a:gd name="connsiteX1729" fmla="*/ 362838 w 3105279"/>
              <a:gd name="connsiteY1729" fmla="*/ 555029 h 3105260"/>
              <a:gd name="connsiteX1730" fmla="*/ 366606 w 3105279"/>
              <a:gd name="connsiteY1730" fmla="*/ 550562 h 3105260"/>
              <a:gd name="connsiteX1731" fmla="*/ 388741 w 3105279"/>
              <a:gd name="connsiteY1731" fmla="*/ 569259 h 3105260"/>
              <a:gd name="connsiteX1732" fmla="*/ 385065 w 3105279"/>
              <a:gd name="connsiteY1732" fmla="*/ 573635 h 3105260"/>
              <a:gd name="connsiteX1733" fmla="*/ 2707604 w 3105279"/>
              <a:gd name="connsiteY1733" fmla="*/ 558817 h 3105260"/>
              <a:gd name="connsiteX1734" fmla="*/ 2703853 w 3105279"/>
              <a:gd name="connsiteY1734" fmla="*/ 554460 h 3105260"/>
              <a:gd name="connsiteX1735" fmla="*/ 2725768 w 3105279"/>
              <a:gd name="connsiteY1735" fmla="*/ 535505 h 3105260"/>
              <a:gd name="connsiteX1736" fmla="*/ 2729592 w 3105279"/>
              <a:gd name="connsiteY1736" fmla="*/ 539936 h 3105260"/>
              <a:gd name="connsiteX1737" fmla="*/ 2707622 w 3105279"/>
              <a:gd name="connsiteY1737" fmla="*/ 558817 h 3105260"/>
              <a:gd name="connsiteX1738" fmla="*/ 398007 w 3105279"/>
              <a:gd name="connsiteY1738" fmla="*/ 558357 h 3105260"/>
              <a:gd name="connsiteX1739" fmla="*/ 376038 w 3105279"/>
              <a:gd name="connsiteY1739" fmla="*/ 539458 h 3105260"/>
              <a:gd name="connsiteX1740" fmla="*/ 379862 w 3105279"/>
              <a:gd name="connsiteY1740" fmla="*/ 535046 h 3105260"/>
              <a:gd name="connsiteX1741" fmla="*/ 401758 w 3105279"/>
              <a:gd name="connsiteY1741" fmla="*/ 554018 h 3105260"/>
              <a:gd name="connsiteX1742" fmla="*/ 398007 w 3105279"/>
              <a:gd name="connsiteY1742" fmla="*/ 558357 h 3105260"/>
              <a:gd name="connsiteX1743" fmla="*/ 2694385 w 3105279"/>
              <a:gd name="connsiteY1743" fmla="*/ 543649 h 3105260"/>
              <a:gd name="connsiteX1744" fmla="*/ 2690598 w 3105279"/>
              <a:gd name="connsiteY1744" fmla="*/ 539384 h 3105260"/>
              <a:gd name="connsiteX1745" fmla="*/ 2712237 w 3105279"/>
              <a:gd name="connsiteY1745" fmla="*/ 520117 h 3105260"/>
              <a:gd name="connsiteX1746" fmla="*/ 2716116 w 3105279"/>
              <a:gd name="connsiteY1746" fmla="*/ 524493 h 3105260"/>
              <a:gd name="connsiteX1747" fmla="*/ 2694385 w 3105279"/>
              <a:gd name="connsiteY1747" fmla="*/ 543649 h 3105260"/>
              <a:gd name="connsiteX1748" fmla="*/ 411189 w 3105279"/>
              <a:gd name="connsiteY1748" fmla="*/ 543245 h 3105260"/>
              <a:gd name="connsiteX1749" fmla="*/ 389477 w 3105279"/>
              <a:gd name="connsiteY1749" fmla="*/ 524052 h 3105260"/>
              <a:gd name="connsiteX1750" fmla="*/ 393338 w 3105279"/>
              <a:gd name="connsiteY1750" fmla="*/ 519694 h 3105260"/>
              <a:gd name="connsiteX1751" fmla="*/ 414976 w 3105279"/>
              <a:gd name="connsiteY1751" fmla="*/ 538961 h 3105260"/>
              <a:gd name="connsiteX1752" fmla="*/ 411171 w 3105279"/>
              <a:gd name="connsiteY1752" fmla="*/ 543245 h 3105260"/>
              <a:gd name="connsiteX1753" fmla="*/ 2681038 w 3105279"/>
              <a:gd name="connsiteY1753" fmla="*/ 528721 h 3105260"/>
              <a:gd name="connsiteX1754" fmla="*/ 2677177 w 3105279"/>
              <a:gd name="connsiteY1754" fmla="*/ 524493 h 3105260"/>
              <a:gd name="connsiteX1755" fmla="*/ 2698577 w 3105279"/>
              <a:gd name="connsiteY1755" fmla="*/ 504950 h 3105260"/>
              <a:gd name="connsiteX1756" fmla="*/ 2702493 w 3105279"/>
              <a:gd name="connsiteY1756" fmla="*/ 509252 h 3105260"/>
              <a:gd name="connsiteX1757" fmla="*/ 2681020 w 3105279"/>
              <a:gd name="connsiteY1757" fmla="*/ 528721 h 3105260"/>
              <a:gd name="connsiteX1758" fmla="*/ 424573 w 3105279"/>
              <a:gd name="connsiteY1758" fmla="*/ 528317 h 3105260"/>
              <a:gd name="connsiteX1759" fmla="*/ 403118 w 3105279"/>
              <a:gd name="connsiteY1759" fmla="*/ 508848 h 3105260"/>
              <a:gd name="connsiteX1760" fmla="*/ 407052 w 3105279"/>
              <a:gd name="connsiteY1760" fmla="*/ 504527 h 3105260"/>
              <a:gd name="connsiteX1761" fmla="*/ 428434 w 3105279"/>
              <a:gd name="connsiteY1761" fmla="*/ 524088 h 3105260"/>
              <a:gd name="connsiteX1762" fmla="*/ 424591 w 3105279"/>
              <a:gd name="connsiteY1762" fmla="*/ 528317 h 3105260"/>
              <a:gd name="connsiteX1763" fmla="*/ 2667489 w 3105279"/>
              <a:gd name="connsiteY1763" fmla="*/ 513977 h 3105260"/>
              <a:gd name="connsiteX1764" fmla="*/ 2663591 w 3105279"/>
              <a:gd name="connsiteY1764" fmla="*/ 509803 h 3105260"/>
              <a:gd name="connsiteX1765" fmla="*/ 2684715 w 3105279"/>
              <a:gd name="connsiteY1765" fmla="*/ 489985 h 3105260"/>
              <a:gd name="connsiteX1766" fmla="*/ 2688705 w 3105279"/>
              <a:gd name="connsiteY1766" fmla="*/ 494250 h 3105260"/>
              <a:gd name="connsiteX1767" fmla="*/ 2667489 w 3105279"/>
              <a:gd name="connsiteY1767" fmla="*/ 513977 h 3105260"/>
              <a:gd name="connsiteX1768" fmla="*/ 438122 w 3105279"/>
              <a:gd name="connsiteY1768" fmla="*/ 513572 h 3105260"/>
              <a:gd name="connsiteX1769" fmla="*/ 416925 w 3105279"/>
              <a:gd name="connsiteY1769" fmla="*/ 493809 h 3105260"/>
              <a:gd name="connsiteX1770" fmla="*/ 420914 w 3105279"/>
              <a:gd name="connsiteY1770" fmla="*/ 489544 h 3105260"/>
              <a:gd name="connsiteX1771" fmla="*/ 442038 w 3105279"/>
              <a:gd name="connsiteY1771" fmla="*/ 509381 h 3105260"/>
              <a:gd name="connsiteX1772" fmla="*/ 438122 w 3105279"/>
              <a:gd name="connsiteY1772" fmla="*/ 513572 h 3105260"/>
              <a:gd name="connsiteX1773" fmla="*/ 2653755 w 3105279"/>
              <a:gd name="connsiteY1773" fmla="*/ 499416 h 3105260"/>
              <a:gd name="connsiteX1774" fmla="*/ 2649784 w 3105279"/>
              <a:gd name="connsiteY1774" fmla="*/ 495280 h 3105260"/>
              <a:gd name="connsiteX1775" fmla="*/ 2670651 w 3105279"/>
              <a:gd name="connsiteY1775" fmla="*/ 475185 h 3105260"/>
              <a:gd name="connsiteX1776" fmla="*/ 2674696 w 3105279"/>
              <a:gd name="connsiteY1776" fmla="*/ 479395 h 3105260"/>
              <a:gd name="connsiteX1777" fmla="*/ 2653755 w 3105279"/>
              <a:gd name="connsiteY1777" fmla="*/ 499416 h 3105260"/>
              <a:gd name="connsiteX1778" fmla="*/ 451892 w 3105279"/>
              <a:gd name="connsiteY1778" fmla="*/ 498993 h 3105260"/>
              <a:gd name="connsiteX1779" fmla="*/ 430971 w 3105279"/>
              <a:gd name="connsiteY1779" fmla="*/ 478954 h 3105260"/>
              <a:gd name="connsiteX1780" fmla="*/ 435015 w 3105279"/>
              <a:gd name="connsiteY1780" fmla="*/ 474744 h 3105260"/>
              <a:gd name="connsiteX1781" fmla="*/ 455863 w 3105279"/>
              <a:gd name="connsiteY1781" fmla="*/ 494857 h 3105260"/>
              <a:gd name="connsiteX1782" fmla="*/ 451892 w 3105279"/>
              <a:gd name="connsiteY1782" fmla="*/ 498993 h 3105260"/>
              <a:gd name="connsiteX1783" fmla="*/ 2639820 w 3105279"/>
              <a:gd name="connsiteY1783" fmla="*/ 485021 h 3105260"/>
              <a:gd name="connsiteX1784" fmla="*/ 2635794 w 3105279"/>
              <a:gd name="connsiteY1784" fmla="*/ 480940 h 3105260"/>
              <a:gd name="connsiteX1785" fmla="*/ 2656385 w 3105279"/>
              <a:gd name="connsiteY1785" fmla="*/ 460570 h 3105260"/>
              <a:gd name="connsiteX1786" fmla="*/ 2660484 w 3105279"/>
              <a:gd name="connsiteY1786" fmla="*/ 464725 h 3105260"/>
              <a:gd name="connsiteX1787" fmla="*/ 2639820 w 3105279"/>
              <a:gd name="connsiteY1787" fmla="*/ 485021 h 3105260"/>
              <a:gd name="connsiteX1788" fmla="*/ 465846 w 3105279"/>
              <a:gd name="connsiteY1788" fmla="*/ 484617 h 3105260"/>
              <a:gd name="connsiteX1789" fmla="*/ 445182 w 3105279"/>
              <a:gd name="connsiteY1789" fmla="*/ 464302 h 3105260"/>
              <a:gd name="connsiteX1790" fmla="*/ 449282 w 3105279"/>
              <a:gd name="connsiteY1790" fmla="*/ 460147 h 3105260"/>
              <a:gd name="connsiteX1791" fmla="*/ 469872 w 3105279"/>
              <a:gd name="connsiteY1791" fmla="*/ 480535 h 3105260"/>
              <a:gd name="connsiteX1792" fmla="*/ 465846 w 3105279"/>
              <a:gd name="connsiteY1792" fmla="*/ 484617 h 3105260"/>
              <a:gd name="connsiteX1793" fmla="*/ 2625701 w 3105279"/>
              <a:gd name="connsiteY1793" fmla="*/ 470828 h 3105260"/>
              <a:gd name="connsiteX1794" fmla="*/ 2621619 w 3105279"/>
              <a:gd name="connsiteY1794" fmla="*/ 466802 h 3105260"/>
              <a:gd name="connsiteX1795" fmla="*/ 2641953 w 3105279"/>
              <a:gd name="connsiteY1795" fmla="*/ 446156 h 3105260"/>
              <a:gd name="connsiteX1796" fmla="*/ 2646107 w 3105279"/>
              <a:gd name="connsiteY1796" fmla="*/ 450256 h 3105260"/>
              <a:gd name="connsiteX1797" fmla="*/ 2625701 w 3105279"/>
              <a:gd name="connsiteY1797" fmla="*/ 470828 h 3105260"/>
              <a:gd name="connsiteX1798" fmla="*/ 479984 w 3105279"/>
              <a:gd name="connsiteY1798" fmla="*/ 470424 h 3105260"/>
              <a:gd name="connsiteX1799" fmla="*/ 459596 w 3105279"/>
              <a:gd name="connsiteY1799" fmla="*/ 449852 h 3105260"/>
              <a:gd name="connsiteX1800" fmla="*/ 463750 w 3105279"/>
              <a:gd name="connsiteY1800" fmla="*/ 445752 h 3105260"/>
              <a:gd name="connsiteX1801" fmla="*/ 484065 w 3105279"/>
              <a:gd name="connsiteY1801" fmla="*/ 466416 h 3105260"/>
              <a:gd name="connsiteX1802" fmla="*/ 480002 w 3105279"/>
              <a:gd name="connsiteY1802" fmla="*/ 470424 h 3105260"/>
              <a:gd name="connsiteX1803" fmla="*/ 2611361 w 3105279"/>
              <a:gd name="connsiteY1803" fmla="*/ 456801 h 3105260"/>
              <a:gd name="connsiteX1804" fmla="*/ 2607243 w 3105279"/>
              <a:gd name="connsiteY1804" fmla="*/ 452830 h 3105260"/>
              <a:gd name="connsiteX1805" fmla="*/ 2627282 w 3105279"/>
              <a:gd name="connsiteY1805" fmla="*/ 431908 h 3105260"/>
              <a:gd name="connsiteX1806" fmla="*/ 2631492 w 3105279"/>
              <a:gd name="connsiteY1806" fmla="*/ 435953 h 3105260"/>
              <a:gd name="connsiteX1807" fmla="*/ 2611361 w 3105279"/>
              <a:gd name="connsiteY1807" fmla="*/ 456782 h 3105260"/>
              <a:gd name="connsiteX1808" fmla="*/ 494306 w 3105279"/>
              <a:gd name="connsiteY1808" fmla="*/ 456415 h 3105260"/>
              <a:gd name="connsiteX1809" fmla="*/ 474174 w 3105279"/>
              <a:gd name="connsiteY1809" fmla="*/ 435567 h 3105260"/>
              <a:gd name="connsiteX1810" fmla="*/ 478385 w 3105279"/>
              <a:gd name="connsiteY1810" fmla="*/ 431522 h 3105260"/>
              <a:gd name="connsiteX1811" fmla="*/ 498424 w 3105279"/>
              <a:gd name="connsiteY1811" fmla="*/ 452444 h 3105260"/>
              <a:gd name="connsiteX1812" fmla="*/ 494306 w 3105279"/>
              <a:gd name="connsiteY1812" fmla="*/ 456396 h 3105260"/>
              <a:gd name="connsiteX1813" fmla="*/ 2596855 w 3105279"/>
              <a:gd name="connsiteY1813" fmla="*/ 442976 h 3105260"/>
              <a:gd name="connsiteX1814" fmla="*/ 2592682 w 3105279"/>
              <a:gd name="connsiteY1814" fmla="*/ 439060 h 3105260"/>
              <a:gd name="connsiteX1815" fmla="*/ 2612464 w 3105279"/>
              <a:gd name="connsiteY1815" fmla="*/ 417881 h 3105260"/>
              <a:gd name="connsiteX1816" fmla="*/ 2616729 w 3105279"/>
              <a:gd name="connsiteY1816" fmla="*/ 421870 h 3105260"/>
              <a:gd name="connsiteX1817" fmla="*/ 2596855 w 3105279"/>
              <a:gd name="connsiteY1817" fmla="*/ 442957 h 3105260"/>
              <a:gd name="connsiteX1818" fmla="*/ 508811 w 3105279"/>
              <a:gd name="connsiteY1818" fmla="*/ 442608 h 3105260"/>
              <a:gd name="connsiteX1819" fmla="*/ 488974 w 3105279"/>
              <a:gd name="connsiteY1819" fmla="*/ 421484 h 3105260"/>
              <a:gd name="connsiteX1820" fmla="*/ 493221 w 3105279"/>
              <a:gd name="connsiteY1820" fmla="*/ 417495 h 3105260"/>
              <a:gd name="connsiteX1821" fmla="*/ 512984 w 3105279"/>
              <a:gd name="connsiteY1821" fmla="*/ 438692 h 3105260"/>
              <a:gd name="connsiteX1822" fmla="*/ 508811 w 3105279"/>
              <a:gd name="connsiteY1822" fmla="*/ 442608 h 3105260"/>
              <a:gd name="connsiteX1823" fmla="*/ 2582185 w 3105279"/>
              <a:gd name="connsiteY1823" fmla="*/ 429334 h 3105260"/>
              <a:gd name="connsiteX1824" fmla="*/ 2577956 w 3105279"/>
              <a:gd name="connsiteY1824" fmla="*/ 425474 h 3105260"/>
              <a:gd name="connsiteX1825" fmla="*/ 2597444 w 3105279"/>
              <a:gd name="connsiteY1825" fmla="*/ 404037 h 3105260"/>
              <a:gd name="connsiteX1826" fmla="*/ 2601764 w 3105279"/>
              <a:gd name="connsiteY1826" fmla="*/ 407972 h 3105260"/>
              <a:gd name="connsiteX1827" fmla="*/ 2582185 w 3105279"/>
              <a:gd name="connsiteY1827" fmla="*/ 429334 h 3105260"/>
              <a:gd name="connsiteX1828" fmla="*/ 523482 w 3105279"/>
              <a:gd name="connsiteY1828" fmla="*/ 428985 h 3105260"/>
              <a:gd name="connsiteX1829" fmla="*/ 503921 w 3105279"/>
              <a:gd name="connsiteY1829" fmla="*/ 407604 h 3105260"/>
              <a:gd name="connsiteX1830" fmla="*/ 508223 w 3105279"/>
              <a:gd name="connsiteY1830" fmla="*/ 403670 h 3105260"/>
              <a:gd name="connsiteX1831" fmla="*/ 527710 w 3105279"/>
              <a:gd name="connsiteY1831" fmla="*/ 425124 h 3105260"/>
              <a:gd name="connsiteX1832" fmla="*/ 523482 w 3105279"/>
              <a:gd name="connsiteY1832" fmla="*/ 428985 h 3105260"/>
              <a:gd name="connsiteX1833" fmla="*/ 2567311 w 3105279"/>
              <a:gd name="connsiteY1833" fmla="*/ 415895 h 3105260"/>
              <a:gd name="connsiteX1834" fmla="*/ 2563028 w 3105279"/>
              <a:gd name="connsiteY1834" fmla="*/ 412090 h 3105260"/>
              <a:gd name="connsiteX1835" fmla="*/ 2582221 w 3105279"/>
              <a:gd name="connsiteY1835" fmla="*/ 390396 h 3105260"/>
              <a:gd name="connsiteX1836" fmla="*/ 2586578 w 3105279"/>
              <a:gd name="connsiteY1836" fmla="*/ 394275 h 3105260"/>
              <a:gd name="connsiteX1837" fmla="*/ 2567293 w 3105279"/>
              <a:gd name="connsiteY1837" fmla="*/ 415895 h 3105260"/>
              <a:gd name="connsiteX1838" fmla="*/ 538355 w 3105279"/>
              <a:gd name="connsiteY1838" fmla="*/ 415564 h 3105260"/>
              <a:gd name="connsiteX1839" fmla="*/ 519088 w 3105279"/>
              <a:gd name="connsiteY1839" fmla="*/ 393926 h 3105260"/>
              <a:gd name="connsiteX1840" fmla="*/ 523445 w 3105279"/>
              <a:gd name="connsiteY1840" fmla="*/ 390065 h 3105260"/>
              <a:gd name="connsiteX1841" fmla="*/ 542639 w 3105279"/>
              <a:gd name="connsiteY1841" fmla="*/ 411759 h 3105260"/>
              <a:gd name="connsiteX1842" fmla="*/ 538355 w 3105279"/>
              <a:gd name="connsiteY1842" fmla="*/ 415564 h 3105260"/>
              <a:gd name="connsiteX1843" fmla="*/ 2552254 w 3105279"/>
              <a:gd name="connsiteY1843" fmla="*/ 402640 h 3105260"/>
              <a:gd name="connsiteX1844" fmla="*/ 2547934 w 3105279"/>
              <a:gd name="connsiteY1844" fmla="*/ 398890 h 3105260"/>
              <a:gd name="connsiteX1845" fmla="*/ 2566852 w 3105279"/>
              <a:gd name="connsiteY1845" fmla="*/ 376938 h 3105260"/>
              <a:gd name="connsiteX1846" fmla="*/ 2571264 w 3105279"/>
              <a:gd name="connsiteY1846" fmla="*/ 380762 h 3105260"/>
              <a:gd name="connsiteX1847" fmla="*/ 2552254 w 3105279"/>
              <a:gd name="connsiteY1847" fmla="*/ 402622 h 3105260"/>
              <a:gd name="connsiteX1848" fmla="*/ 553394 w 3105279"/>
              <a:gd name="connsiteY1848" fmla="*/ 402346 h 3105260"/>
              <a:gd name="connsiteX1849" fmla="*/ 534402 w 3105279"/>
              <a:gd name="connsiteY1849" fmla="*/ 380468 h 3105260"/>
              <a:gd name="connsiteX1850" fmla="*/ 538833 w 3105279"/>
              <a:gd name="connsiteY1850" fmla="*/ 376644 h 3105260"/>
              <a:gd name="connsiteX1851" fmla="*/ 557732 w 3105279"/>
              <a:gd name="connsiteY1851" fmla="*/ 398614 h 3105260"/>
              <a:gd name="connsiteX1852" fmla="*/ 553394 w 3105279"/>
              <a:gd name="connsiteY1852" fmla="*/ 402364 h 3105260"/>
              <a:gd name="connsiteX1853" fmla="*/ 2537050 w 3105279"/>
              <a:gd name="connsiteY1853" fmla="*/ 389605 h 3105260"/>
              <a:gd name="connsiteX1854" fmla="*/ 2532675 w 3105279"/>
              <a:gd name="connsiteY1854" fmla="*/ 385910 h 3105260"/>
              <a:gd name="connsiteX1855" fmla="*/ 2551298 w 3105279"/>
              <a:gd name="connsiteY1855" fmla="*/ 363702 h 3105260"/>
              <a:gd name="connsiteX1856" fmla="*/ 2555766 w 3105279"/>
              <a:gd name="connsiteY1856" fmla="*/ 367470 h 3105260"/>
              <a:gd name="connsiteX1857" fmla="*/ 2537069 w 3105279"/>
              <a:gd name="connsiteY1857" fmla="*/ 389605 h 3105260"/>
              <a:gd name="connsiteX1858" fmla="*/ 568671 w 3105279"/>
              <a:gd name="connsiteY1858" fmla="*/ 389274 h 3105260"/>
              <a:gd name="connsiteX1859" fmla="*/ 549974 w 3105279"/>
              <a:gd name="connsiteY1859" fmla="*/ 367139 h 3105260"/>
              <a:gd name="connsiteX1860" fmla="*/ 554460 w 3105279"/>
              <a:gd name="connsiteY1860" fmla="*/ 363371 h 3105260"/>
              <a:gd name="connsiteX1861" fmla="*/ 573065 w 3105279"/>
              <a:gd name="connsiteY1861" fmla="*/ 385579 h 3105260"/>
              <a:gd name="connsiteX1862" fmla="*/ 568671 w 3105279"/>
              <a:gd name="connsiteY1862" fmla="*/ 389274 h 3105260"/>
              <a:gd name="connsiteX1863" fmla="*/ 2521644 w 3105279"/>
              <a:gd name="connsiteY1863" fmla="*/ 376755 h 3105260"/>
              <a:gd name="connsiteX1864" fmla="*/ 2517213 w 3105279"/>
              <a:gd name="connsiteY1864" fmla="*/ 373114 h 3105260"/>
              <a:gd name="connsiteX1865" fmla="*/ 2535543 w 3105279"/>
              <a:gd name="connsiteY1865" fmla="*/ 350685 h 3105260"/>
              <a:gd name="connsiteX1866" fmla="*/ 2540047 w 3105279"/>
              <a:gd name="connsiteY1866" fmla="*/ 354381 h 3105260"/>
              <a:gd name="connsiteX1867" fmla="*/ 2521644 w 3105279"/>
              <a:gd name="connsiteY1867" fmla="*/ 376755 h 3105260"/>
              <a:gd name="connsiteX1868" fmla="*/ 584114 w 3105279"/>
              <a:gd name="connsiteY1868" fmla="*/ 376405 h 3105260"/>
              <a:gd name="connsiteX1869" fmla="*/ 565711 w 3105279"/>
              <a:gd name="connsiteY1869" fmla="*/ 354013 h 3105260"/>
              <a:gd name="connsiteX1870" fmla="*/ 570252 w 3105279"/>
              <a:gd name="connsiteY1870" fmla="*/ 350299 h 3105260"/>
              <a:gd name="connsiteX1871" fmla="*/ 588563 w 3105279"/>
              <a:gd name="connsiteY1871" fmla="*/ 372765 h 3105260"/>
              <a:gd name="connsiteX1872" fmla="*/ 584114 w 3105279"/>
              <a:gd name="connsiteY1872" fmla="*/ 376405 h 3105260"/>
              <a:gd name="connsiteX1873" fmla="*/ 2506072 w 3105279"/>
              <a:gd name="connsiteY1873" fmla="*/ 364124 h 3105260"/>
              <a:gd name="connsiteX1874" fmla="*/ 2501605 w 3105279"/>
              <a:gd name="connsiteY1874" fmla="*/ 360558 h 3105260"/>
              <a:gd name="connsiteX1875" fmla="*/ 2519640 w 3105279"/>
              <a:gd name="connsiteY1875" fmla="*/ 337871 h 3105260"/>
              <a:gd name="connsiteX1876" fmla="*/ 2524200 w 3105279"/>
              <a:gd name="connsiteY1876" fmla="*/ 341511 h 3105260"/>
              <a:gd name="connsiteX1877" fmla="*/ 2506091 w 3105279"/>
              <a:gd name="connsiteY1877" fmla="*/ 364124 h 3105260"/>
              <a:gd name="connsiteX1878" fmla="*/ 599723 w 3105279"/>
              <a:gd name="connsiteY1878" fmla="*/ 363738 h 3105260"/>
              <a:gd name="connsiteX1879" fmla="*/ 581632 w 3105279"/>
              <a:gd name="connsiteY1879" fmla="*/ 341107 h 3105260"/>
              <a:gd name="connsiteX1880" fmla="*/ 586210 w 3105279"/>
              <a:gd name="connsiteY1880" fmla="*/ 337467 h 3105260"/>
              <a:gd name="connsiteX1881" fmla="*/ 604227 w 3105279"/>
              <a:gd name="connsiteY1881" fmla="*/ 360153 h 3105260"/>
              <a:gd name="connsiteX1882" fmla="*/ 599741 w 3105279"/>
              <a:gd name="connsiteY1882" fmla="*/ 363738 h 3105260"/>
              <a:gd name="connsiteX1883" fmla="*/ 2490335 w 3105279"/>
              <a:gd name="connsiteY1883" fmla="*/ 351678 h 3105260"/>
              <a:gd name="connsiteX1884" fmla="*/ 2485813 w 3105279"/>
              <a:gd name="connsiteY1884" fmla="*/ 348167 h 3105260"/>
              <a:gd name="connsiteX1885" fmla="*/ 2503535 w 3105279"/>
              <a:gd name="connsiteY1885" fmla="*/ 325259 h 3105260"/>
              <a:gd name="connsiteX1886" fmla="*/ 2508150 w 3105279"/>
              <a:gd name="connsiteY1886" fmla="*/ 328844 h 3105260"/>
              <a:gd name="connsiteX1887" fmla="*/ 2490335 w 3105279"/>
              <a:gd name="connsiteY1887" fmla="*/ 351696 h 3105260"/>
              <a:gd name="connsiteX1888" fmla="*/ 615515 w 3105279"/>
              <a:gd name="connsiteY1888" fmla="*/ 351292 h 3105260"/>
              <a:gd name="connsiteX1889" fmla="*/ 597719 w 3105279"/>
              <a:gd name="connsiteY1889" fmla="*/ 328422 h 3105260"/>
              <a:gd name="connsiteX1890" fmla="*/ 602352 w 3105279"/>
              <a:gd name="connsiteY1890" fmla="*/ 324837 h 3105260"/>
              <a:gd name="connsiteX1891" fmla="*/ 620056 w 3105279"/>
              <a:gd name="connsiteY1891" fmla="*/ 347762 h 3105260"/>
              <a:gd name="connsiteX1892" fmla="*/ 615515 w 3105279"/>
              <a:gd name="connsiteY1892" fmla="*/ 351274 h 3105260"/>
              <a:gd name="connsiteX1893" fmla="*/ 2474432 w 3105279"/>
              <a:gd name="connsiteY1893" fmla="*/ 339452 h 3105260"/>
              <a:gd name="connsiteX1894" fmla="*/ 2469855 w 3105279"/>
              <a:gd name="connsiteY1894" fmla="*/ 335996 h 3105260"/>
              <a:gd name="connsiteX1895" fmla="*/ 2487283 w 3105279"/>
              <a:gd name="connsiteY1895" fmla="*/ 312850 h 3105260"/>
              <a:gd name="connsiteX1896" fmla="*/ 2491953 w 3105279"/>
              <a:gd name="connsiteY1896" fmla="*/ 316380 h 3105260"/>
              <a:gd name="connsiteX1897" fmla="*/ 2474432 w 3105279"/>
              <a:gd name="connsiteY1897" fmla="*/ 339471 h 3105260"/>
              <a:gd name="connsiteX1898" fmla="*/ 631473 w 3105279"/>
              <a:gd name="connsiteY1898" fmla="*/ 339048 h 3105260"/>
              <a:gd name="connsiteX1899" fmla="*/ 613989 w 3105279"/>
              <a:gd name="connsiteY1899" fmla="*/ 315957 h 3105260"/>
              <a:gd name="connsiteX1900" fmla="*/ 618659 w 3105279"/>
              <a:gd name="connsiteY1900" fmla="*/ 312427 h 3105260"/>
              <a:gd name="connsiteX1901" fmla="*/ 636069 w 3105279"/>
              <a:gd name="connsiteY1901" fmla="*/ 335592 h 3105260"/>
              <a:gd name="connsiteX1902" fmla="*/ 631491 w 3105279"/>
              <a:gd name="connsiteY1902" fmla="*/ 339048 h 3105260"/>
              <a:gd name="connsiteX1903" fmla="*/ 2458383 w 3105279"/>
              <a:gd name="connsiteY1903" fmla="*/ 327429 h 3105260"/>
              <a:gd name="connsiteX1904" fmla="*/ 2453750 w 3105279"/>
              <a:gd name="connsiteY1904" fmla="*/ 324028 h 3105260"/>
              <a:gd name="connsiteX1905" fmla="*/ 2470866 w 3105279"/>
              <a:gd name="connsiteY1905" fmla="*/ 300643 h 3105260"/>
              <a:gd name="connsiteX1906" fmla="*/ 2475573 w 3105279"/>
              <a:gd name="connsiteY1906" fmla="*/ 304099 h 3105260"/>
              <a:gd name="connsiteX1907" fmla="*/ 2458383 w 3105279"/>
              <a:gd name="connsiteY1907" fmla="*/ 327410 h 3105260"/>
              <a:gd name="connsiteX1908" fmla="*/ 647578 w 3105279"/>
              <a:gd name="connsiteY1908" fmla="*/ 327006 h 3105260"/>
              <a:gd name="connsiteX1909" fmla="*/ 630388 w 3105279"/>
              <a:gd name="connsiteY1909" fmla="*/ 303676 h 3105260"/>
              <a:gd name="connsiteX1910" fmla="*/ 635113 w 3105279"/>
              <a:gd name="connsiteY1910" fmla="*/ 300220 h 3105260"/>
              <a:gd name="connsiteX1911" fmla="*/ 652211 w 3105279"/>
              <a:gd name="connsiteY1911" fmla="*/ 323605 h 3105260"/>
              <a:gd name="connsiteX1912" fmla="*/ 647578 w 3105279"/>
              <a:gd name="connsiteY1912" fmla="*/ 327006 h 3105260"/>
              <a:gd name="connsiteX1913" fmla="*/ 2442149 w 3105279"/>
              <a:gd name="connsiteY1913" fmla="*/ 315626 h 3105260"/>
              <a:gd name="connsiteX1914" fmla="*/ 2437480 w 3105279"/>
              <a:gd name="connsiteY1914" fmla="*/ 312298 h 3105260"/>
              <a:gd name="connsiteX1915" fmla="*/ 2454283 w 3105279"/>
              <a:gd name="connsiteY1915" fmla="*/ 288693 h 3105260"/>
              <a:gd name="connsiteX1916" fmla="*/ 2459026 w 3105279"/>
              <a:gd name="connsiteY1916" fmla="*/ 292094 h 3105260"/>
              <a:gd name="connsiteX1917" fmla="*/ 2442131 w 3105279"/>
              <a:gd name="connsiteY1917" fmla="*/ 315626 h 3105260"/>
              <a:gd name="connsiteX1918" fmla="*/ 663848 w 3105279"/>
              <a:gd name="connsiteY1918" fmla="*/ 315185 h 3105260"/>
              <a:gd name="connsiteX1919" fmla="*/ 646971 w 3105279"/>
              <a:gd name="connsiteY1919" fmla="*/ 291634 h 3105260"/>
              <a:gd name="connsiteX1920" fmla="*/ 651733 w 3105279"/>
              <a:gd name="connsiteY1920" fmla="*/ 288233 h 3105260"/>
              <a:gd name="connsiteX1921" fmla="*/ 668536 w 3105279"/>
              <a:gd name="connsiteY1921" fmla="*/ 311839 h 3105260"/>
              <a:gd name="connsiteX1922" fmla="*/ 663848 w 3105279"/>
              <a:gd name="connsiteY1922" fmla="*/ 315185 h 3105260"/>
              <a:gd name="connsiteX1923" fmla="*/ 2425769 w 3105279"/>
              <a:gd name="connsiteY1923" fmla="*/ 304025 h 3105260"/>
              <a:gd name="connsiteX1924" fmla="*/ 2421062 w 3105279"/>
              <a:gd name="connsiteY1924" fmla="*/ 300753 h 3105260"/>
              <a:gd name="connsiteX1925" fmla="*/ 2437553 w 3105279"/>
              <a:gd name="connsiteY1925" fmla="*/ 276926 h 3105260"/>
              <a:gd name="connsiteX1926" fmla="*/ 2442351 w 3105279"/>
              <a:gd name="connsiteY1926" fmla="*/ 280254 h 3105260"/>
              <a:gd name="connsiteX1927" fmla="*/ 2425769 w 3105279"/>
              <a:gd name="connsiteY1927" fmla="*/ 304007 h 3105260"/>
              <a:gd name="connsiteX1928" fmla="*/ 680265 w 3105279"/>
              <a:gd name="connsiteY1928" fmla="*/ 303584 h 3105260"/>
              <a:gd name="connsiteX1929" fmla="*/ 663701 w 3105279"/>
              <a:gd name="connsiteY1929" fmla="*/ 279813 h 3105260"/>
              <a:gd name="connsiteX1930" fmla="*/ 668518 w 3105279"/>
              <a:gd name="connsiteY1930" fmla="*/ 276467 h 3105260"/>
              <a:gd name="connsiteX1931" fmla="*/ 684990 w 3105279"/>
              <a:gd name="connsiteY1931" fmla="*/ 300312 h 3105260"/>
              <a:gd name="connsiteX1932" fmla="*/ 680265 w 3105279"/>
              <a:gd name="connsiteY1932" fmla="*/ 303584 h 3105260"/>
              <a:gd name="connsiteX1933" fmla="*/ 2409241 w 3105279"/>
              <a:gd name="connsiteY1933" fmla="*/ 292645 h 3105260"/>
              <a:gd name="connsiteX1934" fmla="*/ 2404479 w 3105279"/>
              <a:gd name="connsiteY1934" fmla="*/ 289428 h 3105260"/>
              <a:gd name="connsiteX1935" fmla="*/ 2420658 w 3105279"/>
              <a:gd name="connsiteY1935" fmla="*/ 265399 h 3105260"/>
              <a:gd name="connsiteX1936" fmla="*/ 2425493 w 3105279"/>
              <a:gd name="connsiteY1936" fmla="*/ 268672 h 3105260"/>
              <a:gd name="connsiteX1937" fmla="*/ 2409222 w 3105279"/>
              <a:gd name="connsiteY1937" fmla="*/ 292645 h 3105260"/>
              <a:gd name="connsiteX1938" fmla="*/ 696848 w 3105279"/>
              <a:gd name="connsiteY1938" fmla="*/ 292204 h 3105260"/>
              <a:gd name="connsiteX1939" fmla="*/ 680596 w 3105279"/>
              <a:gd name="connsiteY1939" fmla="*/ 268212 h 3105260"/>
              <a:gd name="connsiteX1940" fmla="*/ 685450 w 3105279"/>
              <a:gd name="connsiteY1940" fmla="*/ 264940 h 3105260"/>
              <a:gd name="connsiteX1941" fmla="*/ 701610 w 3105279"/>
              <a:gd name="connsiteY1941" fmla="*/ 288987 h 3105260"/>
              <a:gd name="connsiteX1942" fmla="*/ 696848 w 3105279"/>
              <a:gd name="connsiteY1942" fmla="*/ 292204 h 3105260"/>
              <a:gd name="connsiteX1943" fmla="*/ 2392566 w 3105279"/>
              <a:gd name="connsiteY1943" fmla="*/ 281486 h 3105260"/>
              <a:gd name="connsiteX1944" fmla="*/ 2387768 w 3105279"/>
              <a:gd name="connsiteY1944" fmla="*/ 278342 h 3105260"/>
              <a:gd name="connsiteX1945" fmla="*/ 2403634 w 3105279"/>
              <a:gd name="connsiteY1945" fmla="*/ 254093 h 3105260"/>
              <a:gd name="connsiteX1946" fmla="*/ 2408524 w 3105279"/>
              <a:gd name="connsiteY1946" fmla="*/ 257292 h 3105260"/>
              <a:gd name="connsiteX1947" fmla="*/ 2392566 w 3105279"/>
              <a:gd name="connsiteY1947" fmla="*/ 281486 h 3105260"/>
              <a:gd name="connsiteX1948" fmla="*/ 713578 w 3105279"/>
              <a:gd name="connsiteY1948" fmla="*/ 281045 h 3105260"/>
              <a:gd name="connsiteX1949" fmla="*/ 697657 w 3105279"/>
              <a:gd name="connsiteY1949" fmla="*/ 256851 h 3105260"/>
              <a:gd name="connsiteX1950" fmla="*/ 702547 w 3105279"/>
              <a:gd name="connsiteY1950" fmla="*/ 253633 h 3105260"/>
              <a:gd name="connsiteX1951" fmla="*/ 718395 w 3105279"/>
              <a:gd name="connsiteY1951" fmla="*/ 277901 h 3105260"/>
              <a:gd name="connsiteX1952" fmla="*/ 713596 w 3105279"/>
              <a:gd name="connsiteY1952" fmla="*/ 281045 h 3105260"/>
              <a:gd name="connsiteX1953" fmla="*/ 2375726 w 3105279"/>
              <a:gd name="connsiteY1953" fmla="*/ 270547 h 3105260"/>
              <a:gd name="connsiteX1954" fmla="*/ 2370891 w 3105279"/>
              <a:gd name="connsiteY1954" fmla="*/ 267458 h 3105260"/>
              <a:gd name="connsiteX1955" fmla="*/ 2386426 w 3105279"/>
              <a:gd name="connsiteY1955" fmla="*/ 243007 h 3105260"/>
              <a:gd name="connsiteX1956" fmla="*/ 2391353 w 3105279"/>
              <a:gd name="connsiteY1956" fmla="*/ 246151 h 3105260"/>
              <a:gd name="connsiteX1957" fmla="*/ 2375726 w 3105279"/>
              <a:gd name="connsiteY1957" fmla="*/ 270547 h 3105260"/>
              <a:gd name="connsiteX1958" fmla="*/ 730437 w 3105279"/>
              <a:gd name="connsiteY1958" fmla="*/ 270106 h 3105260"/>
              <a:gd name="connsiteX1959" fmla="*/ 714828 w 3105279"/>
              <a:gd name="connsiteY1959" fmla="*/ 245691 h 3105260"/>
              <a:gd name="connsiteX1960" fmla="*/ 719774 w 3105279"/>
              <a:gd name="connsiteY1960" fmla="*/ 242547 h 3105260"/>
              <a:gd name="connsiteX1961" fmla="*/ 735290 w 3105279"/>
              <a:gd name="connsiteY1961" fmla="*/ 267017 h 3105260"/>
              <a:gd name="connsiteX1962" fmla="*/ 730437 w 3105279"/>
              <a:gd name="connsiteY1962" fmla="*/ 270106 h 3105260"/>
              <a:gd name="connsiteX1963" fmla="*/ 2358757 w 3105279"/>
              <a:gd name="connsiteY1963" fmla="*/ 259829 h 3105260"/>
              <a:gd name="connsiteX1964" fmla="*/ 2353885 w 3105279"/>
              <a:gd name="connsiteY1964" fmla="*/ 256814 h 3105260"/>
              <a:gd name="connsiteX1965" fmla="*/ 2369107 w 3105279"/>
              <a:gd name="connsiteY1965" fmla="*/ 232160 h 3105260"/>
              <a:gd name="connsiteX1966" fmla="*/ 2374071 w 3105279"/>
              <a:gd name="connsiteY1966" fmla="*/ 235230 h 3105260"/>
              <a:gd name="connsiteX1967" fmla="*/ 2358757 w 3105279"/>
              <a:gd name="connsiteY1967" fmla="*/ 259829 h 3105260"/>
              <a:gd name="connsiteX1968" fmla="*/ 747461 w 3105279"/>
              <a:gd name="connsiteY1968" fmla="*/ 259388 h 3105260"/>
              <a:gd name="connsiteX1969" fmla="*/ 732183 w 3105279"/>
              <a:gd name="connsiteY1969" fmla="*/ 234771 h 3105260"/>
              <a:gd name="connsiteX1970" fmla="*/ 737166 w 3105279"/>
              <a:gd name="connsiteY1970" fmla="*/ 231700 h 3105260"/>
              <a:gd name="connsiteX1971" fmla="*/ 752370 w 3105279"/>
              <a:gd name="connsiteY1971" fmla="*/ 256373 h 3105260"/>
              <a:gd name="connsiteX1972" fmla="*/ 747479 w 3105279"/>
              <a:gd name="connsiteY1972" fmla="*/ 259406 h 3105260"/>
              <a:gd name="connsiteX1973" fmla="*/ 2341641 w 3105279"/>
              <a:gd name="connsiteY1973" fmla="*/ 249331 h 3105260"/>
              <a:gd name="connsiteX1974" fmla="*/ 2336732 w 3105279"/>
              <a:gd name="connsiteY1974" fmla="*/ 246371 h 3105260"/>
              <a:gd name="connsiteX1975" fmla="*/ 2351624 w 3105279"/>
              <a:gd name="connsiteY1975" fmla="*/ 221515 h 3105260"/>
              <a:gd name="connsiteX1976" fmla="*/ 2356624 w 3105279"/>
              <a:gd name="connsiteY1976" fmla="*/ 224530 h 3105260"/>
              <a:gd name="connsiteX1977" fmla="*/ 2341641 w 3105279"/>
              <a:gd name="connsiteY1977" fmla="*/ 249331 h 3105260"/>
              <a:gd name="connsiteX1978" fmla="*/ 764614 w 3105279"/>
              <a:gd name="connsiteY1978" fmla="*/ 248890 h 3105260"/>
              <a:gd name="connsiteX1979" fmla="*/ 749649 w 3105279"/>
              <a:gd name="connsiteY1979" fmla="*/ 224071 h 3105260"/>
              <a:gd name="connsiteX1980" fmla="*/ 754668 w 3105279"/>
              <a:gd name="connsiteY1980" fmla="*/ 221056 h 3105260"/>
              <a:gd name="connsiteX1981" fmla="*/ 769522 w 3105279"/>
              <a:gd name="connsiteY1981" fmla="*/ 245930 h 3105260"/>
              <a:gd name="connsiteX1982" fmla="*/ 764595 w 3105279"/>
              <a:gd name="connsiteY1982" fmla="*/ 248890 h 3105260"/>
              <a:gd name="connsiteX1983" fmla="*/ 2324378 w 3105279"/>
              <a:gd name="connsiteY1983" fmla="*/ 239073 h 3105260"/>
              <a:gd name="connsiteX1984" fmla="*/ 2319432 w 3105279"/>
              <a:gd name="connsiteY1984" fmla="*/ 236186 h 3105260"/>
              <a:gd name="connsiteX1985" fmla="*/ 2333993 w 3105279"/>
              <a:gd name="connsiteY1985" fmla="*/ 211128 h 3105260"/>
              <a:gd name="connsiteX1986" fmla="*/ 2339049 w 3105279"/>
              <a:gd name="connsiteY1986" fmla="*/ 214088 h 3105260"/>
              <a:gd name="connsiteX1987" fmla="*/ 2324396 w 3105279"/>
              <a:gd name="connsiteY1987" fmla="*/ 239073 h 3105260"/>
              <a:gd name="connsiteX1988" fmla="*/ 781895 w 3105279"/>
              <a:gd name="connsiteY1988" fmla="*/ 238613 h 3105260"/>
              <a:gd name="connsiteX1989" fmla="*/ 767261 w 3105279"/>
              <a:gd name="connsiteY1989" fmla="*/ 213610 h 3105260"/>
              <a:gd name="connsiteX1990" fmla="*/ 772317 w 3105279"/>
              <a:gd name="connsiteY1990" fmla="*/ 210669 h 3105260"/>
              <a:gd name="connsiteX1991" fmla="*/ 786859 w 3105279"/>
              <a:gd name="connsiteY1991" fmla="*/ 235727 h 3105260"/>
              <a:gd name="connsiteX1992" fmla="*/ 781895 w 3105279"/>
              <a:gd name="connsiteY1992" fmla="*/ 238613 h 3105260"/>
              <a:gd name="connsiteX1993" fmla="*/ 2306986 w 3105279"/>
              <a:gd name="connsiteY1993" fmla="*/ 229016 h 3105260"/>
              <a:gd name="connsiteX1994" fmla="*/ 2302004 w 3105279"/>
              <a:gd name="connsiteY1994" fmla="*/ 226203 h 3105260"/>
              <a:gd name="connsiteX1995" fmla="*/ 2316233 w 3105279"/>
              <a:gd name="connsiteY1995" fmla="*/ 200961 h 3105260"/>
              <a:gd name="connsiteX1996" fmla="*/ 2321326 w 3105279"/>
              <a:gd name="connsiteY1996" fmla="*/ 203848 h 3105260"/>
              <a:gd name="connsiteX1997" fmla="*/ 2306986 w 3105279"/>
              <a:gd name="connsiteY1997" fmla="*/ 229016 h 3105260"/>
              <a:gd name="connsiteX1998" fmla="*/ 799324 w 3105279"/>
              <a:gd name="connsiteY1998" fmla="*/ 228575 h 3105260"/>
              <a:gd name="connsiteX1999" fmla="*/ 785021 w 3105279"/>
              <a:gd name="connsiteY1999" fmla="*/ 203370 h 3105260"/>
              <a:gd name="connsiteX2000" fmla="*/ 790113 w 3105279"/>
              <a:gd name="connsiteY2000" fmla="*/ 200483 h 3105260"/>
              <a:gd name="connsiteX2001" fmla="*/ 804324 w 3105279"/>
              <a:gd name="connsiteY2001" fmla="*/ 225725 h 3105260"/>
              <a:gd name="connsiteX2002" fmla="*/ 799324 w 3105279"/>
              <a:gd name="connsiteY2002" fmla="*/ 228557 h 3105260"/>
              <a:gd name="connsiteX2003" fmla="*/ 2289465 w 3105279"/>
              <a:gd name="connsiteY2003" fmla="*/ 219217 h 3105260"/>
              <a:gd name="connsiteX2004" fmla="*/ 2284428 w 3105279"/>
              <a:gd name="connsiteY2004" fmla="*/ 216460 h 3105260"/>
              <a:gd name="connsiteX2005" fmla="*/ 2298327 w 3105279"/>
              <a:gd name="connsiteY2005" fmla="*/ 191034 h 3105260"/>
              <a:gd name="connsiteX2006" fmla="*/ 2303456 w 3105279"/>
              <a:gd name="connsiteY2006" fmla="*/ 193847 h 3105260"/>
              <a:gd name="connsiteX2007" fmla="*/ 2289465 w 3105279"/>
              <a:gd name="connsiteY2007" fmla="*/ 219217 h 3105260"/>
              <a:gd name="connsiteX2008" fmla="*/ 816881 w 3105279"/>
              <a:gd name="connsiteY2008" fmla="*/ 218758 h 3105260"/>
              <a:gd name="connsiteX2009" fmla="*/ 802890 w 3105279"/>
              <a:gd name="connsiteY2009" fmla="*/ 193387 h 3105260"/>
              <a:gd name="connsiteX2010" fmla="*/ 808001 w 3105279"/>
              <a:gd name="connsiteY2010" fmla="*/ 190574 h 3105260"/>
              <a:gd name="connsiteX2011" fmla="*/ 821882 w 3105279"/>
              <a:gd name="connsiteY2011" fmla="*/ 216000 h 3105260"/>
              <a:gd name="connsiteX2012" fmla="*/ 816863 w 3105279"/>
              <a:gd name="connsiteY2012" fmla="*/ 218739 h 3105260"/>
              <a:gd name="connsiteX2013" fmla="*/ 2271816 w 3105279"/>
              <a:gd name="connsiteY2013" fmla="*/ 209639 h 3105260"/>
              <a:gd name="connsiteX2014" fmla="*/ 2266761 w 3105279"/>
              <a:gd name="connsiteY2014" fmla="*/ 206936 h 3105260"/>
              <a:gd name="connsiteX2015" fmla="*/ 2280310 w 3105279"/>
              <a:gd name="connsiteY2015" fmla="*/ 181327 h 3105260"/>
              <a:gd name="connsiteX2016" fmla="*/ 2285476 w 3105279"/>
              <a:gd name="connsiteY2016" fmla="*/ 184066 h 3105260"/>
              <a:gd name="connsiteX2017" fmla="*/ 2271816 w 3105279"/>
              <a:gd name="connsiteY2017" fmla="*/ 209621 h 3105260"/>
              <a:gd name="connsiteX2018" fmla="*/ 834493 w 3105279"/>
              <a:gd name="connsiteY2018" fmla="*/ 209198 h 3105260"/>
              <a:gd name="connsiteX2019" fmla="*/ 820852 w 3105279"/>
              <a:gd name="connsiteY2019" fmla="*/ 183643 h 3105260"/>
              <a:gd name="connsiteX2020" fmla="*/ 826000 w 3105279"/>
              <a:gd name="connsiteY2020" fmla="*/ 180904 h 3105260"/>
              <a:gd name="connsiteX2021" fmla="*/ 839549 w 3105279"/>
              <a:gd name="connsiteY2021" fmla="*/ 206514 h 3105260"/>
              <a:gd name="connsiteX2022" fmla="*/ 834493 w 3105279"/>
              <a:gd name="connsiteY2022" fmla="*/ 209198 h 3105260"/>
              <a:gd name="connsiteX2023" fmla="*/ 2254039 w 3105279"/>
              <a:gd name="connsiteY2023" fmla="*/ 200281 h 3105260"/>
              <a:gd name="connsiteX2024" fmla="*/ 2248928 w 3105279"/>
              <a:gd name="connsiteY2024" fmla="*/ 197652 h 3105260"/>
              <a:gd name="connsiteX2025" fmla="*/ 2262146 w 3105279"/>
              <a:gd name="connsiteY2025" fmla="*/ 171877 h 3105260"/>
              <a:gd name="connsiteX2026" fmla="*/ 2267349 w 3105279"/>
              <a:gd name="connsiteY2026" fmla="*/ 174561 h 3105260"/>
              <a:gd name="connsiteX2027" fmla="*/ 2254039 w 3105279"/>
              <a:gd name="connsiteY2027" fmla="*/ 200300 h 3105260"/>
              <a:gd name="connsiteX2028" fmla="*/ 852253 w 3105279"/>
              <a:gd name="connsiteY2028" fmla="*/ 199858 h 3105260"/>
              <a:gd name="connsiteX2029" fmla="*/ 838942 w 3105279"/>
              <a:gd name="connsiteY2029" fmla="*/ 174120 h 3105260"/>
              <a:gd name="connsiteX2030" fmla="*/ 844145 w 3105279"/>
              <a:gd name="connsiteY2030" fmla="*/ 171436 h 3105260"/>
              <a:gd name="connsiteX2031" fmla="*/ 857364 w 3105279"/>
              <a:gd name="connsiteY2031" fmla="*/ 197211 h 3105260"/>
              <a:gd name="connsiteX2032" fmla="*/ 852253 w 3105279"/>
              <a:gd name="connsiteY2032" fmla="*/ 199840 h 3105260"/>
              <a:gd name="connsiteX2033" fmla="*/ 2236132 w 3105279"/>
              <a:gd name="connsiteY2033" fmla="*/ 191163 h 3105260"/>
              <a:gd name="connsiteX2034" fmla="*/ 2231003 w 3105279"/>
              <a:gd name="connsiteY2034" fmla="*/ 188607 h 3105260"/>
              <a:gd name="connsiteX2035" fmla="*/ 2243890 w 3105279"/>
              <a:gd name="connsiteY2035" fmla="*/ 162648 h 3105260"/>
              <a:gd name="connsiteX2036" fmla="*/ 2249130 w 3105279"/>
              <a:gd name="connsiteY2036" fmla="*/ 165259 h 3105260"/>
              <a:gd name="connsiteX2037" fmla="*/ 2236150 w 3105279"/>
              <a:gd name="connsiteY2037" fmla="*/ 191163 h 3105260"/>
              <a:gd name="connsiteX2038" fmla="*/ 870178 w 3105279"/>
              <a:gd name="connsiteY2038" fmla="*/ 190740 h 3105260"/>
              <a:gd name="connsiteX2039" fmla="*/ 857198 w 3105279"/>
              <a:gd name="connsiteY2039" fmla="*/ 164836 h 3105260"/>
              <a:gd name="connsiteX2040" fmla="*/ 858871 w 3105279"/>
              <a:gd name="connsiteY2040" fmla="*/ 163990 h 3105260"/>
              <a:gd name="connsiteX2041" fmla="*/ 864129 w 3105279"/>
              <a:gd name="connsiteY2041" fmla="*/ 161380 h 3105260"/>
              <a:gd name="connsiteX2042" fmla="*/ 876980 w 3105279"/>
              <a:gd name="connsiteY2042" fmla="*/ 187357 h 3105260"/>
              <a:gd name="connsiteX2043" fmla="*/ 871832 w 3105279"/>
              <a:gd name="connsiteY2043" fmla="*/ 189912 h 3105260"/>
              <a:gd name="connsiteX2044" fmla="*/ 870178 w 3105279"/>
              <a:gd name="connsiteY2044" fmla="*/ 190740 h 3105260"/>
              <a:gd name="connsiteX2045" fmla="*/ 2218115 w 3105279"/>
              <a:gd name="connsiteY2045" fmla="*/ 182283 h 3105260"/>
              <a:gd name="connsiteX2046" fmla="*/ 2212949 w 3105279"/>
              <a:gd name="connsiteY2046" fmla="*/ 179782 h 3105260"/>
              <a:gd name="connsiteX2047" fmla="*/ 2225487 w 3105279"/>
              <a:gd name="connsiteY2047" fmla="*/ 153658 h 3105260"/>
              <a:gd name="connsiteX2048" fmla="*/ 2230764 w 3105279"/>
              <a:gd name="connsiteY2048" fmla="*/ 156195 h 3105260"/>
              <a:gd name="connsiteX2049" fmla="*/ 2218115 w 3105279"/>
              <a:gd name="connsiteY2049" fmla="*/ 182264 h 3105260"/>
              <a:gd name="connsiteX2050" fmla="*/ 889923 w 3105279"/>
              <a:gd name="connsiteY2050" fmla="*/ 181014 h 3105260"/>
              <a:gd name="connsiteX2051" fmla="*/ 877311 w 3105279"/>
              <a:gd name="connsiteY2051" fmla="*/ 154927 h 3105260"/>
              <a:gd name="connsiteX2052" fmla="*/ 882606 w 3105279"/>
              <a:gd name="connsiteY2052" fmla="*/ 152371 h 3105260"/>
              <a:gd name="connsiteX2053" fmla="*/ 895126 w 3105279"/>
              <a:gd name="connsiteY2053" fmla="*/ 178514 h 3105260"/>
              <a:gd name="connsiteX2054" fmla="*/ 889941 w 3105279"/>
              <a:gd name="connsiteY2054" fmla="*/ 181014 h 3105260"/>
              <a:gd name="connsiteX2055" fmla="*/ 2199970 w 3105279"/>
              <a:gd name="connsiteY2055" fmla="*/ 173642 h 3105260"/>
              <a:gd name="connsiteX2056" fmla="*/ 2194767 w 3105279"/>
              <a:gd name="connsiteY2056" fmla="*/ 171215 h 3105260"/>
              <a:gd name="connsiteX2057" fmla="*/ 2206956 w 3105279"/>
              <a:gd name="connsiteY2057" fmla="*/ 144925 h 3105260"/>
              <a:gd name="connsiteX2058" fmla="*/ 2212250 w 3105279"/>
              <a:gd name="connsiteY2058" fmla="*/ 147389 h 3105260"/>
              <a:gd name="connsiteX2059" fmla="*/ 2199951 w 3105279"/>
              <a:gd name="connsiteY2059" fmla="*/ 173624 h 3105260"/>
              <a:gd name="connsiteX2060" fmla="*/ 908123 w 3105279"/>
              <a:gd name="connsiteY2060" fmla="*/ 172355 h 3105260"/>
              <a:gd name="connsiteX2061" fmla="*/ 895861 w 3105279"/>
              <a:gd name="connsiteY2061" fmla="*/ 146102 h 3105260"/>
              <a:gd name="connsiteX2062" fmla="*/ 901174 w 3105279"/>
              <a:gd name="connsiteY2062" fmla="*/ 143620 h 3105260"/>
              <a:gd name="connsiteX2063" fmla="*/ 913363 w 3105279"/>
              <a:gd name="connsiteY2063" fmla="*/ 169910 h 3105260"/>
              <a:gd name="connsiteX2064" fmla="*/ 908142 w 3105279"/>
              <a:gd name="connsiteY2064" fmla="*/ 172337 h 3105260"/>
              <a:gd name="connsiteX2065" fmla="*/ 2181732 w 3105279"/>
              <a:gd name="connsiteY2065" fmla="*/ 165222 h 3105260"/>
              <a:gd name="connsiteX2066" fmla="*/ 2176492 w 3105279"/>
              <a:gd name="connsiteY2066" fmla="*/ 162869 h 3105260"/>
              <a:gd name="connsiteX2067" fmla="*/ 2188350 w 3105279"/>
              <a:gd name="connsiteY2067" fmla="*/ 136432 h 3105260"/>
              <a:gd name="connsiteX2068" fmla="*/ 2193682 w 3105279"/>
              <a:gd name="connsiteY2068" fmla="*/ 138840 h 3105260"/>
              <a:gd name="connsiteX2069" fmla="*/ 2181732 w 3105279"/>
              <a:gd name="connsiteY2069" fmla="*/ 165240 h 3105260"/>
              <a:gd name="connsiteX2070" fmla="*/ 926453 w 3105279"/>
              <a:gd name="connsiteY2070" fmla="*/ 163935 h 3105260"/>
              <a:gd name="connsiteX2071" fmla="*/ 914521 w 3105279"/>
              <a:gd name="connsiteY2071" fmla="*/ 137535 h 3105260"/>
              <a:gd name="connsiteX2072" fmla="*/ 919871 w 3105279"/>
              <a:gd name="connsiteY2072" fmla="*/ 135126 h 3105260"/>
              <a:gd name="connsiteX2073" fmla="*/ 931692 w 3105279"/>
              <a:gd name="connsiteY2073" fmla="*/ 161582 h 3105260"/>
              <a:gd name="connsiteX2074" fmla="*/ 926435 w 3105279"/>
              <a:gd name="connsiteY2074" fmla="*/ 163935 h 3105260"/>
              <a:gd name="connsiteX2075" fmla="*/ 2163366 w 3105279"/>
              <a:gd name="connsiteY2075" fmla="*/ 157059 h 3105260"/>
              <a:gd name="connsiteX2076" fmla="*/ 2158108 w 3105279"/>
              <a:gd name="connsiteY2076" fmla="*/ 154761 h 3105260"/>
              <a:gd name="connsiteX2077" fmla="*/ 2169617 w 3105279"/>
              <a:gd name="connsiteY2077" fmla="*/ 128177 h 3105260"/>
              <a:gd name="connsiteX2078" fmla="*/ 2174985 w 3105279"/>
              <a:gd name="connsiteY2078" fmla="*/ 130512 h 3105260"/>
              <a:gd name="connsiteX2079" fmla="*/ 2163384 w 3105279"/>
              <a:gd name="connsiteY2079" fmla="*/ 157059 h 3105260"/>
              <a:gd name="connsiteX2080" fmla="*/ 944874 w 3105279"/>
              <a:gd name="connsiteY2080" fmla="*/ 155754 h 3105260"/>
              <a:gd name="connsiteX2081" fmla="*/ 933292 w 3105279"/>
              <a:gd name="connsiteY2081" fmla="*/ 129188 h 3105260"/>
              <a:gd name="connsiteX2082" fmla="*/ 938679 w 3105279"/>
              <a:gd name="connsiteY2082" fmla="*/ 126853 h 3105260"/>
              <a:gd name="connsiteX2083" fmla="*/ 950169 w 3105279"/>
              <a:gd name="connsiteY2083" fmla="*/ 153456 h 3105260"/>
              <a:gd name="connsiteX2084" fmla="*/ 944874 w 3105279"/>
              <a:gd name="connsiteY2084" fmla="*/ 155754 h 3105260"/>
              <a:gd name="connsiteX2085" fmla="*/ 2144889 w 3105279"/>
              <a:gd name="connsiteY2085" fmla="*/ 149135 h 3105260"/>
              <a:gd name="connsiteX2086" fmla="*/ 2139595 w 3105279"/>
              <a:gd name="connsiteY2086" fmla="*/ 146911 h 3105260"/>
              <a:gd name="connsiteX2087" fmla="*/ 2150754 w 3105279"/>
              <a:gd name="connsiteY2087" fmla="*/ 120161 h 3105260"/>
              <a:gd name="connsiteX2088" fmla="*/ 2156159 w 3105279"/>
              <a:gd name="connsiteY2088" fmla="*/ 122423 h 3105260"/>
              <a:gd name="connsiteX2089" fmla="*/ 2144908 w 3105279"/>
              <a:gd name="connsiteY2089" fmla="*/ 149117 h 3105260"/>
              <a:gd name="connsiteX2090" fmla="*/ 963406 w 3105279"/>
              <a:gd name="connsiteY2090" fmla="*/ 147812 h 3105260"/>
              <a:gd name="connsiteX2091" fmla="*/ 952173 w 3105279"/>
              <a:gd name="connsiteY2091" fmla="*/ 121099 h 3105260"/>
              <a:gd name="connsiteX2092" fmla="*/ 957596 w 3105279"/>
              <a:gd name="connsiteY2092" fmla="*/ 118838 h 3105260"/>
              <a:gd name="connsiteX2093" fmla="*/ 968737 w 3105279"/>
              <a:gd name="connsiteY2093" fmla="*/ 145587 h 3105260"/>
              <a:gd name="connsiteX2094" fmla="*/ 963424 w 3105279"/>
              <a:gd name="connsiteY2094" fmla="*/ 147812 h 3105260"/>
              <a:gd name="connsiteX2095" fmla="*/ 2126321 w 3105279"/>
              <a:gd name="connsiteY2095" fmla="*/ 141451 h 3105260"/>
              <a:gd name="connsiteX2096" fmla="*/ 2120989 w 3105279"/>
              <a:gd name="connsiteY2096" fmla="*/ 139300 h 3105260"/>
              <a:gd name="connsiteX2097" fmla="*/ 2131781 w 3105279"/>
              <a:gd name="connsiteY2097" fmla="*/ 112422 h 3105260"/>
              <a:gd name="connsiteX2098" fmla="*/ 2137205 w 3105279"/>
              <a:gd name="connsiteY2098" fmla="*/ 114609 h 3105260"/>
              <a:gd name="connsiteX2099" fmla="*/ 2126303 w 3105279"/>
              <a:gd name="connsiteY2099" fmla="*/ 141451 h 3105260"/>
              <a:gd name="connsiteX2100" fmla="*/ 982029 w 3105279"/>
              <a:gd name="connsiteY2100" fmla="*/ 140127 h 3105260"/>
              <a:gd name="connsiteX2101" fmla="*/ 971146 w 3105279"/>
              <a:gd name="connsiteY2101" fmla="*/ 113267 h 3105260"/>
              <a:gd name="connsiteX2102" fmla="*/ 976588 w 3105279"/>
              <a:gd name="connsiteY2102" fmla="*/ 111079 h 3105260"/>
              <a:gd name="connsiteX2103" fmla="*/ 987379 w 3105279"/>
              <a:gd name="connsiteY2103" fmla="*/ 137976 h 3105260"/>
              <a:gd name="connsiteX2104" fmla="*/ 982029 w 3105279"/>
              <a:gd name="connsiteY2104" fmla="*/ 140127 h 3105260"/>
              <a:gd name="connsiteX2105" fmla="*/ 2107642 w 3105279"/>
              <a:gd name="connsiteY2105" fmla="*/ 134005 h 3105260"/>
              <a:gd name="connsiteX2106" fmla="*/ 2102292 w 3105279"/>
              <a:gd name="connsiteY2106" fmla="*/ 131928 h 3105260"/>
              <a:gd name="connsiteX2107" fmla="*/ 2112735 w 3105279"/>
              <a:gd name="connsiteY2107" fmla="*/ 104902 h 3105260"/>
              <a:gd name="connsiteX2108" fmla="*/ 2118195 w 3105279"/>
              <a:gd name="connsiteY2108" fmla="*/ 107016 h 3105260"/>
              <a:gd name="connsiteX2109" fmla="*/ 2107642 w 3105279"/>
              <a:gd name="connsiteY2109" fmla="*/ 134005 h 3105260"/>
              <a:gd name="connsiteX2110" fmla="*/ 1000763 w 3105279"/>
              <a:gd name="connsiteY2110" fmla="*/ 132681 h 3105260"/>
              <a:gd name="connsiteX2111" fmla="*/ 990229 w 3105279"/>
              <a:gd name="connsiteY2111" fmla="*/ 105693 h 3105260"/>
              <a:gd name="connsiteX2112" fmla="*/ 995708 w 3105279"/>
              <a:gd name="connsiteY2112" fmla="*/ 103579 h 3105260"/>
              <a:gd name="connsiteX2113" fmla="*/ 1006132 w 3105279"/>
              <a:gd name="connsiteY2113" fmla="*/ 130604 h 3105260"/>
              <a:gd name="connsiteX2114" fmla="*/ 1000763 w 3105279"/>
              <a:gd name="connsiteY2114" fmla="*/ 132681 h 3105260"/>
              <a:gd name="connsiteX2115" fmla="*/ 2088872 w 3105279"/>
              <a:gd name="connsiteY2115" fmla="*/ 126817 h 3105260"/>
              <a:gd name="connsiteX2116" fmla="*/ 2083485 w 3105279"/>
              <a:gd name="connsiteY2116" fmla="*/ 124813 h 3105260"/>
              <a:gd name="connsiteX2117" fmla="*/ 2093578 w 3105279"/>
              <a:gd name="connsiteY2117" fmla="*/ 97659 h 3105260"/>
              <a:gd name="connsiteX2118" fmla="*/ 2099057 w 3105279"/>
              <a:gd name="connsiteY2118" fmla="*/ 99699 h 3105260"/>
              <a:gd name="connsiteX2119" fmla="*/ 2088853 w 3105279"/>
              <a:gd name="connsiteY2119" fmla="*/ 126817 h 3105260"/>
              <a:gd name="connsiteX2120" fmla="*/ 1019571 w 3105279"/>
              <a:gd name="connsiteY2120" fmla="*/ 125493 h 3105260"/>
              <a:gd name="connsiteX2121" fmla="*/ 1009404 w 3105279"/>
              <a:gd name="connsiteY2121" fmla="*/ 98357 h 3105260"/>
              <a:gd name="connsiteX2122" fmla="*/ 1014901 w 3105279"/>
              <a:gd name="connsiteY2122" fmla="*/ 96298 h 3105260"/>
              <a:gd name="connsiteX2123" fmla="*/ 1024957 w 3105279"/>
              <a:gd name="connsiteY2123" fmla="*/ 123471 h 3105260"/>
              <a:gd name="connsiteX2124" fmla="*/ 1019571 w 3105279"/>
              <a:gd name="connsiteY2124" fmla="*/ 125475 h 3105260"/>
              <a:gd name="connsiteX2125" fmla="*/ 2070009 w 3105279"/>
              <a:gd name="connsiteY2125" fmla="*/ 119867 h 3105260"/>
              <a:gd name="connsiteX2126" fmla="*/ 2064604 w 3105279"/>
              <a:gd name="connsiteY2126" fmla="*/ 117937 h 3105260"/>
              <a:gd name="connsiteX2127" fmla="*/ 2074330 w 3105279"/>
              <a:gd name="connsiteY2127" fmla="*/ 90654 h 3105260"/>
              <a:gd name="connsiteX2128" fmla="*/ 2079845 w 3105279"/>
              <a:gd name="connsiteY2128" fmla="*/ 92621 h 3105260"/>
              <a:gd name="connsiteX2129" fmla="*/ 2070009 w 3105279"/>
              <a:gd name="connsiteY2129" fmla="*/ 119867 h 3105260"/>
              <a:gd name="connsiteX2130" fmla="*/ 1038488 w 3105279"/>
              <a:gd name="connsiteY2130" fmla="*/ 118544 h 3105260"/>
              <a:gd name="connsiteX2131" fmla="*/ 1028671 w 3105279"/>
              <a:gd name="connsiteY2131" fmla="*/ 91279 h 3105260"/>
              <a:gd name="connsiteX2132" fmla="*/ 1034205 w 3105279"/>
              <a:gd name="connsiteY2132" fmla="*/ 89294 h 3105260"/>
              <a:gd name="connsiteX2133" fmla="*/ 1043912 w 3105279"/>
              <a:gd name="connsiteY2133" fmla="*/ 116595 h 3105260"/>
              <a:gd name="connsiteX2134" fmla="*/ 1038488 w 3105279"/>
              <a:gd name="connsiteY2134" fmla="*/ 118525 h 3105260"/>
              <a:gd name="connsiteX2135" fmla="*/ 2051055 w 3105279"/>
              <a:gd name="connsiteY2135" fmla="*/ 113157 h 3105260"/>
              <a:gd name="connsiteX2136" fmla="*/ 2045631 w 3105279"/>
              <a:gd name="connsiteY2136" fmla="*/ 111282 h 3105260"/>
              <a:gd name="connsiteX2137" fmla="*/ 2055007 w 3105279"/>
              <a:gd name="connsiteY2137" fmla="*/ 83870 h 3105260"/>
              <a:gd name="connsiteX2138" fmla="*/ 2060559 w 3105279"/>
              <a:gd name="connsiteY2138" fmla="*/ 85782 h 3105260"/>
              <a:gd name="connsiteX2139" fmla="*/ 2051073 w 3105279"/>
              <a:gd name="connsiteY2139" fmla="*/ 113157 h 3105260"/>
              <a:gd name="connsiteX2140" fmla="*/ 1057498 w 3105279"/>
              <a:gd name="connsiteY2140" fmla="*/ 111833 h 3105260"/>
              <a:gd name="connsiteX2141" fmla="*/ 1048048 w 3105279"/>
              <a:gd name="connsiteY2141" fmla="*/ 84440 h 3105260"/>
              <a:gd name="connsiteX2142" fmla="*/ 1053600 w 3105279"/>
              <a:gd name="connsiteY2142" fmla="*/ 82528 h 3105260"/>
              <a:gd name="connsiteX2143" fmla="*/ 1062940 w 3105279"/>
              <a:gd name="connsiteY2143" fmla="*/ 109958 h 3105260"/>
              <a:gd name="connsiteX2144" fmla="*/ 1057498 w 3105279"/>
              <a:gd name="connsiteY2144" fmla="*/ 111833 h 3105260"/>
              <a:gd name="connsiteX2145" fmla="*/ 2032008 w 3105279"/>
              <a:gd name="connsiteY2145" fmla="*/ 106704 h 3105260"/>
              <a:gd name="connsiteX2146" fmla="*/ 2026566 w 3105279"/>
              <a:gd name="connsiteY2146" fmla="*/ 104902 h 3105260"/>
              <a:gd name="connsiteX2147" fmla="*/ 2035575 w 3105279"/>
              <a:gd name="connsiteY2147" fmla="*/ 77362 h 3105260"/>
              <a:gd name="connsiteX2148" fmla="*/ 2041145 w 3105279"/>
              <a:gd name="connsiteY2148" fmla="*/ 79201 h 3105260"/>
              <a:gd name="connsiteX2149" fmla="*/ 2032008 w 3105279"/>
              <a:gd name="connsiteY2149" fmla="*/ 106704 h 3105260"/>
              <a:gd name="connsiteX2150" fmla="*/ 1076581 w 3105279"/>
              <a:gd name="connsiteY2150" fmla="*/ 105399 h 3105260"/>
              <a:gd name="connsiteX2151" fmla="*/ 1067499 w 3105279"/>
              <a:gd name="connsiteY2151" fmla="*/ 77877 h 3105260"/>
              <a:gd name="connsiteX2152" fmla="*/ 1073070 w 3105279"/>
              <a:gd name="connsiteY2152" fmla="*/ 76057 h 3105260"/>
              <a:gd name="connsiteX2153" fmla="*/ 1082060 w 3105279"/>
              <a:gd name="connsiteY2153" fmla="*/ 103597 h 3105260"/>
              <a:gd name="connsiteX2154" fmla="*/ 1076581 w 3105279"/>
              <a:gd name="connsiteY2154" fmla="*/ 105399 h 3105260"/>
              <a:gd name="connsiteX2155" fmla="*/ 2012888 w 3105279"/>
              <a:gd name="connsiteY2155" fmla="*/ 100508 h 3105260"/>
              <a:gd name="connsiteX2156" fmla="*/ 2007410 w 3105279"/>
              <a:gd name="connsiteY2156" fmla="*/ 98780 h 3105260"/>
              <a:gd name="connsiteX2157" fmla="*/ 2016069 w 3105279"/>
              <a:gd name="connsiteY2157" fmla="*/ 71130 h 3105260"/>
              <a:gd name="connsiteX2158" fmla="*/ 2021658 w 3105279"/>
              <a:gd name="connsiteY2158" fmla="*/ 72895 h 3105260"/>
              <a:gd name="connsiteX2159" fmla="*/ 2012888 w 3105279"/>
              <a:gd name="connsiteY2159" fmla="*/ 100508 h 3105260"/>
              <a:gd name="connsiteX2160" fmla="*/ 1095738 w 3105279"/>
              <a:gd name="connsiteY2160" fmla="*/ 99203 h 3105260"/>
              <a:gd name="connsiteX2161" fmla="*/ 1087024 w 3105279"/>
              <a:gd name="connsiteY2161" fmla="*/ 71571 h 3105260"/>
              <a:gd name="connsiteX2162" fmla="*/ 1092631 w 3105279"/>
              <a:gd name="connsiteY2162" fmla="*/ 69806 h 3105260"/>
              <a:gd name="connsiteX2163" fmla="*/ 1101235 w 3105279"/>
              <a:gd name="connsiteY2163" fmla="*/ 97475 h 3105260"/>
              <a:gd name="connsiteX2164" fmla="*/ 1095756 w 3105279"/>
              <a:gd name="connsiteY2164" fmla="*/ 99185 h 3105260"/>
              <a:gd name="connsiteX2165" fmla="*/ 1993676 w 3105279"/>
              <a:gd name="connsiteY2165" fmla="*/ 94552 h 3105260"/>
              <a:gd name="connsiteX2166" fmla="*/ 1988179 w 3105279"/>
              <a:gd name="connsiteY2166" fmla="*/ 92897 h 3105260"/>
              <a:gd name="connsiteX2167" fmla="*/ 1996471 w 3105279"/>
              <a:gd name="connsiteY2167" fmla="*/ 65136 h 3105260"/>
              <a:gd name="connsiteX2168" fmla="*/ 2002078 w 3105279"/>
              <a:gd name="connsiteY2168" fmla="*/ 66828 h 3105260"/>
              <a:gd name="connsiteX2169" fmla="*/ 1993676 w 3105279"/>
              <a:gd name="connsiteY2169" fmla="*/ 94552 h 3105260"/>
              <a:gd name="connsiteX2170" fmla="*/ 1114987 w 3105279"/>
              <a:gd name="connsiteY2170" fmla="*/ 93265 h 3105260"/>
              <a:gd name="connsiteX2171" fmla="*/ 1106622 w 3105279"/>
              <a:gd name="connsiteY2171" fmla="*/ 65523 h 3105260"/>
              <a:gd name="connsiteX2172" fmla="*/ 1112247 w 3105279"/>
              <a:gd name="connsiteY2172" fmla="*/ 63850 h 3105260"/>
              <a:gd name="connsiteX2173" fmla="*/ 1120484 w 3105279"/>
              <a:gd name="connsiteY2173" fmla="*/ 91629 h 3105260"/>
              <a:gd name="connsiteX2174" fmla="*/ 1114968 w 3105279"/>
              <a:gd name="connsiteY2174" fmla="*/ 93283 h 3105260"/>
              <a:gd name="connsiteX2175" fmla="*/ 1974391 w 3105279"/>
              <a:gd name="connsiteY2175" fmla="*/ 88853 h 3105260"/>
              <a:gd name="connsiteX2176" fmla="*/ 1968857 w 3105279"/>
              <a:gd name="connsiteY2176" fmla="*/ 87271 h 3105260"/>
              <a:gd name="connsiteX2177" fmla="*/ 1976781 w 3105279"/>
              <a:gd name="connsiteY2177" fmla="*/ 59400 h 3105260"/>
              <a:gd name="connsiteX2178" fmla="*/ 1982407 w 3105279"/>
              <a:gd name="connsiteY2178" fmla="*/ 61018 h 3105260"/>
              <a:gd name="connsiteX2179" fmla="*/ 1974391 w 3105279"/>
              <a:gd name="connsiteY2179" fmla="*/ 88853 h 3105260"/>
              <a:gd name="connsiteX2180" fmla="*/ 1134309 w 3105279"/>
              <a:gd name="connsiteY2180" fmla="*/ 87584 h 3105260"/>
              <a:gd name="connsiteX2181" fmla="*/ 1126330 w 3105279"/>
              <a:gd name="connsiteY2181" fmla="*/ 59731 h 3105260"/>
              <a:gd name="connsiteX2182" fmla="*/ 1131974 w 3105279"/>
              <a:gd name="connsiteY2182" fmla="*/ 58132 h 3105260"/>
              <a:gd name="connsiteX2183" fmla="*/ 1139843 w 3105279"/>
              <a:gd name="connsiteY2183" fmla="*/ 86021 h 3105260"/>
              <a:gd name="connsiteX2184" fmla="*/ 1134309 w 3105279"/>
              <a:gd name="connsiteY2184" fmla="*/ 87602 h 3105260"/>
              <a:gd name="connsiteX2185" fmla="*/ 1955032 w 3105279"/>
              <a:gd name="connsiteY2185" fmla="*/ 83411 h 3105260"/>
              <a:gd name="connsiteX2186" fmla="*/ 1949480 w 3105279"/>
              <a:gd name="connsiteY2186" fmla="*/ 81903 h 3105260"/>
              <a:gd name="connsiteX2187" fmla="*/ 1957036 w 3105279"/>
              <a:gd name="connsiteY2187" fmla="*/ 53922 h 3105260"/>
              <a:gd name="connsiteX2188" fmla="*/ 1962698 w 3105279"/>
              <a:gd name="connsiteY2188" fmla="*/ 55466 h 3105260"/>
              <a:gd name="connsiteX2189" fmla="*/ 1955032 w 3105279"/>
              <a:gd name="connsiteY2189" fmla="*/ 83411 h 3105260"/>
              <a:gd name="connsiteX2190" fmla="*/ 1153723 w 3105279"/>
              <a:gd name="connsiteY2190" fmla="*/ 82161 h 3105260"/>
              <a:gd name="connsiteX2191" fmla="*/ 1146112 w 3105279"/>
              <a:gd name="connsiteY2191" fmla="*/ 54198 h 3105260"/>
              <a:gd name="connsiteX2192" fmla="*/ 1151774 w 3105279"/>
              <a:gd name="connsiteY2192" fmla="*/ 52672 h 3105260"/>
              <a:gd name="connsiteX2193" fmla="*/ 1159275 w 3105279"/>
              <a:gd name="connsiteY2193" fmla="*/ 80653 h 3105260"/>
              <a:gd name="connsiteX2194" fmla="*/ 1153723 w 3105279"/>
              <a:gd name="connsiteY2194" fmla="*/ 82161 h 3105260"/>
              <a:gd name="connsiteX2195" fmla="*/ 1935600 w 3105279"/>
              <a:gd name="connsiteY2195" fmla="*/ 78208 h 3105260"/>
              <a:gd name="connsiteX2196" fmla="*/ 1930029 w 3105279"/>
              <a:gd name="connsiteY2196" fmla="*/ 76774 h 3105260"/>
              <a:gd name="connsiteX2197" fmla="*/ 1937217 w 3105279"/>
              <a:gd name="connsiteY2197" fmla="*/ 48701 h 3105260"/>
              <a:gd name="connsiteX2198" fmla="*/ 1942898 w 3105279"/>
              <a:gd name="connsiteY2198" fmla="*/ 50171 h 3105260"/>
              <a:gd name="connsiteX2199" fmla="*/ 1935600 w 3105279"/>
              <a:gd name="connsiteY2199" fmla="*/ 78208 h 3105260"/>
              <a:gd name="connsiteX2200" fmla="*/ 1173174 w 3105279"/>
              <a:gd name="connsiteY2200" fmla="*/ 76994 h 3105260"/>
              <a:gd name="connsiteX2201" fmla="*/ 1165930 w 3105279"/>
              <a:gd name="connsiteY2201" fmla="*/ 48940 h 3105260"/>
              <a:gd name="connsiteX2202" fmla="*/ 1171629 w 3105279"/>
              <a:gd name="connsiteY2202" fmla="*/ 47487 h 3105260"/>
              <a:gd name="connsiteX2203" fmla="*/ 1178744 w 3105279"/>
              <a:gd name="connsiteY2203" fmla="*/ 75579 h 3105260"/>
              <a:gd name="connsiteX2204" fmla="*/ 1173174 w 3105279"/>
              <a:gd name="connsiteY2204" fmla="*/ 77013 h 3105260"/>
              <a:gd name="connsiteX2205" fmla="*/ 1916094 w 3105279"/>
              <a:gd name="connsiteY2205" fmla="*/ 73281 h 3105260"/>
              <a:gd name="connsiteX2206" fmla="*/ 1910505 w 3105279"/>
              <a:gd name="connsiteY2206" fmla="*/ 71920 h 3105260"/>
              <a:gd name="connsiteX2207" fmla="*/ 1917325 w 3105279"/>
              <a:gd name="connsiteY2207" fmla="*/ 43755 h 3105260"/>
              <a:gd name="connsiteX2208" fmla="*/ 1923006 w 3105279"/>
              <a:gd name="connsiteY2208" fmla="*/ 45152 h 3105260"/>
              <a:gd name="connsiteX2209" fmla="*/ 1916075 w 3105279"/>
              <a:gd name="connsiteY2209" fmla="*/ 73281 h 3105260"/>
              <a:gd name="connsiteX2210" fmla="*/ 1192717 w 3105279"/>
              <a:gd name="connsiteY2210" fmla="*/ 72086 h 3105260"/>
              <a:gd name="connsiteX2211" fmla="*/ 1185859 w 3105279"/>
              <a:gd name="connsiteY2211" fmla="*/ 43939 h 3105260"/>
              <a:gd name="connsiteX2212" fmla="*/ 1191558 w 3105279"/>
              <a:gd name="connsiteY2212" fmla="*/ 42560 h 3105260"/>
              <a:gd name="connsiteX2213" fmla="*/ 1198324 w 3105279"/>
              <a:gd name="connsiteY2213" fmla="*/ 70725 h 3105260"/>
              <a:gd name="connsiteX2214" fmla="*/ 1192735 w 3105279"/>
              <a:gd name="connsiteY2214" fmla="*/ 72086 h 3105260"/>
              <a:gd name="connsiteX2215" fmla="*/ 1896532 w 3105279"/>
              <a:gd name="connsiteY2215" fmla="*/ 68593 h 3105260"/>
              <a:gd name="connsiteX2216" fmla="*/ 1890925 w 3105279"/>
              <a:gd name="connsiteY2216" fmla="*/ 67306 h 3105260"/>
              <a:gd name="connsiteX2217" fmla="*/ 1897378 w 3105279"/>
              <a:gd name="connsiteY2217" fmla="*/ 39067 h 3105260"/>
              <a:gd name="connsiteX2218" fmla="*/ 1903077 w 3105279"/>
              <a:gd name="connsiteY2218" fmla="*/ 40372 h 3105260"/>
              <a:gd name="connsiteX2219" fmla="*/ 1896532 w 3105279"/>
              <a:gd name="connsiteY2219" fmla="*/ 68593 h 3105260"/>
              <a:gd name="connsiteX2220" fmla="*/ 1212314 w 3105279"/>
              <a:gd name="connsiteY2220" fmla="*/ 67453 h 3105260"/>
              <a:gd name="connsiteX2221" fmla="*/ 1205825 w 3105279"/>
              <a:gd name="connsiteY2221" fmla="*/ 39214 h 3105260"/>
              <a:gd name="connsiteX2222" fmla="*/ 1211542 w 3105279"/>
              <a:gd name="connsiteY2222" fmla="*/ 37909 h 3105260"/>
              <a:gd name="connsiteX2223" fmla="*/ 1217922 w 3105279"/>
              <a:gd name="connsiteY2223" fmla="*/ 66166 h 3105260"/>
              <a:gd name="connsiteX2224" fmla="*/ 1212314 w 3105279"/>
              <a:gd name="connsiteY2224" fmla="*/ 67435 h 3105260"/>
              <a:gd name="connsiteX2225" fmla="*/ 1876916 w 3105279"/>
              <a:gd name="connsiteY2225" fmla="*/ 64180 h 3105260"/>
              <a:gd name="connsiteX2226" fmla="*/ 1871290 w 3105279"/>
              <a:gd name="connsiteY2226" fmla="*/ 62967 h 3105260"/>
              <a:gd name="connsiteX2227" fmla="*/ 1877376 w 3105279"/>
              <a:gd name="connsiteY2227" fmla="*/ 34636 h 3105260"/>
              <a:gd name="connsiteX2228" fmla="*/ 1883093 w 3105279"/>
              <a:gd name="connsiteY2228" fmla="*/ 35868 h 3105260"/>
              <a:gd name="connsiteX2229" fmla="*/ 1876916 w 3105279"/>
              <a:gd name="connsiteY2229" fmla="*/ 64180 h 3105260"/>
              <a:gd name="connsiteX2230" fmla="*/ 1231949 w 3105279"/>
              <a:gd name="connsiteY2230" fmla="*/ 63059 h 3105260"/>
              <a:gd name="connsiteX2231" fmla="*/ 1225827 w 3105279"/>
              <a:gd name="connsiteY2231" fmla="*/ 34728 h 3105260"/>
              <a:gd name="connsiteX2232" fmla="*/ 1231563 w 3105279"/>
              <a:gd name="connsiteY2232" fmla="*/ 33497 h 3105260"/>
              <a:gd name="connsiteX2233" fmla="*/ 1237575 w 3105279"/>
              <a:gd name="connsiteY2233" fmla="*/ 61846 h 3105260"/>
              <a:gd name="connsiteX2234" fmla="*/ 1231949 w 3105279"/>
              <a:gd name="connsiteY2234" fmla="*/ 63059 h 3105260"/>
              <a:gd name="connsiteX2235" fmla="*/ 1857226 w 3105279"/>
              <a:gd name="connsiteY2235" fmla="*/ 60007 h 3105260"/>
              <a:gd name="connsiteX2236" fmla="*/ 1851582 w 3105279"/>
              <a:gd name="connsiteY2236" fmla="*/ 58867 h 3105260"/>
              <a:gd name="connsiteX2237" fmla="*/ 1857300 w 3105279"/>
              <a:gd name="connsiteY2237" fmla="*/ 30463 h 3105260"/>
              <a:gd name="connsiteX2238" fmla="*/ 1863036 w 3105279"/>
              <a:gd name="connsiteY2238" fmla="*/ 31621 h 3105260"/>
              <a:gd name="connsiteX2239" fmla="*/ 1857226 w 3105279"/>
              <a:gd name="connsiteY2239" fmla="*/ 60007 h 3105260"/>
              <a:gd name="connsiteX2240" fmla="*/ 1251657 w 3105279"/>
              <a:gd name="connsiteY2240" fmla="*/ 58941 h 3105260"/>
              <a:gd name="connsiteX2241" fmla="*/ 1245921 w 3105279"/>
              <a:gd name="connsiteY2241" fmla="*/ 30537 h 3105260"/>
              <a:gd name="connsiteX2242" fmla="*/ 1251676 w 3105279"/>
              <a:gd name="connsiteY2242" fmla="*/ 29379 h 3105260"/>
              <a:gd name="connsiteX2243" fmla="*/ 1257301 w 3105279"/>
              <a:gd name="connsiteY2243" fmla="*/ 57801 h 3105260"/>
              <a:gd name="connsiteX2244" fmla="*/ 1251657 w 3105279"/>
              <a:gd name="connsiteY2244" fmla="*/ 58922 h 3105260"/>
              <a:gd name="connsiteX2245" fmla="*/ 1837481 w 3105279"/>
              <a:gd name="connsiteY2245" fmla="*/ 56110 h 3105260"/>
              <a:gd name="connsiteX2246" fmla="*/ 1831837 w 3105279"/>
              <a:gd name="connsiteY2246" fmla="*/ 55043 h 3105260"/>
              <a:gd name="connsiteX2247" fmla="*/ 1837169 w 3105279"/>
              <a:gd name="connsiteY2247" fmla="*/ 26566 h 3105260"/>
              <a:gd name="connsiteX2248" fmla="*/ 1842923 w 3105279"/>
              <a:gd name="connsiteY2248" fmla="*/ 27650 h 3105260"/>
              <a:gd name="connsiteX2249" fmla="*/ 1837481 w 3105279"/>
              <a:gd name="connsiteY2249" fmla="*/ 56110 h 3105260"/>
              <a:gd name="connsiteX2250" fmla="*/ 1271439 w 3105279"/>
              <a:gd name="connsiteY2250" fmla="*/ 55080 h 3105260"/>
              <a:gd name="connsiteX2251" fmla="*/ 1266071 w 3105279"/>
              <a:gd name="connsiteY2251" fmla="*/ 26602 h 3105260"/>
              <a:gd name="connsiteX2252" fmla="*/ 1271844 w 3105279"/>
              <a:gd name="connsiteY2252" fmla="*/ 25536 h 3105260"/>
              <a:gd name="connsiteX2253" fmla="*/ 1277102 w 3105279"/>
              <a:gd name="connsiteY2253" fmla="*/ 54032 h 3105260"/>
              <a:gd name="connsiteX2254" fmla="*/ 1271439 w 3105279"/>
              <a:gd name="connsiteY2254" fmla="*/ 55080 h 3105260"/>
              <a:gd name="connsiteX2255" fmla="*/ 1817699 w 3105279"/>
              <a:gd name="connsiteY2255" fmla="*/ 52451 h 3105260"/>
              <a:gd name="connsiteX2256" fmla="*/ 1812037 w 3105279"/>
              <a:gd name="connsiteY2256" fmla="*/ 51458 h 3105260"/>
              <a:gd name="connsiteX2257" fmla="*/ 1816982 w 3105279"/>
              <a:gd name="connsiteY2257" fmla="*/ 22907 h 3105260"/>
              <a:gd name="connsiteX2258" fmla="*/ 1822755 w 3105279"/>
              <a:gd name="connsiteY2258" fmla="*/ 23918 h 3105260"/>
              <a:gd name="connsiteX2259" fmla="*/ 1817699 w 3105279"/>
              <a:gd name="connsiteY2259" fmla="*/ 52451 h 3105260"/>
              <a:gd name="connsiteX2260" fmla="*/ 1291239 w 3105279"/>
              <a:gd name="connsiteY2260" fmla="*/ 51495 h 3105260"/>
              <a:gd name="connsiteX2261" fmla="*/ 1286257 w 3105279"/>
              <a:gd name="connsiteY2261" fmla="*/ 22962 h 3105260"/>
              <a:gd name="connsiteX2262" fmla="*/ 1292030 w 3105279"/>
              <a:gd name="connsiteY2262" fmla="*/ 21970 h 3105260"/>
              <a:gd name="connsiteX2263" fmla="*/ 1296902 w 3105279"/>
              <a:gd name="connsiteY2263" fmla="*/ 50539 h 3105260"/>
              <a:gd name="connsiteX2264" fmla="*/ 1291239 w 3105279"/>
              <a:gd name="connsiteY2264" fmla="*/ 51514 h 3105260"/>
              <a:gd name="connsiteX2265" fmla="*/ 1797863 w 3105279"/>
              <a:gd name="connsiteY2265" fmla="*/ 49068 h 3105260"/>
              <a:gd name="connsiteX2266" fmla="*/ 1792182 w 3105279"/>
              <a:gd name="connsiteY2266" fmla="*/ 48149 h 3105260"/>
              <a:gd name="connsiteX2267" fmla="*/ 1796759 w 3105279"/>
              <a:gd name="connsiteY2267" fmla="*/ 19543 h 3105260"/>
              <a:gd name="connsiteX2268" fmla="*/ 1802551 w 3105279"/>
              <a:gd name="connsiteY2268" fmla="*/ 20480 h 3105260"/>
              <a:gd name="connsiteX2269" fmla="*/ 1797863 w 3105279"/>
              <a:gd name="connsiteY2269" fmla="*/ 49068 h 3105260"/>
              <a:gd name="connsiteX2270" fmla="*/ 1311095 w 3105279"/>
              <a:gd name="connsiteY2270" fmla="*/ 48168 h 3105260"/>
              <a:gd name="connsiteX2271" fmla="*/ 1306498 w 3105279"/>
              <a:gd name="connsiteY2271" fmla="*/ 19561 h 3105260"/>
              <a:gd name="connsiteX2272" fmla="*/ 1312290 w 3105279"/>
              <a:gd name="connsiteY2272" fmla="*/ 18642 h 3105260"/>
              <a:gd name="connsiteX2273" fmla="*/ 1316775 w 3105279"/>
              <a:gd name="connsiteY2273" fmla="*/ 47267 h 3105260"/>
              <a:gd name="connsiteX2274" fmla="*/ 1311095 w 3105279"/>
              <a:gd name="connsiteY2274" fmla="*/ 48168 h 3105260"/>
              <a:gd name="connsiteX2275" fmla="*/ 1777970 w 3105279"/>
              <a:gd name="connsiteY2275" fmla="*/ 45943 h 3105260"/>
              <a:gd name="connsiteX2276" fmla="*/ 1772290 w 3105279"/>
              <a:gd name="connsiteY2276" fmla="*/ 45097 h 3105260"/>
              <a:gd name="connsiteX2277" fmla="*/ 1776500 w 3105279"/>
              <a:gd name="connsiteY2277" fmla="*/ 16436 h 3105260"/>
              <a:gd name="connsiteX2278" fmla="*/ 1782291 w 3105279"/>
              <a:gd name="connsiteY2278" fmla="*/ 17300 h 3105260"/>
              <a:gd name="connsiteX2279" fmla="*/ 1777989 w 3105279"/>
              <a:gd name="connsiteY2279" fmla="*/ 45943 h 3105260"/>
              <a:gd name="connsiteX2280" fmla="*/ 1330987 w 3105279"/>
              <a:gd name="connsiteY2280" fmla="*/ 45097 h 3105260"/>
              <a:gd name="connsiteX2281" fmla="*/ 1326758 w 3105279"/>
              <a:gd name="connsiteY2281" fmla="*/ 16436 h 3105260"/>
              <a:gd name="connsiteX2282" fmla="*/ 1332568 w 3105279"/>
              <a:gd name="connsiteY2282" fmla="*/ 15590 h 3105260"/>
              <a:gd name="connsiteX2283" fmla="*/ 1336668 w 3105279"/>
              <a:gd name="connsiteY2283" fmla="*/ 44270 h 3105260"/>
              <a:gd name="connsiteX2284" fmla="*/ 1330968 w 3105279"/>
              <a:gd name="connsiteY2284" fmla="*/ 45097 h 3105260"/>
              <a:gd name="connsiteX2285" fmla="*/ 1758042 w 3105279"/>
              <a:gd name="connsiteY2285" fmla="*/ 43075 h 3105260"/>
              <a:gd name="connsiteX2286" fmla="*/ 1752342 w 3105279"/>
              <a:gd name="connsiteY2286" fmla="*/ 42303 h 3105260"/>
              <a:gd name="connsiteX2287" fmla="*/ 1756166 w 3105279"/>
              <a:gd name="connsiteY2287" fmla="*/ 13586 h 3105260"/>
              <a:gd name="connsiteX2288" fmla="*/ 1761976 w 3105279"/>
              <a:gd name="connsiteY2288" fmla="*/ 14377 h 3105260"/>
              <a:gd name="connsiteX2289" fmla="*/ 1758042 w 3105279"/>
              <a:gd name="connsiteY2289" fmla="*/ 43075 h 3105260"/>
              <a:gd name="connsiteX2290" fmla="*/ 1350934 w 3105279"/>
              <a:gd name="connsiteY2290" fmla="*/ 42303 h 3105260"/>
              <a:gd name="connsiteX2291" fmla="*/ 1347092 w 3105279"/>
              <a:gd name="connsiteY2291" fmla="*/ 13586 h 3105260"/>
              <a:gd name="connsiteX2292" fmla="*/ 1352901 w 3105279"/>
              <a:gd name="connsiteY2292" fmla="*/ 12814 h 3105260"/>
              <a:gd name="connsiteX2293" fmla="*/ 1356633 w 3105279"/>
              <a:gd name="connsiteY2293" fmla="*/ 41549 h 3105260"/>
              <a:gd name="connsiteX2294" fmla="*/ 1350934 w 3105279"/>
              <a:gd name="connsiteY2294" fmla="*/ 42303 h 3105260"/>
              <a:gd name="connsiteX2295" fmla="*/ 1738094 w 3105279"/>
              <a:gd name="connsiteY2295" fmla="*/ 40483 h 3105260"/>
              <a:gd name="connsiteX2296" fmla="*/ 1732377 w 3105279"/>
              <a:gd name="connsiteY2296" fmla="*/ 39784 h 3105260"/>
              <a:gd name="connsiteX2297" fmla="*/ 1735815 w 3105279"/>
              <a:gd name="connsiteY2297" fmla="*/ 11012 h 3105260"/>
              <a:gd name="connsiteX2298" fmla="*/ 1741624 w 3105279"/>
              <a:gd name="connsiteY2298" fmla="*/ 11711 h 3105260"/>
              <a:gd name="connsiteX2299" fmla="*/ 1738076 w 3105279"/>
              <a:gd name="connsiteY2299" fmla="*/ 40464 h 3105260"/>
              <a:gd name="connsiteX2300" fmla="*/ 1370900 w 3105279"/>
              <a:gd name="connsiteY2300" fmla="*/ 39766 h 3105260"/>
              <a:gd name="connsiteX2301" fmla="*/ 1367443 w 3105279"/>
              <a:gd name="connsiteY2301" fmla="*/ 10994 h 3105260"/>
              <a:gd name="connsiteX2302" fmla="*/ 1373271 w 3105279"/>
              <a:gd name="connsiteY2302" fmla="*/ 10314 h 3105260"/>
              <a:gd name="connsiteX2303" fmla="*/ 1376617 w 3105279"/>
              <a:gd name="connsiteY2303" fmla="*/ 39086 h 3105260"/>
              <a:gd name="connsiteX2304" fmla="*/ 1370900 w 3105279"/>
              <a:gd name="connsiteY2304" fmla="*/ 39766 h 3105260"/>
              <a:gd name="connsiteX2305" fmla="*/ 1718110 w 3105279"/>
              <a:gd name="connsiteY2305" fmla="*/ 38148 h 3105260"/>
              <a:gd name="connsiteX2306" fmla="*/ 1712393 w 3105279"/>
              <a:gd name="connsiteY2306" fmla="*/ 37523 h 3105260"/>
              <a:gd name="connsiteX2307" fmla="*/ 1715463 w 3105279"/>
              <a:gd name="connsiteY2307" fmla="*/ 8714 h 3105260"/>
              <a:gd name="connsiteX2308" fmla="*/ 1721291 w 3105279"/>
              <a:gd name="connsiteY2308" fmla="*/ 9339 h 3105260"/>
              <a:gd name="connsiteX2309" fmla="*/ 1718129 w 3105279"/>
              <a:gd name="connsiteY2309" fmla="*/ 38148 h 3105260"/>
              <a:gd name="connsiteX2310" fmla="*/ 1390884 w 3105279"/>
              <a:gd name="connsiteY2310" fmla="*/ 37504 h 3105260"/>
              <a:gd name="connsiteX2311" fmla="*/ 1387813 w 3105279"/>
              <a:gd name="connsiteY2311" fmla="*/ 8696 h 3105260"/>
              <a:gd name="connsiteX2312" fmla="*/ 1393641 w 3105279"/>
              <a:gd name="connsiteY2312" fmla="*/ 8089 h 3105260"/>
              <a:gd name="connsiteX2313" fmla="*/ 1396601 w 3105279"/>
              <a:gd name="connsiteY2313" fmla="*/ 36916 h 3105260"/>
              <a:gd name="connsiteX2314" fmla="*/ 1390884 w 3105279"/>
              <a:gd name="connsiteY2314" fmla="*/ 37523 h 3105260"/>
              <a:gd name="connsiteX2315" fmla="*/ 1698090 w 3105279"/>
              <a:gd name="connsiteY2315" fmla="*/ 36070 h 3105260"/>
              <a:gd name="connsiteX2316" fmla="*/ 1692354 w 3105279"/>
              <a:gd name="connsiteY2316" fmla="*/ 35519 h 3105260"/>
              <a:gd name="connsiteX2317" fmla="*/ 1695038 w 3105279"/>
              <a:gd name="connsiteY2317" fmla="*/ 6674 h 3105260"/>
              <a:gd name="connsiteX2318" fmla="*/ 1700866 w 3105279"/>
              <a:gd name="connsiteY2318" fmla="*/ 7225 h 3105260"/>
              <a:gd name="connsiteX2319" fmla="*/ 1698090 w 3105279"/>
              <a:gd name="connsiteY2319" fmla="*/ 36070 h 3105260"/>
              <a:gd name="connsiteX2320" fmla="*/ 1410923 w 3105279"/>
              <a:gd name="connsiteY2320" fmla="*/ 35501 h 3105260"/>
              <a:gd name="connsiteX2321" fmla="*/ 1408239 w 3105279"/>
              <a:gd name="connsiteY2321" fmla="*/ 6655 h 3105260"/>
              <a:gd name="connsiteX2322" fmla="*/ 1414085 w 3105279"/>
              <a:gd name="connsiteY2322" fmla="*/ 6122 h 3105260"/>
              <a:gd name="connsiteX2323" fmla="*/ 1416659 w 3105279"/>
              <a:gd name="connsiteY2323" fmla="*/ 34986 h 3105260"/>
              <a:gd name="connsiteX2324" fmla="*/ 1410941 w 3105279"/>
              <a:gd name="connsiteY2324" fmla="*/ 35501 h 3105260"/>
              <a:gd name="connsiteX2325" fmla="*/ 1678032 w 3105279"/>
              <a:gd name="connsiteY2325" fmla="*/ 34250 h 3105260"/>
              <a:gd name="connsiteX2326" fmla="*/ 1672296 w 3105279"/>
              <a:gd name="connsiteY2326" fmla="*/ 33772 h 3105260"/>
              <a:gd name="connsiteX2327" fmla="*/ 1674612 w 3105279"/>
              <a:gd name="connsiteY2327" fmla="*/ 4890 h 3105260"/>
              <a:gd name="connsiteX2328" fmla="*/ 1680440 w 3105279"/>
              <a:gd name="connsiteY2328" fmla="*/ 5368 h 3105260"/>
              <a:gd name="connsiteX2329" fmla="*/ 1678032 w 3105279"/>
              <a:gd name="connsiteY2329" fmla="*/ 34250 h 3105260"/>
              <a:gd name="connsiteX2330" fmla="*/ 1430980 w 3105279"/>
              <a:gd name="connsiteY2330" fmla="*/ 33772 h 3105260"/>
              <a:gd name="connsiteX2331" fmla="*/ 1428664 w 3105279"/>
              <a:gd name="connsiteY2331" fmla="*/ 4890 h 3105260"/>
              <a:gd name="connsiteX2332" fmla="*/ 1434510 w 3105279"/>
              <a:gd name="connsiteY2332" fmla="*/ 4431 h 3105260"/>
              <a:gd name="connsiteX2333" fmla="*/ 1436698 w 3105279"/>
              <a:gd name="connsiteY2333" fmla="*/ 33313 h 3105260"/>
              <a:gd name="connsiteX2334" fmla="*/ 1430962 w 3105279"/>
              <a:gd name="connsiteY2334" fmla="*/ 33754 h 3105260"/>
              <a:gd name="connsiteX2335" fmla="*/ 1657956 w 3105279"/>
              <a:gd name="connsiteY2335" fmla="*/ 32706 h 3105260"/>
              <a:gd name="connsiteX2336" fmla="*/ 1652202 w 3105279"/>
              <a:gd name="connsiteY2336" fmla="*/ 32320 h 3105260"/>
              <a:gd name="connsiteX2337" fmla="*/ 1654132 w 3105279"/>
              <a:gd name="connsiteY2337" fmla="*/ 3420 h 3105260"/>
              <a:gd name="connsiteX2338" fmla="*/ 1659978 w 3105279"/>
              <a:gd name="connsiteY2338" fmla="*/ 3824 h 3105260"/>
              <a:gd name="connsiteX2339" fmla="*/ 1657956 w 3105279"/>
              <a:gd name="connsiteY2339" fmla="*/ 32724 h 3105260"/>
              <a:gd name="connsiteX2340" fmla="*/ 1451038 w 3105279"/>
              <a:gd name="connsiteY2340" fmla="*/ 32302 h 3105260"/>
              <a:gd name="connsiteX2341" fmla="*/ 1449126 w 3105279"/>
              <a:gd name="connsiteY2341" fmla="*/ 3383 h 3105260"/>
              <a:gd name="connsiteX2342" fmla="*/ 1454972 w 3105279"/>
              <a:gd name="connsiteY2342" fmla="*/ 3015 h 3105260"/>
              <a:gd name="connsiteX2343" fmla="*/ 1456792 w 3105279"/>
              <a:gd name="connsiteY2343" fmla="*/ 31934 h 3105260"/>
              <a:gd name="connsiteX2344" fmla="*/ 1451056 w 3105279"/>
              <a:gd name="connsiteY2344" fmla="*/ 32302 h 3105260"/>
              <a:gd name="connsiteX2345" fmla="*/ 1637862 w 3105279"/>
              <a:gd name="connsiteY2345" fmla="*/ 31438 h 3105260"/>
              <a:gd name="connsiteX2346" fmla="*/ 1632107 w 3105279"/>
              <a:gd name="connsiteY2346" fmla="*/ 31125 h 3105260"/>
              <a:gd name="connsiteX2347" fmla="*/ 1633633 w 3105279"/>
              <a:gd name="connsiteY2347" fmla="*/ 2188 h 3105260"/>
              <a:gd name="connsiteX2348" fmla="*/ 1639480 w 3105279"/>
              <a:gd name="connsiteY2348" fmla="*/ 2519 h 3105260"/>
              <a:gd name="connsiteX2349" fmla="*/ 1637843 w 3105279"/>
              <a:gd name="connsiteY2349" fmla="*/ 31438 h 3105260"/>
              <a:gd name="connsiteX2350" fmla="*/ 1471132 w 3105279"/>
              <a:gd name="connsiteY2350" fmla="*/ 31107 h 3105260"/>
              <a:gd name="connsiteX2351" fmla="*/ 1469588 w 3105279"/>
              <a:gd name="connsiteY2351" fmla="*/ 2169 h 3105260"/>
              <a:gd name="connsiteX2352" fmla="*/ 1475453 w 3105279"/>
              <a:gd name="connsiteY2352" fmla="*/ 1875 h 3105260"/>
              <a:gd name="connsiteX2353" fmla="*/ 1476868 w 3105279"/>
              <a:gd name="connsiteY2353" fmla="*/ 30813 h 3105260"/>
              <a:gd name="connsiteX2354" fmla="*/ 1471132 w 3105279"/>
              <a:gd name="connsiteY2354" fmla="*/ 31107 h 3105260"/>
              <a:gd name="connsiteX2355" fmla="*/ 1617731 w 3105279"/>
              <a:gd name="connsiteY2355" fmla="*/ 30426 h 3105260"/>
              <a:gd name="connsiteX2356" fmla="*/ 1611995 w 3105279"/>
              <a:gd name="connsiteY2356" fmla="*/ 30187 h 3105260"/>
              <a:gd name="connsiteX2357" fmla="*/ 1613153 w 3105279"/>
              <a:gd name="connsiteY2357" fmla="*/ 1232 h 3105260"/>
              <a:gd name="connsiteX2358" fmla="*/ 1619018 w 3105279"/>
              <a:gd name="connsiteY2358" fmla="*/ 1471 h 3105260"/>
              <a:gd name="connsiteX2359" fmla="*/ 1617731 w 3105279"/>
              <a:gd name="connsiteY2359" fmla="*/ 30408 h 3105260"/>
              <a:gd name="connsiteX2360" fmla="*/ 1491245 w 3105279"/>
              <a:gd name="connsiteY2360" fmla="*/ 30169 h 3105260"/>
              <a:gd name="connsiteX2361" fmla="*/ 1490087 w 3105279"/>
              <a:gd name="connsiteY2361" fmla="*/ 1213 h 3105260"/>
              <a:gd name="connsiteX2362" fmla="*/ 1495951 w 3105279"/>
              <a:gd name="connsiteY2362" fmla="*/ 993 h 3105260"/>
              <a:gd name="connsiteX2363" fmla="*/ 1496981 w 3105279"/>
              <a:gd name="connsiteY2363" fmla="*/ 29948 h 3105260"/>
              <a:gd name="connsiteX2364" fmla="*/ 1491245 w 3105279"/>
              <a:gd name="connsiteY2364" fmla="*/ 30169 h 3105260"/>
              <a:gd name="connsiteX2365" fmla="*/ 1597600 w 3105279"/>
              <a:gd name="connsiteY2365" fmla="*/ 29673 h 3105260"/>
              <a:gd name="connsiteX2366" fmla="*/ 1591845 w 3105279"/>
              <a:gd name="connsiteY2366" fmla="*/ 29507 h 3105260"/>
              <a:gd name="connsiteX2367" fmla="*/ 1592617 w 3105279"/>
              <a:gd name="connsiteY2367" fmla="*/ 552 h 3105260"/>
              <a:gd name="connsiteX2368" fmla="*/ 1598482 w 3105279"/>
              <a:gd name="connsiteY2368" fmla="*/ 717 h 3105260"/>
              <a:gd name="connsiteX2369" fmla="*/ 1597600 w 3105279"/>
              <a:gd name="connsiteY2369" fmla="*/ 29673 h 3105260"/>
              <a:gd name="connsiteX2370" fmla="*/ 1511358 w 3105279"/>
              <a:gd name="connsiteY2370" fmla="*/ 29507 h 3105260"/>
              <a:gd name="connsiteX2371" fmla="*/ 1510604 w 3105279"/>
              <a:gd name="connsiteY2371" fmla="*/ 552 h 3105260"/>
              <a:gd name="connsiteX2372" fmla="*/ 1516468 w 3105279"/>
              <a:gd name="connsiteY2372" fmla="*/ 404 h 3105260"/>
              <a:gd name="connsiteX2373" fmla="*/ 1517130 w 3105279"/>
              <a:gd name="connsiteY2373" fmla="*/ 29379 h 3105260"/>
              <a:gd name="connsiteX2374" fmla="*/ 1511376 w 3105279"/>
              <a:gd name="connsiteY2374" fmla="*/ 29526 h 3105260"/>
              <a:gd name="connsiteX2375" fmla="*/ 1577468 w 3105279"/>
              <a:gd name="connsiteY2375" fmla="*/ 29195 h 3105260"/>
              <a:gd name="connsiteX2376" fmla="*/ 1571714 w 3105279"/>
              <a:gd name="connsiteY2376" fmla="*/ 29103 h 3105260"/>
              <a:gd name="connsiteX2377" fmla="*/ 1572100 w 3105279"/>
              <a:gd name="connsiteY2377" fmla="*/ 129 h 3105260"/>
              <a:gd name="connsiteX2378" fmla="*/ 1577965 w 3105279"/>
              <a:gd name="connsiteY2378" fmla="*/ 221 h 3105260"/>
              <a:gd name="connsiteX2379" fmla="*/ 1577468 w 3105279"/>
              <a:gd name="connsiteY2379" fmla="*/ 29195 h 3105260"/>
              <a:gd name="connsiteX2380" fmla="*/ 1531470 w 3105279"/>
              <a:gd name="connsiteY2380" fmla="*/ 29103 h 3105260"/>
              <a:gd name="connsiteX2381" fmla="*/ 1531084 w 3105279"/>
              <a:gd name="connsiteY2381" fmla="*/ 129 h 3105260"/>
              <a:gd name="connsiteX2382" fmla="*/ 1536949 w 3105279"/>
              <a:gd name="connsiteY2382" fmla="*/ 55 h 3105260"/>
              <a:gd name="connsiteX2383" fmla="*/ 1537206 w 3105279"/>
              <a:gd name="connsiteY2383" fmla="*/ 29029 h 3105260"/>
              <a:gd name="connsiteX2384" fmla="*/ 1531470 w 3105279"/>
              <a:gd name="connsiteY2384" fmla="*/ 29103 h 3105260"/>
              <a:gd name="connsiteX2385" fmla="*/ 1557319 w 3105279"/>
              <a:gd name="connsiteY2385" fmla="*/ 28992 h 3105260"/>
              <a:gd name="connsiteX2386" fmla="*/ 1551565 w 3105279"/>
              <a:gd name="connsiteY2386" fmla="*/ 28992 h 3105260"/>
              <a:gd name="connsiteX2387" fmla="*/ 1551565 w 3105279"/>
              <a:gd name="connsiteY2387" fmla="*/ 0 h 3105260"/>
              <a:gd name="connsiteX2388" fmla="*/ 1557429 w 3105279"/>
              <a:gd name="connsiteY2388" fmla="*/ 0 h 3105260"/>
              <a:gd name="connsiteX2389" fmla="*/ 1557301 w 3105279"/>
              <a:gd name="connsiteY2389" fmla="*/ 28974 h 310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Lst>
            <a:rect l="l" t="t" r="r" b="b"/>
            <a:pathLst>
              <a:path w="3105279" h="3105260">
                <a:moveTo>
                  <a:pt x="1553936" y="3105261"/>
                </a:moveTo>
                <a:cubicBezTo>
                  <a:pt x="1552135" y="3105261"/>
                  <a:pt x="1550425" y="3105261"/>
                  <a:pt x="1548715" y="3105261"/>
                </a:cubicBezTo>
                <a:lnTo>
                  <a:pt x="1548807" y="3076286"/>
                </a:lnTo>
                <a:cubicBezTo>
                  <a:pt x="1550498" y="3076286"/>
                  <a:pt x="1552171" y="3076286"/>
                  <a:pt x="1553844" y="3076286"/>
                </a:cubicBezTo>
                <a:lnTo>
                  <a:pt x="1554561" y="3076286"/>
                </a:lnTo>
                <a:cubicBezTo>
                  <a:pt x="1554561" y="3076286"/>
                  <a:pt x="1554561" y="3105261"/>
                  <a:pt x="1554561" y="3105261"/>
                </a:cubicBezTo>
                <a:lnTo>
                  <a:pt x="1553936" y="3105261"/>
                </a:lnTo>
                <a:close/>
                <a:moveTo>
                  <a:pt x="1569195" y="3105187"/>
                </a:moveTo>
                <a:lnTo>
                  <a:pt x="1568920" y="3076213"/>
                </a:lnTo>
                <a:cubicBezTo>
                  <a:pt x="1570832" y="3076213"/>
                  <a:pt x="1572744" y="3076176"/>
                  <a:pt x="1574656" y="3076139"/>
                </a:cubicBezTo>
                <a:lnTo>
                  <a:pt x="1575060" y="3105113"/>
                </a:lnTo>
                <a:cubicBezTo>
                  <a:pt x="1573111" y="3105132"/>
                  <a:pt x="1571144" y="3105169"/>
                  <a:pt x="1569195" y="3105187"/>
                </a:cubicBezTo>
                <a:close/>
                <a:moveTo>
                  <a:pt x="1534044" y="3105150"/>
                </a:moveTo>
                <a:cubicBezTo>
                  <a:pt x="1532095" y="3105132"/>
                  <a:pt x="1530128" y="3105095"/>
                  <a:pt x="1528179" y="3105058"/>
                </a:cubicBezTo>
                <a:lnTo>
                  <a:pt x="1528657" y="3076084"/>
                </a:lnTo>
                <a:cubicBezTo>
                  <a:pt x="1530569" y="3076121"/>
                  <a:pt x="1532500" y="3076139"/>
                  <a:pt x="1534412" y="3076176"/>
                </a:cubicBezTo>
                <a:lnTo>
                  <a:pt x="1534026" y="3105150"/>
                </a:lnTo>
                <a:close/>
                <a:moveTo>
                  <a:pt x="1589713" y="3104856"/>
                </a:moveTo>
                <a:lnTo>
                  <a:pt x="1589032" y="3075882"/>
                </a:lnTo>
                <a:cubicBezTo>
                  <a:pt x="1590944" y="3075845"/>
                  <a:pt x="1592875" y="3075790"/>
                  <a:pt x="1594787" y="3075735"/>
                </a:cubicBezTo>
                <a:lnTo>
                  <a:pt x="1595577" y="3104691"/>
                </a:lnTo>
                <a:cubicBezTo>
                  <a:pt x="1593628" y="3104746"/>
                  <a:pt x="1591680" y="3104801"/>
                  <a:pt x="1589713" y="3104838"/>
                </a:cubicBezTo>
                <a:close/>
                <a:moveTo>
                  <a:pt x="1513527" y="3104746"/>
                </a:moveTo>
                <a:cubicBezTo>
                  <a:pt x="1511578" y="3104691"/>
                  <a:pt x="1509611" y="3104635"/>
                  <a:pt x="1507662" y="3104580"/>
                </a:cubicBezTo>
                <a:lnTo>
                  <a:pt x="1508526" y="3075624"/>
                </a:lnTo>
                <a:cubicBezTo>
                  <a:pt x="1510438" y="3075680"/>
                  <a:pt x="1512369" y="3075735"/>
                  <a:pt x="1514281" y="3075790"/>
                </a:cubicBezTo>
                <a:lnTo>
                  <a:pt x="1513527" y="3104746"/>
                </a:lnTo>
                <a:close/>
                <a:moveTo>
                  <a:pt x="1610211" y="3104249"/>
                </a:moveTo>
                <a:lnTo>
                  <a:pt x="1609145" y="3075294"/>
                </a:lnTo>
                <a:cubicBezTo>
                  <a:pt x="1611057" y="3075220"/>
                  <a:pt x="1612969" y="3075147"/>
                  <a:pt x="1614899" y="3075073"/>
                </a:cubicBezTo>
                <a:lnTo>
                  <a:pt x="1616058" y="3104029"/>
                </a:lnTo>
                <a:cubicBezTo>
                  <a:pt x="1614109" y="3104102"/>
                  <a:pt x="1612160" y="3104176"/>
                  <a:pt x="1610193" y="3104249"/>
                </a:cubicBezTo>
                <a:close/>
                <a:moveTo>
                  <a:pt x="1493010" y="3104065"/>
                </a:moveTo>
                <a:cubicBezTo>
                  <a:pt x="1491061" y="3103992"/>
                  <a:pt x="1489112" y="3103900"/>
                  <a:pt x="1487145" y="3103826"/>
                </a:cubicBezTo>
                <a:lnTo>
                  <a:pt x="1488395" y="3074871"/>
                </a:lnTo>
                <a:cubicBezTo>
                  <a:pt x="1490307" y="3074963"/>
                  <a:pt x="1492238" y="3075036"/>
                  <a:pt x="1494150" y="3075110"/>
                </a:cubicBezTo>
                <a:lnTo>
                  <a:pt x="1493010" y="3104065"/>
                </a:lnTo>
                <a:close/>
                <a:moveTo>
                  <a:pt x="1630692" y="3103348"/>
                </a:moveTo>
                <a:lnTo>
                  <a:pt x="1629258" y="3074411"/>
                </a:lnTo>
                <a:cubicBezTo>
                  <a:pt x="1631170" y="3074319"/>
                  <a:pt x="1633082" y="3074209"/>
                  <a:pt x="1635012" y="3074117"/>
                </a:cubicBezTo>
                <a:lnTo>
                  <a:pt x="1636556" y="3103054"/>
                </a:lnTo>
                <a:cubicBezTo>
                  <a:pt x="1634608" y="3103165"/>
                  <a:pt x="1632659" y="3103256"/>
                  <a:pt x="1630710" y="3103348"/>
                </a:cubicBezTo>
                <a:close/>
                <a:moveTo>
                  <a:pt x="1472511" y="3103128"/>
                </a:moveTo>
                <a:cubicBezTo>
                  <a:pt x="1470562" y="3103017"/>
                  <a:pt x="1468595" y="3102926"/>
                  <a:pt x="1466646" y="3102815"/>
                </a:cubicBezTo>
                <a:lnTo>
                  <a:pt x="1468301" y="3073896"/>
                </a:lnTo>
                <a:cubicBezTo>
                  <a:pt x="1470213" y="3074007"/>
                  <a:pt x="1472125" y="3074117"/>
                  <a:pt x="1474037" y="3074209"/>
                </a:cubicBezTo>
                <a:lnTo>
                  <a:pt x="1472511" y="3103146"/>
                </a:lnTo>
                <a:close/>
                <a:moveTo>
                  <a:pt x="1651172" y="3102209"/>
                </a:moveTo>
                <a:lnTo>
                  <a:pt x="1649352" y="3073290"/>
                </a:lnTo>
                <a:cubicBezTo>
                  <a:pt x="1651264" y="3073161"/>
                  <a:pt x="1653176" y="3073051"/>
                  <a:pt x="1655088" y="3072922"/>
                </a:cubicBezTo>
                <a:lnTo>
                  <a:pt x="1657018" y="3101822"/>
                </a:lnTo>
                <a:cubicBezTo>
                  <a:pt x="1655070" y="3101951"/>
                  <a:pt x="1653121" y="3102080"/>
                  <a:pt x="1651172" y="3102209"/>
                </a:cubicBezTo>
                <a:close/>
                <a:moveTo>
                  <a:pt x="1452031" y="3101914"/>
                </a:moveTo>
                <a:cubicBezTo>
                  <a:pt x="1450082" y="3101786"/>
                  <a:pt x="1448133" y="3101657"/>
                  <a:pt x="1446184" y="3101510"/>
                </a:cubicBezTo>
                <a:lnTo>
                  <a:pt x="1448188" y="3072610"/>
                </a:lnTo>
                <a:cubicBezTo>
                  <a:pt x="1450100" y="3072738"/>
                  <a:pt x="1452012" y="3072867"/>
                  <a:pt x="1453924" y="3072996"/>
                </a:cubicBezTo>
                <a:lnTo>
                  <a:pt x="1452012" y="3101914"/>
                </a:lnTo>
                <a:close/>
                <a:moveTo>
                  <a:pt x="1671634" y="3100775"/>
                </a:moveTo>
                <a:lnTo>
                  <a:pt x="1669428" y="3071893"/>
                </a:lnTo>
                <a:cubicBezTo>
                  <a:pt x="1671340" y="3071745"/>
                  <a:pt x="1673252" y="3071598"/>
                  <a:pt x="1675146" y="3071433"/>
                </a:cubicBezTo>
                <a:lnTo>
                  <a:pt x="1677480" y="3100315"/>
                </a:lnTo>
                <a:cubicBezTo>
                  <a:pt x="1675532" y="3100480"/>
                  <a:pt x="1673583" y="3100628"/>
                  <a:pt x="1671634" y="3100775"/>
                </a:cubicBezTo>
                <a:close/>
                <a:moveTo>
                  <a:pt x="1431550" y="3100425"/>
                </a:moveTo>
                <a:cubicBezTo>
                  <a:pt x="1429601" y="3100278"/>
                  <a:pt x="1427653" y="3100113"/>
                  <a:pt x="1425704" y="3099947"/>
                </a:cubicBezTo>
                <a:lnTo>
                  <a:pt x="1428094" y="3071065"/>
                </a:lnTo>
                <a:cubicBezTo>
                  <a:pt x="1430006" y="3071231"/>
                  <a:pt x="1431918" y="3071378"/>
                  <a:pt x="1433830" y="3071525"/>
                </a:cubicBezTo>
                <a:lnTo>
                  <a:pt x="1431550" y="3100407"/>
                </a:lnTo>
                <a:close/>
                <a:moveTo>
                  <a:pt x="1692078" y="3099065"/>
                </a:moveTo>
                <a:lnTo>
                  <a:pt x="1689485" y="3070201"/>
                </a:lnTo>
                <a:cubicBezTo>
                  <a:pt x="1691398" y="3070036"/>
                  <a:pt x="1693291" y="3069852"/>
                  <a:pt x="1695203" y="3069668"/>
                </a:cubicBezTo>
                <a:lnTo>
                  <a:pt x="1697906" y="3098513"/>
                </a:lnTo>
                <a:cubicBezTo>
                  <a:pt x="1695957" y="3098697"/>
                  <a:pt x="1694008" y="3098881"/>
                  <a:pt x="1692059" y="3099047"/>
                </a:cubicBezTo>
                <a:close/>
                <a:moveTo>
                  <a:pt x="1411107" y="3098679"/>
                </a:moveTo>
                <a:cubicBezTo>
                  <a:pt x="1409158" y="3098495"/>
                  <a:pt x="1407209" y="3098311"/>
                  <a:pt x="1405279" y="3098127"/>
                </a:cubicBezTo>
                <a:lnTo>
                  <a:pt x="1408055" y="3069282"/>
                </a:lnTo>
                <a:cubicBezTo>
                  <a:pt x="1409967" y="3069466"/>
                  <a:pt x="1411879" y="3069649"/>
                  <a:pt x="1413791" y="3069815"/>
                </a:cubicBezTo>
                <a:lnTo>
                  <a:pt x="1411125" y="3098660"/>
                </a:lnTo>
                <a:close/>
                <a:moveTo>
                  <a:pt x="1712503" y="3097098"/>
                </a:moveTo>
                <a:lnTo>
                  <a:pt x="1709543" y="3068271"/>
                </a:lnTo>
                <a:cubicBezTo>
                  <a:pt x="1711455" y="3068068"/>
                  <a:pt x="1713349" y="3067866"/>
                  <a:pt x="1715261" y="3067664"/>
                </a:cubicBezTo>
                <a:lnTo>
                  <a:pt x="1718349" y="3096473"/>
                </a:lnTo>
                <a:cubicBezTo>
                  <a:pt x="1716401" y="3096675"/>
                  <a:pt x="1714452" y="3096877"/>
                  <a:pt x="1712521" y="3097079"/>
                </a:cubicBezTo>
                <a:close/>
                <a:moveTo>
                  <a:pt x="1390700" y="3096656"/>
                </a:moveTo>
                <a:cubicBezTo>
                  <a:pt x="1388751" y="3096454"/>
                  <a:pt x="1386821" y="3096234"/>
                  <a:pt x="1384872" y="3096031"/>
                </a:cubicBezTo>
                <a:lnTo>
                  <a:pt x="1388034" y="3067223"/>
                </a:lnTo>
                <a:cubicBezTo>
                  <a:pt x="1389946" y="3067425"/>
                  <a:pt x="1391840" y="3067646"/>
                  <a:pt x="1393752" y="3067848"/>
                </a:cubicBezTo>
                <a:lnTo>
                  <a:pt x="1390700" y="3096656"/>
                </a:lnTo>
                <a:close/>
                <a:moveTo>
                  <a:pt x="1732891" y="3094855"/>
                </a:moveTo>
                <a:lnTo>
                  <a:pt x="1729527" y="3066083"/>
                </a:lnTo>
                <a:cubicBezTo>
                  <a:pt x="1731439" y="3065862"/>
                  <a:pt x="1733333" y="3065642"/>
                  <a:pt x="1735245" y="3065403"/>
                </a:cubicBezTo>
                <a:lnTo>
                  <a:pt x="1738719" y="3094175"/>
                </a:lnTo>
                <a:cubicBezTo>
                  <a:pt x="1736789" y="3094414"/>
                  <a:pt x="1734840" y="3094634"/>
                  <a:pt x="1732910" y="3094873"/>
                </a:cubicBezTo>
                <a:close/>
                <a:moveTo>
                  <a:pt x="1370311" y="3094358"/>
                </a:moveTo>
                <a:cubicBezTo>
                  <a:pt x="1368363" y="3094119"/>
                  <a:pt x="1366432" y="3093899"/>
                  <a:pt x="1364483" y="3093641"/>
                </a:cubicBezTo>
                <a:lnTo>
                  <a:pt x="1368032" y="3064888"/>
                </a:lnTo>
                <a:cubicBezTo>
                  <a:pt x="1369925" y="3065127"/>
                  <a:pt x="1371837" y="3065348"/>
                  <a:pt x="1373731" y="3065587"/>
                </a:cubicBezTo>
                <a:lnTo>
                  <a:pt x="1370293" y="3094358"/>
                </a:lnTo>
                <a:close/>
                <a:moveTo>
                  <a:pt x="1753262" y="3092336"/>
                </a:moveTo>
                <a:lnTo>
                  <a:pt x="1749511" y="3063601"/>
                </a:lnTo>
                <a:cubicBezTo>
                  <a:pt x="1751405" y="3063362"/>
                  <a:pt x="1753317" y="3063105"/>
                  <a:pt x="1755210" y="3062847"/>
                </a:cubicBezTo>
                <a:lnTo>
                  <a:pt x="1759071" y="3091564"/>
                </a:lnTo>
                <a:cubicBezTo>
                  <a:pt x="1757141" y="3091821"/>
                  <a:pt x="1755192" y="3092079"/>
                  <a:pt x="1753262" y="3092336"/>
                </a:cubicBezTo>
                <a:close/>
                <a:moveTo>
                  <a:pt x="1349960" y="3091803"/>
                </a:moveTo>
                <a:cubicBezTo>
                  <a:pt x="1348029" y="3091546"/>
                  <a:pt x="1346080" y="3091288"/>
                  <a:pt x="1344150" y="3091031"/>
                </a:cubicBezTo>
                <a:lnTo>
                  <a:pt x="1348066" y="3062314"/>
                </a:lnTo>
                <a:cubicBezTo>
                  <a:pt x="1349960" y="3062571"/>
                  <a:pt x="1351872" y="3062829"/>
                  <a:pt x="1353765" y="3063086"/>
                </a:cubicBezTo>
                <a:lnTo>
                  <a:pt x="1349960" y="3091803"/>
                </a:lnTo>
                <a:close/>
                <a:moveTo>
                  <a:pt x="1773576" y="3089560"/>
                </a:moveTo>
                <a:lnTo>
                  <a:pt x="1769440" y="3060880"/>
                </a:lnTo>
                <a:cubicBezTo>
                  <a:pt x="1771334" y="3060604"/>
                  <a:pt x="1773246" y="3060329"/>
                  <a:pt x="1775139" y="3060053"/>
                </a:cubicBezTo>
                <a:lnTo>
                  <a:pt x="1779368" y="3088714"/>
                </a:lnTo>
                <a:cubicBezTo>
                  <a:pt x="1777437" y="3089008"/>
                  <a:pt x="1775507" y="3089284"/>
                  <a:pt x="1773576" y="3089560"/>
                </a:cubicBezTo>
                <a:close/>
                <a:moveTo>
                  <a:pt x="1329645" y="3088972"/>
                </a:moveTo>
                <a:cubicBezTo>
                  <a:pt x="1327714" y="3088696"/>
                  <a:pt x="1325784" y="3088402"/>
                  <a:pt x="1323853" y="3088108"/>
                </a:cubicBezTo>
                <a:lnTo>
                  <a:pt x="1328155" y="3059446"/>
                </a:lnTo>
                <a:cubicBezTo>
                  <a:pt x="1330049" y="3059740"/>
                  <a:pt x="1331943" y="3060016"/>
                  <a:pt x="1333836" y="3060292"/>
                </a:cubicBezTo>
                <a:lnTo>
                  <a:pt x="1329645" y="3088953"/>
                </a:lnTo>
                <a:close/>
                <a:moveTo>
                  <a:pt x="1793855" y="3086490"/>
                </a:moveTo>
                <a:lnTo>
                  <a:pt x="1789351" y="3057865"/>
                </a:lnTo>
                <a:cubicBezTo>
                  <a:pt x="1791244" y="3057571"/>
                  <a:pt x="1793138" y="3057258"/>
                  <a:pt x="1795031" y="3056964"/>
                </a:cubicBezTo>
                <a:lnTo>
                  <a:pt x="1799646" y="3085571"/>
                </a:lnTo>
                <a:cubicBezTo>
                  <a:pt x="1797715" y="3085883"/>
                  <a:pt x="1795785" y="3086196"/>
                  <a:pt x="1793855" y="3086490"/>
                </a:cubicBezTo>
                <a:close/>
                <a:moveTo>
                  <a:pt x="1309385" y="3085865"/>
                </a:moveTo>
                <a:cubicBezTo>
                  <a:pt x="1307454" y="3085552"/>
                  <a:pt x="1305524" y="3085240"/>
                  <a:pt x="1303594" y="3084927"/>
                </a:cubicBezTo>
                <a:lnTo>
                  <a:pt x="1308282" y="3056339"/>
                </a:lnTo>
                <a:cubicBezTo>
                  <a:pt x="1310175" y="3056652"/>
                  <a:pt x="1312069" y="3056946"/>
                  <a:pt x="1313944" y="3057258"/>
                </a:cubicBezTo>
                <a:lnTo>
                  <a:pt x="1309385" y="3085865"/>
                </a:lnTo>
                <a:close/>
                <a:moveTo>
                  <a:pt x="1814114" y="3083162"/>
                </a:moveTo>
                <a:lnTo>
                  <a:pt x="1809224" y="3054611"/>
                </a:lnTo>
                <a:cubicBezTo>
                  <a:pt x="1811118" y="3054280"/>
                  <a:pt x="1813011" y="3053968"/>
                  <a:pt x="1814886" y="3053637"/>
                </a:cubicBezTo>
                <a:lnTo>
                  <a:pt x="1819887" y="3082169"/>
                </a:lnTo>
                <a:cubicBezTo>
                  <a:pt x="1817957" y="3082500"/>
                  <a:pt x="1816045" y="3082831"/>
                  <a:pt x="1814114" y="3083162"/>
                </a:cubicBezTo>
                <a:close/>
                <a:moveTo>
                  <a:pt x="1289143" y="3082500"/>
                </a:moveTo>
                <a:cubicBezTo>
                  <a:pt x="1287213" y="3082169"/>
                  <a:pt x="1285283" y="3081820"/>
                  <a:pt x="1283371" y="3081489"/>
                </a:cubicBezTo>
                <a:lnTo>
                  <a:pt x="1288426" y="3052956"/>
                </a:lnTo>
                <a:cubicBezTo>
                  <a:pt x="1290320" y="3053287"/>
                  <a:pt x="1292195" y="3053618"/>
                  <a:pt x="1294089" y="3053949"/>
                </a:cubicBezTo>
                <a:lnTo>
                  <a:pt x="1289143" y="3082500"/>
                </a:lnTo>
                <a:close/>
                <a:moveTo>
                  <a:pt x="1834301" y="3079577"/>
                </a:moveTo>
                <a:lnTo>
                  <a:pt x="1829043" y="3051081"/>
                </a:lnTo>
                <a:cubicBezTo>
                  <a:pt x="1830936" y="3050732"/>
                  <a:pt x="1832811" y="3050382"/>
                  <a:pt x="1834705" y="3050033"/>
                </a:cubicBezTo>
                <a:lnTo>
                  <a:pt x="1840073" y="3078511"/>
                </a:lnTo>
                <a:cubicBezTo>
                  <a:pt x="1838143" y="3078879"/>
                  <a:pt x="1836231" y="3079228"/>
                  <a:pt x="1834301" y="3079596"/>
                </a:cubicBezTo>
                <a:close/>
                <a:moveTo>
                  <a:pt x="1268976" y="3078879"/>
                </a:moveTo>
                <a:cubicBezTo>
                  <a:pt x="1267045" y="3078511"/>
                  <a:pt x="1265133" y="3078162"/>
                  <a:pt x="1263203" y="3077794"/>
                </a:cubicBezTo>
                <a:lnTo>
                  <a:pt x="1268645" y="3049335"/>
                </a:lnTo>
                <a:cubicBezTo>
                  <a:pt x="1270520" y="3049684"/>
                  <a:pt x="1272395" y="3050052"/>
                  <a:pt x="1274289" y="3050401"/>
                </a:cubicBezTo>
                <a:lnTo>
                  <a:pt x="1268976" y="3078879"/>
                </a:lnTo>
                <a:close/>
                <a:moveTo>
                  <a:pt x="1854468" y="3075698"/>
                </a:moveTo>
                <a:lnTo>
                  <a:pt x="1848806" y="3047276"/>
                </a:lnTo>
                <a:cubicBezTo>
                  <a:pt x="1850681" y="3046908"/>
                  <a:pt x="1852575" y="3046522"/>
                  <a:pt x="1854450" y="3046136"/>
                </a:cubicBezTo>
                <a:lnTo>
                  <a:pt x="1860204" y="3074540"/>
                </a:lnTo>
                <a:cubicBezTo>
                  <a:pt x="1858293" y="3074926"/>
                  <a:pt x="1856381" y="3075312"/>
                  <a:pt x="1854450" y="3075698"/>
                </a:cubicBezTo>
                <a:close/>
                <a:moveTo>
                  <a:pt x="1248844" y="3074981"/>
                </a:moveTo>
                <a:cubicBezTo>
                  <a:pt x="1246933" y="3074595"/>
                  <a:pt x="1245020" y="3074209"/>
                  <a:pt x="1243109" y="3073823"/>
                </a:cubicBezTo>
                <a:lnTo>
                  <a:pt x="1248918" y="3045437"/>
                </a:lnTo>
                <a:cubicBezTo>
                  <a:pt x="1250793" y="3045823"/>
                  <a:pt x="1252669" y="3046209"/>
                  <a:pt x="1254562" y="3046577"/>
                </a:cubicBezTo>
                <a:lnTo>
                  <a:pt x="1248863" y="3074981"/>
                </a:lnTo>
                <a:close/>
                <a:moveTo>
                  <a:pt x="1874563" y="3071580"/>
                </a:moveTo>
                <a:lnTo>
                  <a:pt x="1868533" y="3043231"/>
                </a:lnTo>
                <a:cubicBezTo>
                  <a:pt x="1870408" y="3042826"/>
                  <a:pt x="1872283" y="3042422"/>
                  <a:pt x="1874158" y="3042018"/>
                </a:cubicBezTo>
                <a:lnTo>
                  <a:pt x="1880299" y="3070330"/>
                </a:lnTo>
                <a:cubicBezTo>
                  <a:pt x="1878387" y="3070734"/>
                  <a:pt x="1876475" y="3071157"/>
                  <a:pt x="1874563" y="3071562"/>
                </a:cubicBezTo>
                <a:close/>
                <a:moveTo>
                  <a:pt x="1228769" y="3070826"/>
                </a:moveTo>
                <a:cubicBezTo>
                  <a:pt x="1226857" y="3070422"/>
                  <a:pt x="1224963" y="3069999"/>
                  <a:pt x="1223051" y="3069594"/>
                </a:cubicBezTo>
                <a:lnTo>
                  <a:pt x="1229210" y="3041282"/>
                </a:lnTo>
                <a:cubicBezTo>
                  <a:pt x="1231085" y="3041687"/>
                  <a:pt x="1232960" y="3042091"/>
                  <a:pt x="1234835" y="3042496"/>
                </a:cubicBezTo>
                <a:lnTo>
                  <a:pt x="1228769" y="3070826"/>
                </a:lnTo>
                <a:close/>
                <a:moveTo>
                  <a:pt x="1894602" y="3067168"/>
                </a:moveTo>
                <a:lnTo>
                  <a:pt x="1888204" y="3038911"/>
                </a:lnTo>
                <a:cubicBezTo>
                  <a:pt x="1890079" y="3038488"/>
                  <a:pt x="1891936" y="3038065"/>
                  <a:pt x="1893811" y="3037624"/>
                </a:cubicBezTo>
                <a:lnTo>
                  <a:pt x="1900338" y="3065862"/>
                </a:lnTo>
                <a:cubicBezTo>
                  <a:pt x="1898426" y="3066304"/>
                  <a:pt x="1896514" y="3066745"/>
                  <a:pt x="1894602" y="3067168"/>
                </a:cubicBezTo>
                <a:close/>
                <a:moveTo>
                  <a:pt x="1208748" y="3066396"/>
                </a:moveTo>
                <a:cubicBezTo>
                  <a:pt x="1206854" y="3065954"/>
                  <a:pt x="1204942" y="3065531"/>
                  <a:pt x="1203049" y="3065090"/>
                </a:cubicBezTo>
                <a:lnTo>
                  <a:pt x="1209575" y="3036870"/>
                </a:lnTo>
                <a:cubicBezTo>
                  <a:pt x="1211450" y="3037311"/>
                  <a:pt x="1213307" y="3037734"/>
                  <a:pt x="1215182" y="3038157"/>
                </a:cubicBezTo>
                <a:lnTo>
                  <a:pt x="1208729" y="3066414"/>
                </a:lnTo>
                <a:close/>
                <a:moveTo>
                  <a:pt x="1914586" y="3062498"/>
                </a:moveTo>
                <a:lnTo>
                  <a:pt x="1907820" y="3034333"/>
                </a:lnTo>
                <a:cubicBezTo>
                  <a:pt x="1909696" y="3033892"/>
                  <a:pt x="1911553" y="3033432"/>
                  <a:pt x="1913409" y="3032972"/>
                </a:cubicBezTo>
                <a:lnTo>
                  <a:pt x="1920285" y="3061119"/>
                </a:lnTo>
                <a:cubicBezTo>
                  <a:pt x="1918392" y="3061579"/>
                  <a:pt x="1916480" y="3062038"/>
                  <a:pt x="1914586" y="3062498"/>
                </a:cubicBezTo>
                <a:close/>
                <a:moveTo>
                  <a:pt x="1188801" y="3061726"/>
                </a:moveTo>
                <a:cubicBezTo>
                  <a:pt x="1186907" y="3061266"/>
                  <a:pt x="1185013" y="3060807"/>
                  <a:pt x="1183120" y="3060347"/>
                </a:cubicBezTo>
                <a:lnTo>
                  <a:pt x="1190014" y="3032200"/>
                </a:lnTo>
                <a:cubicBezTo>
                  <a:pt x="1191871" y="3032660"/>
                  <a:pt x="1193746" y="3033119"/>
                  <a:pt x="1195603" y="3033561"/>
                </a:cubicBezTo>
                <a:lnTo>
                  <a:pt x="1188801" y="3061726"/>
                </a:lnTo>
                <a:close/>
                <a:moveTo>
                  <a:pt x="1934515" y="3057571"/>
                </a:moveTo>
                <a:lnTo>
                  <a:pt x="1927363" y="3029498"/>
                </a:lnTo>
                <a:cubicBezTo>
                  <a:pt x="1929220" y="3029020"/>
                  <a:pt x="1931077" y="3028542"/>
                  <a:pt x="1932934" y="3028064"/>
                </a:cubicBezTo>
                <a:lnTo>
                  <a:pt x="1940196" y="3056118"/>
                </a:lnTo>
                <a:cubicBezTo>
                  <a:pt x="1938302" y="3056615"/>
                  <a:pt x="1936409" y="3057093"/>
                  <a:pt x="1934515" y="3057571"/>
                </a:cubicBezTo>
                <a:close/>
                <a:moveTo>
                  <a:pt x="1168908" y="3056780"/>
                </a:moveTo>
                <a:cubicBezTo>
                  <a:pt x="1167015" y="3056302"/>
                  <a:pt x="1165121" y="3055806"/>
                  <a:pt x="1163246" y="3055328"/>
                </a:cubicBezTo>
                <a:lnTo>
                  <a:pt x="1170526" y="3027273"/>
                </a:lnTo>
                <a:cubicBezTo>
                  <a:pt x="1172383" y="3027751"/>
                  <a:pt x="1174240" y="3028229"/>
                  <a:pt x="1176097" y="3028707"/>
                </a:cubicBezTo>
                <a:lnTo>
                  <a:pt x="1168927" y="3056780"/>
                </a:lnTo>
                <a:close/>
                <a:moveTo>
                  <a:pt x="1954352" y="3052368"/>
                </a:moveTo>
                <a:lnTo>
                  <a:pt x="1946851" y="3024387"/>
                </a:lnTo>
                <a:cubicBezTo>
                  <a:pt x="1948708" y="3023891"/>
                  <a:pt x="1950546" y="3023394"/>
                  <a:pt x="1952403" y="3022879"/>
                </a:cubicBezTo>
                <a:lnTo>
                  <a:pt x="1960033" y="3050824"/>
                </a:lnTo>
                <a:cubicBezTo>
                  <a:pt x="1958139" y="3051339"/>
                  <a:pt x="1956245" y="3051853"/>
                  <a:pt x="1954352" y="3052368"/>
                </a:cubicBezTo>
                <a:close/>
                <a:moveTo>
                  <a:pt x="1149072" y="3051559"/>
                </a:moveTo>
                <a:cubicBezTo>
                  <a:pt x="1147196" y="3051044"/>
                  <a:pt x="1145303" y="3050548"/>
                  <a:pt x="1143428" y="3050033"/>
                </a:cubicBezTo>
                <a:lnTo>
                  <a:pt x="1151057" y="3022089"/>
                </a:lnTo>
                <a:cubicBezTo>
                  <a:pt x="1152914" y="3022585"/>
                  <a:pt x="1154752" y="3023100"/>
                  <a:pt x="1156609" y="3023596"/>
                </a:cubicBezTo>
                <a:lnTo>
                  <a:pt x="1149053" y="3051559"/>
                </a:lnTo>
                <a:close/>
                <a:moveTo>
                  <a:pt x="1974152" y="3046908"/>
                </a:moveTo>
                <a:lnTo>
                  <a:pt x="1966265" y="3019037"/>
                </a:lnTo>
                <a:cubicBezTo>
                  <a:pt x="1968104" y="3018522"/>
                  <a:pt x="1969960" y="3017989"/>
                  <a:pt x="1971799" y="3017456"/>
                </a:cubicBezTo>
                <a:lnTo>
                  <a:pt x="1979796" y="3045308"/>
                </a:lnTo>
                <a:cubicBezTo>
                  <a:pt x="1977921" y="3045842"/>
                  <a:pt x="1976027" y="3046393"/>
                  <a:pt x="1974152" y="3046908"/>
                </a:cubicBezTo>
                <a:close/>
                <a:moveTo>
                  <a:pt x="1129326" y="3046099"/>
                </a:moveTo>
                <a:cubicBezTo>
                  <a:pt x="1127451" y="3045566"/>
                  <a:pt x="1125576" y="3045033"/>
                  <a:pt x="1123701" y="3044500"/>
                </a:cubicBezTo>
                <a:lnTo>
                  <a:pt x="1131698" y="3016647"/>
                </a:lnTo>
                <a:cubicBezTo>
                  <a:pt x="1133537" y="3017180"/>
                  <a:pt x="1135393" y="3017695"/>
                  <a:pt x="1137232" y="3018228"/>
                </a:cubicBezTo>
                <a:lnTo>
                  <a:pt x="1129326" y="3046099"/>
                </a:lnTo>
                <a:close/>
                <a:moveTo>
                  <a:pt x="1993860" y="3041190"/>
                </a:moveTo>
                <a:lnTo>
                  <a:pt x="1985606" y="3013411"/>
                </a:lnTo>
                <a:cubicBezTo>
                  <a:pt x="1987444" y="3012860"/>
                  <a:pt x="1989283" y="3012308"/>
                  <a:pt x="1991103" y="3011757"/>
                </a:cubicBezTo>
                <a:lnTo>
                  <a:pt x="1999486" y="3039499"/>
                </a:lnTo>
                <a:cubicBezTo>
                  <a:pt x="1997611" y="3040069"/>
                  <a:pt x="1995736" y="3040620"/>
                  <a:pt x="1993860" y="3041190"/>
                </a:cubicBezTo>
                <a:close/>
                <a:moveTo>
                  <a:pt x="1109655" y="3040381"/>
                </a:moveTo>
                <a:cubicBezTo>
                  <a:pt x="1107780" y="3039830"/>
                  <a:pt x="1105923" y="3039260"/>
                  <a:pt x="1104048" y="3038708"/>
                </a:cubicBezTo>
                <a:lnTo>
                  <a:pt x="1112413" y="3010966"/>
                </a:lnTo>
                <a:cubicBezTo>
                  <a:pt x="1114251" y="3011518"/>
                  <a:pt x="1116090" y="3012069"/>
                  <a:pt x="1117910" y="3012621"/>
                </a:cubicBezTo>
                <a:lnTo>
                  <a:pt x="1109637" y="3040381"/>
                </a:lnTo>
                <a:close/>
                <a:moveTo>
                  <a:pt x="2013495" y="3035197"/>
                </a:moveTo>
                <a:lnTo>
                  <a:pt x="2004873" y="3007528"/>
                </a:lnTo>
                <a:cubicBezTo>
                  <a:pt x="2006693" y="3006958"/>
                  <a:pt x="2008531" y="3006388"/>
                  <a:pt x="2010351" y="3005800"/>
                </a:cubicBezTo>
                <a:lnTo>
                  <a:pt x="2019084" y="3033432"/>
                </a:lnTo>
                <a:cubicBezTo>
                  <a:pt x="2017209" y="3034020"/>
                  <a:pt x="2015352" y="3034609"/>
                  <a:pt x="2013476" y="3035197"/>
                </a:cubicBezTo>
                <a:close/>
                <a:moveTo>
                  <a:pt x="1090057" y="3034406"/>
                </a:moveTo>
                <a:cubicBezTo>
                  <a:pt x="1088200" y="3033818"/>
                  <a:pt x="1086325" y="3033248"/>
                  <a:pt x="1084468" y="3032642"/>
                </a:cubicBezTo>
                <a:lnTo>
                  <a:pt x="1093201" y="3005010"/>
                </a:lnTo>
                <a:cubicBezTo>
                  <a:pt x="1095021" y="3005579"/>
                  <a:pt x="1096859" y="3006168"/>
                  <a:pt x="1098679" y="3006738"/>
                </a:cubicBezTo>
                <a:lnTo>
                  <a:pt x="1090057" y="3034388"/>
                </a:lnTo>
                <a:close/>
                <a:moveTo>
                  <a:pt x="2033056" y="3028946"/>
                </a:moveTo>
                <a:lnTo>
                  <a:pt x="2024066" y="3001406"/>
                </a:lnTo>
                <a:cubicBezTo>
                  <a:pt x="2025886" y="3000818"/>
                  <a:pt x="2027725" y="3000211"/>
                  <a:pt x="2029545" y="2999604"/>
                </a:cubicBezTo>
                <a:lnTo>
                  <a:pt x="2038627" y="3027108"/>
                </a:lnTo>
                <a:cubicBezTo>
                  <a:pt x="2036770" y="3027714"/>
                  <a:pt x="2034913" y="3028339"/>
                  <a:pt x="2033056" y="3028946"/>
                </a:cubicBezTo>
                <a:close/>
                <a:moveTo>
                  <a:pt x="1070533" y="3028174"/>
                </a:moveTo>
                <a:cubicBezTo>
                  <a:pt x="1068676" y="3027567"/>
                  <a:pt x="1066819" y="3026961"/>
                  <a:pt x="1064962" y="3026354"/>
                </a:cubicBezTo>
                <a:lnTo>
                  <a:pt x="1074063" y="2998851"/>
                </a:lnTo>
                <a:cubicBezTo>
                  <a:pt x="1075883" y="2999457"/>
                  <a:pt x="1077703" y="3000046"/>
                  <a:pt x="1079523" y="3000652"/>
                </a:cubicBezTo>
                <a:lnTo>
                  <a:pt x="1070533" y="3028192"/>
                </a:lnTo>
                <a:close/>
                <a:moveTo>
                  <a:pt x="2052507" y="3022438"/>
                </a:moveTo>
                <a:lnTo>
                  <a:pt x="2043149" y="2995008"/>
                </a:lnTo>
                <a:cubicBezTo>
                  <a:pt x="2044969" y="2994383"/>
                  <a:pt x="2046771" y="2993777"/>
                  <a:pt x="2048591" y="2993133"/>
                </a:cubicBezTo>
                <a:lnTo>
                  <a:pt x="2058059" y="3020508"/>
                </a:lnTo>
                <a:cubicBezTo>
                  <a:pt x="2056202" y="3021151"/>
                  <a:pt x="2054345" y="3021776"/>
                  <a:pt x="2052507" y="3022420"/>
                </a:cubicBezTo>
                <a:close/>
                <a:moveTo>
                  <a:pt x="1051100" y="3021684"/>
                </a:moveTo>
                <a:cubicBezTo>
                  <a:pt x="1049262" y="3021059"/>
                  <a:pt x="1047405" y="3020416"/>
                  <a:pt x="1045566" y="3019791"/>
                </a:cubicBezTo>
                <a:lnTo>
                  <a:pt x="1055016" y="2992398"/>
                </a:lnTo>
                <a:cubicBezTo>
                  <a:pt x="1056818" y="2993023"/>
                  <a:pt x="1058638" y="2993648"/>
                  <a:pt x="1060440" y="2994255"/>
                </a:cubicBezTo>
                <a:lnTo>
                  <a:pt x="1051082" y="3021684"/>
                </a:lnTo>
                <a:close/>
                <a:moveTo>
                  <a:pt x="2071903" y="3015672"/>
                </a:moveTo>
                <a:lnTo>
                  <a:pt x="2062196" y="2988371"/>
                </a:lnTo>
                <a:cubicBezTo>
                  <a:pt x="2063997" y="2987728"/>
                  <a:pt x="2065799" y="2987085"/>
                  <a:pt x="2067601" y="2986423"/>
                </a:cubicBezTo>
                <a:lnTo>
                  <a:pt x="2077436" y="3013669"/>
                </a:lnTo>
                <a:cubicBezTo>
                  <a:pt x="2075598" y="3014330"/>
                  <a:pt x="2073741" y="3014992"/>
                  <a:pt x="2071903" y="3015654"/>
                </a:cubicBezTo>
                <a:close/>
                <a:moveTo>
                  <a:pt x="1031760" y="3014937"/>
                </a:moveTo>
                <a:cubicBezTo>
                  <a:pt x="1029921" y="3014275"/>
                  <a:pt x="1028083" y="3013632"/>
                  <a:pt x="1026244" y="3012970"/>
                </a:cubicBezTo>
                <a:lnTo>
                  <a:pt x="1036062" y="2985706"/>
                </a:lnTo>
                <a:cubicBezTo>
                  <a:pt x="1037863" y="2986349"/>
                  <a:pt x="1039665" y="2986993"/>
                  <a:pt x="1041467" y="2987636"/>
                </a:cubicBezTo>
                <a:lnTo>
                  <a:pt x="1031760" y="3014937"/>
                </a:lnTo>
                <a:close/>
                <a:moveTo>
                  <a:pt x="2091206" y="3008668"/>
                </a:moveTo>
                <a:lnTo>
                  <a:pt x="2081132" y="2981514"/>
                </a:lnTo>
                <a:cubicBezTo>
                  <a:pt x="2082933" y="2980852"/>
                  <a:pt x="2084717" y="2980172"/>
                  <a:pt x="2086518" y="2979510"/>
                </a:cubicBezTo>
                <a:lnTo>
                  <a:pt x="2096703" y="3006627"/>
                </a:lnTo>
                <a:cubicBezTo>
                  <a:pt x="2094865" y="3007308"/>
                  <a:pt x="2093045" y="3008006"/>
                  <a:pt x="2091206" y="3008686"/>
                </a:cubicBezTo>
                <a:close/>
                <a:moveTo>
                  <a:pt x="1012511" y="3007933"/>
                </a:moveTo>
                <a:cubicBezTo>
                  <a:pt x="1010673" y="3007252"/>
                  <a:pt x="1008853" y="3006572"/>
                  <a:pt x="1007032" y="3005892"/>
                </a:cubicBezTo>
                <a:lnTo>
                  <a:pt x="1017217" y="2978775"/>
                </a:lnTo>
                <a:cubicBezTo>
                  <a:pt x="1019001" y="2979455"/>
                  <a:pt x="1020802" y="2980117"/>
                  <a:pt x="1022604" y="2980779"/>
                </a:cubicBezTo>
                <a:lnTo>
                  <a:pt x="1012529" y="3007951"/>
                </a:lnTo>
                <a:close/>
                <a:moveTo>
                  <a:pt x="2110400" y="3001388"/>
                </a:moveTo>
                <a:lnTo>
                  <a:pt x="2099958" y="2974362"/>
                </a:lnTo>
                <a:cubicBezTo>
                  <a:pt x="2101741" y="2973664"/>
                  <a:pt x="2103524" y="2972984"/>
                  <a:pt x="2105326" y="2972285"/>
                </a:cubicBezTo>
                <a:lnTo>
                  <a:pt x="2115879" y="2999274"/>
                </a:lnTo>
                <a:cubicBezTo>
                  <a:pt x="2114059" y="2999991"/>
                  <a:pt x="2112220" y="3000689"/>
                  <a:pt x="2110400" y="3001406"/>
                </a:cubicBezTo>
                <a:close/>
                <a:moveTo>
                  <a:pt x="993354" y="3000689"/>
                </a:moveTo>
                <a:cubicBezTo>
                  <a:pt x="991534" y="2999991"/>
                  <a:pt x="989714" y="2999292"/>
                  <a:pt x="987912" y="2998575"/>
                </a:cubicBezTo>
                <a:lnTo>
                  <a:pt x="998429" y="2971586"/>
                </a:lnTo>
                <a:cubicBezTo>
                  <a:pt x="1000212" y="2972285"/>
                  <a:pt x="1001995" y="2972984"/>
                  <a:pt x="1003797" y="2973664"/>
                </a:cubicBezTo>
                <a:lnTo>
                  <a:pt x="993354" y="3000689"/>
                </a:lnTo>
                <a:close/>
                <a:moveTo>
                  <a:pt x="2129501" y="2993868"/>
                </a:moveTo>
                <a:lnTo>
                  <a:pt x="2118710" y="2966972"/>
                </a:lnTo>
                <a:cubicBezTo>
                  <a:pt x="2120493" y="2966255"/>
                  <a:pt x="2122276" y="2965538"/>
                  <a:pt x="2124060" y="2964821"/>
                </a:cubicBezTo>
                <a:lnTo>
                  <a:pt x="2134943" y="2991681"/>
                </a:lnTo>
                <a:cubicBezTo>
                  <a:pt x="2133123" y="2992416"/>
                  <a:pt x="2131322" y="2993151"/>
                  <a:pt x="2129501" y="2993868"/>
                </a:cubicBezTo>
                <a:close/>
                <a:moveTo>
                  <a:pt x="974290" y="2993188"/>
                </a:moveTo>
                <a:cubicBezTo>
                  <a:pt x="972469" y="2992471"/>
                  <a:pt x="970668" y="2991736"/>
                  <a:pt x="968866" y="2991001"/>
                </a:cubicBezTo>
                <a:lnTo>
                  <a:pt x="979750" y="2964141"/>
                </a:lnTo>
                <a:cubicBezTo>
                  <a:pt x="981515" y="2964858"/>
                  <a:pt x="983298" y="2965575"/>
                  <a:pt x="985081" y="2966292"/>
                </a:cubicBezTo>
                <a:lnTo>
                  <a:pt x="974308" y="2993188"/>
                </a:lnTo>
                <a:close/>
                <a:moveTo>
                  <a:pt x="2148493" y="2986092"/>
                </a:moveTo>
                <a:lnTo>
                  <a:pt x="2137370" y="2959342"/>
                </a:lnTo>
                <a:cubicBezTo>
                  <a:pt x="2139135" y="2958607"/>
                  <a:pt x="2140900" y="2957872"/>
                  <a:pt x="2142683" y="2957118"/>
                </a:cubicBezTo>
                <a:lnTo>
                  <a:pt x="2153935" y="2983812"/>
                </a:lnTo>
                <a:cubicBezTo>
                  <a:pt x="2152133" y="2984566"/>
                  <a:pt x="2150313" y="2985338"/>
                  <a:pt x="2148511" y="2986092"/>
                </a:cubicBezTo>
                <a:close/>
                <a:moveTo>
                  <a:pt x="955335" y="2985430"/>
                </a:moveTo>
                <a:cubicBezTo>
                  <a:pt x="953533" y="2984676"/>
                  <a:pt x="951732" y="2983923"/>
                  <a:pt x="949930" y="2983169"/>
                </a:cubicBezTo>
                <a:lnTo>
                  <a:pt x="961181" y="2956474"/>
                </a:lnTo>
                <a:cubicBezTo>
                  <a:pt x="962946" y="2957210"/>
                  <a:pt x="964711" y="2957963"/>
                  <a:pt x="966476" y="2958680"/>
                </a:cubicBezTo>
                <a:lnTo>
                  <a:pt x="955335" y="2985430"/>
                </a:lnTo>
                <a:close/>
                <a:moveTo>
                  <a:pt x="2167410" y="2978076"/>
                </a:moveTo>
                <a:lnTo>
                  <a:pt x="2155920" y="2951474"/>
                </a:lnTo>
                <a:cubicBezTo>
                  <a:pt x="2157685" y="2950720"/>
                  <a:pt x="2159432" y="2949948"/>
                  <a:pt x="2161197" y="2949176"/>
                </a:cubicBezTo>
                <a:lnTo>
                  <a:pt x="2172797" y="2975723"/>
                </a:lnTo>
                <a:cubicBezTo>
                  <a:pt x="2170995" y="2976514"/>
                  <a:pt x="2169212" y="2977286"/>
                  <a:pt x="2167410" y="2978058"/>
                </a:cubicBezTo>
                <a:close/>
                <a:moveTo>
                  <a:pt x="936473" y="2977451"/>
                </a:moveTo>
                <a:cubicBezTo>
                  <a:pt x="934689" y="2976679"/>
                  <a:pt x="932888" y="2975907"/>
                  <a:pt x="931104" y="2975116"/>
                </a:cubicBezTo>
                <a:lnTo>
                  <a:pt x="942687" y="2948550"/>
                </a:lnTo>
                <a:cubicBezTo>
                  <a:pt x="944433" y="2949323"/>
                  <a:pt x="946198" y="2950077"/>
                  <a:pt x="947944" y="2950830"/>
                </a:cubicBezTo>
                <a:lnTo>
                  <a:pt x="936454" y="2977433"/>
                </a:lnTo>
                <a:close/>
                <a:moveTo>
                  <a:pt x="2186200" y="2969803"/>
                </a:moveTo>
                <a:lnTo>
                  <a:pt x="2174360" y="2943366"/>
                </a:lnTo>
                <a:cubicBezTo>
                  <a:pt x="2176106" y="2942575"/>
                  <a:pt x="2177871" y="2941785"/>
                  <a:pt x="2179618" y="2940994"/>
                </a:cubicBezTo>
                <a:lnTo>
                  <a:pt x="2191568" y="2967395"/>
                </a:lnTo>
                <a:cubicBezTo>
                  <a:pt x="2189784" y="2968204"/>
                  <a:pt x="2188001" y="2969012"/>
                  <a:pt x="2186218" y="2969803"/>
                </a:cubicBezTo>
                <a:close/>
                <a:moveTo>
                  <a:pt x="917739" y="2969196"/>
                </a:moveTo>
                <a:cubicBezTo>
                  <a:pt x="915955" y="2968406"/>
                  <a:pt x="914190" y="2967597"/>
                  <a:pt x="912407" y="2966806"/>
                </a:cubicBezTo>
                <a:lnTo>
                  <a:pt x="924339" y="2940406"/>
                </a:lnTo>
                <a:cubicBezTo>
                  <a:pt x="926085" y="2941197"/>
                  <a:pt x="927832" y="2941987"/>
                  <a:pt x="929578" y="2942760"/>
                </a:cubicBezTo>
                <a:lnTo>
                  <a:pt x="917739" y="2969196"/>
                </a:lnTo>
                <a:close/>
                <a:moveTo>
                  <a:pt x="2204897" y="2961273"/>
                </a:moveTo>
                <a:lnTo>
                  <a:pt x="2192708" y="2934983"/>
                </a:lnTo>
                <a:cubicBezTo>
                  <a:pt x="2194454" y="2934174"/>
                  <a:pt x="2196182" y="2933365"/>
                  <a:pt x="2197929" y="2932556"/>
                </a:cubicBezTo>
                <a:lnTo>
                  <a:pt x="2210210" y="2958791"/>
                </a:lnTo>
                <a:cubicBezTo>
                  <a:pt x="2208445" y="2959618"/>
                  <a:pt x="2206662" y="2960445"/>
                  <a:pt x="2204897" y="2961273"/>
                </a:cubicBezTo>
                <a:close/>
                <a:moveTo>
                  <a:pt x="899097" y="2960721"/>
                </a:moveTo>
                <a:cubicBezTo>
                  <a:pt x="897332" y="2959894"/>
                  <a:pt x="895548" y="2959085"/>
                  <a:pt x="893784" y="2958258"/>
                </a:cubicBezTo>
                <a:lnTo>
                  <a:pt x="906064" y="2932023"/>
                </a:lnTo>
                <a:cubicBezTo>
                  <a:pt x="907793" y="2932832"/>
                  <a:pt x="909521" y="2933641"/>
                  <a:pt x="911267" y="2934450"/>
                </a:cubicBezTo>
                <a:lnTo>
                  <a:pt x="899097" y="2960739"/>
                </a:lnTo>
                <a:close/>
                <a:moveTo>
                  <a:pt x="2223465" y="2952522"/>
                </a:moveTo>
                <a:lnTo>
                  <a:pt x="2210945" y="2926397"/>
                </a:lnTo>
                <a:cubicBezTo>
                  <a:pt x="2212673" y="2925570"/>
                  <a:pt x="2214401" y="2924724"/>
                  <a:pt x="2216129" y="2923897"/>
                </a:cubicBezTo>
                <a:lnTo>
                  <a:pt x="2228741" y="2949985"/>
                </a:lnTo>
                <a:cubicBezTo>
                  <a:pt x="2226976" y="2950830"/>
                  <a:pt x="2225212" y="2951694"/>
                  <a:pt x="2223447" y="2952540"/>
                </a:cubicBezTo>
                <a:close/>
                <a:moveTo>
                  <a:pt x="880583" y="2951988"/>
                </a:moveTo>
                <a:cubicBezTo>
                  <a:pt x="878819" y="2951143"/>
                  <a:pt x="877072" y="2950297"/>
                  <a:pt x="875307" y="2949452"/>
                </a:cubicBezTo>
                <a:lnTo>
                  <a:pt x="887937" y="2923364"/>
                </a:lnTo>
                <a:cubicBezTo>
                  <a:pt x="889665" y="2924191"/>
                  <a:pt x="891375" y="2925037"/>
                  <a:pt x="893103" y="2925864"/>
                </a:cubicBezTo>
                <a:lnTo>
                  <a:pt x="880583" y="2951988"/>
                </a:lnTo>
                <a:close/>
                <a:moveTo>
                  <a:pt x="2241923" y="2943513"/>
                </a:moveTo>
                <a:lnTo>
                  <a:pt x="2229072" y="2917554"/>
                </a:lnTo>
                <a:cubicBezTo>
                  <a:pt x="2230543" y="2916837"/>
                  <a:pt x="2231995" y="2916102"/>
                  <a:pt x="2233466" y="2915366"/>
                </a:cubicBezTo>
                <a:lnTo>
                  <a:pt x="2234220" y="2914980"/>
                </a:lnTo>
                <a:lnTo>
                  <a:pt x="2247181" y="2940903"/>
                </a:lnTo>
                <a:lnTo>
                  <a:pt x="2246409" y="2941289"/>
                </a:lnTo>
                <a:cubicBezTo>
                  <a:pt x="2244901" y="2942042"/>
                  <a:pt x="2243412" y="2942778"/>
                  <a:pt x="2241923" y="2943532"/>
                </a:cubicBezTo>
                <a:close/>
                <a:moveTo>
                  <a:pt x="862180" y="2943017"/>
                </a:moveTo>
                <a:cubicBezTo>
                  <a:pt x="860434" y="2942153"/>
                  <a:pt x="858687" y="2941289"/>
                  <a:pt x="856941" y="2940406"/>
                </a:cubicBezTo>
                <a:lnTo>
                  <a:pt x="869902" y="2914502"/>
                </a:lnTo>
                <a:cubicBezTo>
                  <a:pt x="871612" y="2915366"/>
                  <a:pt x="873322" y="2916212"/>
                  <a:pt x="875031" y="2917058"/>
                </a:cubicBezTo>
                <a:lnTo>
                  <a:pt x="862162" y="2943017"/>
                </a:lnTo>
                <a:close/>
                <a:moveTo>
                  <a:pt x="2260252" y="2934284"/>
                </a:moveTo>
                <a:lnTo>
                  <a:pt x="2247034" y="2908491"/>
                </a:lnTo>
                <a:cubicBezTo>
                  <a:pt x="2248744" y="2907608"/>
                  <a:pt x="2250435" y="2906744"/>
                  <a:pt x="2252145" y="2905862"/>
                </a:cubicBezTo>
                <a:lnTo>
                  <a:pt x="2265437" y="2931600"/>
                </a:lnTo>
                <a:cubicBezTo>
                  <a:pt x="2263709" y="2932501"/>
                  <a:pt x="2261981" y="2933383"/>
                  <a:pt x="2260234" y="2934266"/>
                </a:cubicBezTo>
                <a:close/>
                <a:moveTo>
                  <a:pt x="843906" y="2933806"/>
                </a:moveTo>
                <a:cubicBezTo>
                  <a:pt x="842178" y="2932924"/>
                  <a:pt x="840432" y="2932023"/>
                  <a:pt x="838703" y="2931122"/>
                </a:cubicBezTo>
                <a:lnTo>
                  <a:pt x="852014" y="2905384"/>
                </a:lnTo>
                <a:cubicBezTo>
                  <a:pt x="853705" y="2906266"/>
                  <a:pt x="855415" y="2907130"/>
                  <a:pt x="857106" y="2908013"/>
                </a:cubicBezTo>
                <a:lnTo>
                  <a:pt x="843906" y="2933806"/>
                </a:lnTo>
                <a:close/>
                <a:moveTo>
                  <a:pt x="2278398" y="2924853"/>
                </a:moveTo>
                <a:lnTo>
                  <a:pt x="2264867" y="2899225"/>
                </a:lnTo>
                <a:cubicBezTo>
                  <a:pt x="2266558" y="2898342"/>
                  <a:pt x="2268250" y="2897442"/>
                  <a:pt x="2269923" y="2896541"/>
                </a:cubicBezTo>
                <a:lnTo>
                  <a:pt x="2283564" y="2922113"/>
                </a:lnTo>
                <a:cubicBezTo>
                  <a:pt x="2281854" y="2923033"/>
                  <a:pt x="2280126" y="2923934"/>
                  <a:pt x="2278398" y="2924853"/>
                </a:cubicBezTo>
                <a:close/>
                <a:moveTo>
                  <a:pt x="825742" y="2924357"/>
                </a:moveTo>
                <a:cubicBezTo>
                  <a:pt x="824014" y="2923437"/>
                  <a:pt x="822304" y="2922536"/>
                  <a:pt x="820576" y="2921617"/>
                </a:cubicBezTo>
                <a:lnTo>
                  <a:pt x="834218" y="2896063"/>
                </a:lnTo>
                <a:cubicBezTo>
                  <a:pt x="835909" y="2896964"/>
                  <a:pt x="837600" y="2897864"/>
                  <a:pt x="839273" y="2898747"/>
                </a:cubicBezTo>
                <a:lnTo>
                  <a:pt x="825724" y="2924357"/>
                </a:lnTo>
                <a:close/>
                <a:moveTo>
                  <a:pt x="2296396" y="2915201"/>
                </a:moveTo>
                <a:lnTo>
                  <a:pt x="2282535" y="2889757"/>
                </a:lnTo>
                <a:cubicBezTo>
                  <a:pt x="2284208" y="2888856"/>
                  <a:pt x="2285881" y="2887937"/>
                  <a:pt x="2287535" y="2887017"/>
                </a:cubicBezTo>
                <a:lnTo>
                  <a:pt x="2301507" y="2912407"/>
                </a:lnTo>
                <a:cubicBezTo>
                  <a:pt x="2299798" y="2913344"/>
                  <a:pt x="2298088" y="2914282"/>
                  <a:pt x="2296378" y="2915219"/>
                </a:cubicBezTo>
                <a:close/>
                <a:moveTo>
                  <a:pt x="807707" y="2914668"/>
                </a:moveTo>
                <a:cubicBezTo>
                  <a:pt x="805997" y="2913730"/>
                  <a:pt x="804288" y="2912793"/>
                  <a:pt x="802578" y="2911855"/>
                </a:cubicBezTo>
                <a:lnTo>
                  <a:pt x="816550" y="2886466"/>
                </a:lnTo>
                <a:cubicBezTo>
                  <a:pt x="818223" y="2887385"/>
                  <a:pt x="819896" y="2888304"/>
                  <a:pt x="821587" y="2889224"/>
                </a:cubicBezTo>
                <a:lnTo>
                  <a:pt x="807707" y="2914649"/>
                </a:lnTo>
                <a:close/>
                <a:moveTo>
                  <a:pt x="2314303" y="2905292"/>
                </a:moveTo>
                <a:lnTo>
                  <a:pt x="2300129" y="2880031"/>
                </a:lnTo>
                <a:cubicBezTo>
                  <a:pt x="2301802" y="2879094"/>
                  <a:pt x="2303456" y="2878156"/>
                  <a:pt x="2305129" y="2877219"/>
                </a:cubicBezTo>
                <a:lnTo>
                  <a:pt x="2319432" y="2902424"/>
                </a:lnTo>
                <a:cubicBezTo>
                  <a:pt x="2317723" y="2903398"/>
                  <a:pt x="2316031" y="2904354"/>
                  <a:pt x="2314321" y="2905310"/>
                </a:cubicBezTo>
                <a:close/>
                <a:moveTo>
                  <a:pt x="789819" y="2904740"/>
                </a:moveTo>
                <a:cubicBezTo>
                  <a:pt x="788128" y="2903784"/>
                  <a:pt x="786418" y="2902828"/>
                  <a:pt x="784726" y="2901854"/>
                </a:cubicBezTo>
                <a:lnTo>
                  <a:pt x="799030" y="2876667"/>
                </a:lnTo>
                <a:cubicBezTo>
                  <a:pt x="800684" y="2877605"/>
                  <a:pt x="802357" y="2878561"/>
                  <a:pt x="804012" y="2879498"/>
                </a:cubicBezTo>
                <a:lnTo>
                  <a:pt x="789800" y="2904740"/>
                </a:lnTo>
                <a:close/>
                <a:moveTo>
                  <a:pt x="2332099" y="2895125"/>
                </a:moveTo>
                <a:lnTo>
                  <a:pt x="2317557" y="2870067"/>
                </a:lnTo>
                <a:cubicBezTo>
                  <a:pt x="2319212" y="2869111"/>
                  <a:pt x="2320866" y="2868136"/>
                  <a:pt x="2322521" y="2867181"/>
                </a:cubicBezTo>
                <a:lnTo>
                  <a:pt x="2337137" y="2892202"/>
                </a:lnTo>
                <a:cubicBezTo>
                  <a:pt x="2335445" y="2893195"/>
                  <a:pt x="2333772" y="2894169"/>
                  <a:pt x="2332081" y="2895143"/>
                </a:cubicBezTo>
                <a:close/>
                <a:moveTo>
                  <a:pt x="772041" y="2894592"/>
                </a:moveTo>
                <a:cubicBezTo>
                  <a:pt x="770350" y="2893617"/>
                  <a:pt x="768677" y="2892625"/>
                  <a:pt x="766985" y="2891650"/>
                </a:cubicBezTo>
                <a:lnTo>
                  <a:pt x="781638" y="2866647"/>
                </a:lnTo>
                <a:cubicBezTo>
                  <a:pt x="783292" y="2867622"/>
                  <a:pt x="784929" y="2868578"/>
                  <a:pt x="786583" y="2869534"/>
                </a:cubicBezTo>
                <a:lnTo>
                  <a:pt x="772041" y="2894592"/>
                </a:lnTo>
                <a:close/>
                <a:moveTo>
                  <a:pt x="2349748" y="2884738"/>
                </a:moveTo>
                <a:lnTo>
                  <a:pt x="2334912" y="2859845"/>
                </a:lnTo>
                <a:cubicBezTo>
                  <a:pt x="2336548" y="2858871"/>
                  <a:pt x="2338185" y="2857878"/>
                  <a:pt x="2339821" y="2856904"/>
                </a:cubicBezTo>
                <a:lnTo>
                  <a:pt x="2354767" y="2881723"/>
                </a:lnTo>
                <a:cubicBezTo>
                  <a:pt x="2353094" y="2882734"/>
                  <a:pt x="2351422" y="2883745"/>
                  <a:pt x="2349730" y="2884738"/>
                </a:cubicBezTo>
                <a:close/>
                <a:moveTo>
                  <a:pt x="754410" y="2884205"/>
                </a:moveTo>
                <a:cubicBezTo>
                  <a:pt x="752737" y="2883212"/>
                  <a:pt x="751064" y="2882201"/>
                  <a:pt x="749391" y="2881190"/>
                </a:cubicBezTo>
                <a:lnTo>
                  <a:pt x="764356" y="2856389"/>
                </a:lnTo>
                <a:cubicBezTo>
                  <a:pt x="765992" y="2857382"/>
                  <a:pt x="767629" y="2858356"/>
                  <a:pt x="769265" y="2859349"/>
                </a:cubicBezTo>
                <a:lnTo>
                  <a:pt x="754392" y="2884223"/>
                </a:lnTo>
                <a:close/>
                <a:moveTo>
                  <a:pt x="2367287" y="2874111"/>
                </a:moveTo>
                <a:lnTo>
                  <a:pt x="2352102" y="2849440"/>
                </a:lnTo>
                <a:cubicBezTo>
                  <a:pt x="2353738" y="2848428"/>
                  <a:pt x="2355356" y="2847435"/>
                  <a:pt x="2356992" y="2846424"/>
                </a:cubicBezTo>
                <a:lnTo>
                  <a:pt x="2372270" y="2871041"/>
                </a:lnTo>
                <a:cubicBezTo>
                  <a:pt x="2370615" y="2872071"/>
                  <a:pt x="2368960" y="2873100"/>
                  <a:pt x="2367287" y="2874111"/>
                </a:cubicBezTo>
                <a:close/>
                <a:moveTo>
                  <a:pt x="736927" y="2873578"/>
                </a:moveTo>
                <a:cubicBezTo>
                  <a:pt x="735272" y="2872549"/>
                  <a:pt x="733617" y="2871538"/>
                  <a:pt x="731963" y="2870508"/>
                </a:cubicBezTo>
                <a:lnTo>
                  <a:pt x="747259" y="2845891"/>
                </a:lnTo>
                <a:cubicBezTo>
                  <a:pt x="748876" y="2846902"/>
                  <a:pt x="750513" y="2847913"/>
                  <a:pt x="752149" y="2848906"/>
                </a:cubicBezTo>
                <a:lnTo>
                  <a:pt x="736945" y="2873578"/>
                </a:lnTo>
                <a:close/>
                <a:moveTo>
                  <a:pt x="2384661" y="2863265"/>
                </a:moveTo>
                <a:lnTo>
                  <a:pt x="2369163" y="2838776"/>
                </a:lnTo>
                <a:cubicBezTo>
                  <a:pt x="2370781" y="2837747"/>
                  <a:pt x="2372398" y="2836736"/>
                  <a:pt x="2374016" y="2835688"/>
                </a:cubicBezTo>
                <a:lnTo>
                  <a:pt x="2389606" y="2860102"/>
                </a:lnTo>
                <a:cubicBezTo>
                  <a:pt x="2387970" y="2861150"/>
                  <a:pt x="2386315" y="2862198"/>
                  <a:pt x="2384661" y="2863246"/>
                </a:cubicBezTo>
                <a:close/>
                <a:moveTo>
                  <a:pt x="719571" y="2862732"/>
                </a:moveTo>
                <a:cubicBezTo>
                  <a:pt x="717935" y="2861683"/>
                  <a:pt x="716281" y="2860636"/>
                  <a:pt x="714644" y="2859588"/>
                </a:cubicBezTo>
                <a:lnTo>
                  <a:pt x="730253" y="2835173"/>
                </a:lnTo>
                <a:cubicBezTo>
                  <a:pt x="731871" y="2836203"/>
                  <a:pt x="733470" y="2837232"/>
                  <a:pt x="735088" y="2838262"/>
                </a:cubicBezTo>
                <a:lnTo>
                  <a:pt x="719553" y="2862732"/>
                </a:lnTo>
                <a:close/>
                <a:moveTo>
                  <a:pt x="2401924" y="2852197"/>
                </a:moveTo>
                <a:lnTo>
                  <a:pt x="2386076" y="2827929"/>
                </a:lnTo>
                <a:cubicBezTo>
                  <a:pt x="2387694" y="2826882"/>
                  <a:pt x="2389294" y="2825834"/>
                  <a:pt x="2390893" y="2824767"/>
                </a:cubicBezTo>
                <a:lnTo>
                  <a:pt x="2406796" y="2848980"/>
                </a:lnTo>
                <a:cubicBezTo>
                  <a:pt x="2405178" y="2850046"/>
                  <a:pt x="2403542" y="2851112"/>
                  <a:pt x="2401905" y="2852179"/>
                </a:cubicBezTo>
                <a:close/>
                <a:moveTo>
                  <a:pt x="702382" y="2851664"/>
                </a:moveTo>
                <a:cubicBezTo>
                  <a:pt x="700746" y="2850598"/>
                  <a:pt x="699128" y="2849531"/>
                  <a:pt x="697492" y="2848447"/>
                </a:cubicBezTo>
                <a:lnTo>
                  <a:pt x="713431" y="2824253"/>
                </a:lnTo>
                <a:cubicBezTo>
                  <a:pt x="715031" y="2825301"/>
                  <a:pt x="716630" y="2826348"/>
                  <a:pt x="718211" y="2827396"/>
                </a:cubicBezTo>
                <a:lnTo>
                  <a:pt x="702364" y="2851646"/>
                </a:lnTo>
                <a:close/>
                <a:moveTo>
                  <a:pt x="2419003" y="2840891"/>
                </a:moveTo>
                <a:lnTo>
                  <a:pt x="2402843" y="2816825"/>
                </a:lnTo>
                <a:cubicBezTo>
                  <a:pt x="2404443" y="2815759"/>
                  <a:pt x="2406024" y="2814693"/>
                  <a:pt x="2407623" y="2813608"/>
                </a:cubicBezTo>
                <a:lnTo>
                  <a:pt x="2423857" y="2837618"/>
                </a:lnTo>
                <a:cubicBezTo>
                  <a:pt x="2422239" y="2838703"/>
                  <a:pt x="2420621" y="2839806"/>
                  <a:pt x="2419003" y="2840891"/>
                </a:cubicBezTo>
                <a:close/>
                <a:moveTo>
                  <a:pt x="685321" y="2840357"/>
                </a:moveTo>
                <a:cubicBezTo>
                  <a:pt x="683703" y="2839273"/>
                  <a:pt x="682085" y="2838188"/>
                  <a:pt x="680486" y="2837085"/>
                </a:cubicBezTo>
                <a:lnTo>
                  <a:pt x="696738" y="2813093"/>
                </a:lnTo>
                <a:cubicBezTo>
                  <a:pt x="698319" y="2814159"/>
                  <a:pt x="699900" y="2815244"/>
                  <a:pt x="701500" y="2816292"/>
                </a:cubicBezTo>
                <a:lnTo>
                  <a:pt x="685339" y="2840339"/>
                </a:lnTo>
                <a:close/>
                <a:moveTo>
                  <a:pt x="2435935" y="2829364"/>
                </a:moveTo>
                <a:lnTo>
                  <a:pt x="2419481" y="2805519"/>
                </a:lnTo>
                <a:cubicBezTo>
                  <a:pt x="2421062" y="2804434"/>
                  <a:pt x="2422643" y="2803331"/>
                  <a:pt x="2424206" y="2802246"/>
                </a:cubicBezTo>
                <a:lnTo>
                  <a:pt x="2440752" y="2826036"/>
                </a:lnTo>
                <a:cubicBezTo>
                  <a:pt x="2439153" y="2827157"/>
                  <a:pt x="2437553" y="2828260"/>
                  <a:pt x="2435935" y="2829364"/>
                </a:cubicBezTo>
                <a:close/>
                <a:moveTo>
                  <a:pt x="668426" y="2828830"/>
                </a:moveTo>
                <a:cubicBezTo>
                  <a:pt x="666826" y="2827727"/>
                  <a:pt x="665227" y="2826606"/>
                  <a:pt x="663627" y="2825503"/>
                </a:cubicBezTo>
                <a:lnTo>
                  <a:pt x="680192" y="2801731"/>
                </a:lnTo>
                <a:cubicBezTo>
                  <a:pt x="681755" y="2802835"/>
                  <a:pt x="683336" y="2803919"/>
                  <a:pt x="684898" y="2805004"/>
                </a:cubicBezTo>
                <a:lnTo>
                  <a:pt x="668407" y="2828830"/>
                </a:lnTo>
                <a:close/>
                <a:moveTo>
                  <a:pt x="2452720" y="2817616"/>
                </a:moveTo>
                <a:lnTo>
                  <a:pt x="2435954" y="2793992"/>
                </a:lnTo>
                <a:cubicBezTo>
                  <a:pt x="2437516" y="2792889"/>
                  <a:pt x="2439079" y="2791767"/>
                  <a:pt x="2440623" y="2790664"/>
                </a:cubicBezTo>
                <a:lnTo>
                  <a:pt x="2457482" y="2814233"/>
                </a:lnTo>
                <a:cubicBezTo>
                  <a:pt x="2455901" y="2815373"/>
                  <a:pt x="2454301" y="2816494"/>
                  <a:pt x="2452702" y="2817634"/>
                </a:cubicBezTo>
                <a:close/>
                <a:moveTo>
                  <a:pt x="651696" y="2817101"/>
                </a:moveTo>
                <a:cubicBezTo>
                  <a:pt x="650115" y="2815980"/>
                  <a:pt x="648515" y="2814840"/>
                  <a:pt x="646934" y="2813700"/>
                </a:cubicBezTo>
                <a:lnTo>
                  <a:pt x="663830" y="2790168"/>
                </a:lnTo>
                <a:cubicBezTo>
                  <a:pt x="665374" y="2791289"/>
                  <a:pt x="666937" y="2792392"/>
                  <a:pt x="668481" y="2793495"/>
                </a:cubicBezTo>
                <a:lnTo>
                  <a:pt x="651696" y="2817101"/>
                </a:lnTo>
                <a:close/>
                <a:moveTo>
                  <a:pt x="2469359" y="2805647"/>
                </a:moveTo>
                <a:lnTo>
                  <a:pt x="2452298" y="2782226"/>
                </a:lnTo>
                <a:cubicBezTo>
                  <a:pt x="2453842" y="2781104"/>
                  <a:pt x="2455386" y="2779964"/>
                  <a:pt x="2456931" y="2778843"/>
                </a:cubicBezTo>
                <a:lnTo>
                  <a:pt x="2474102" y="2802173"/>
                </a:lnTo>
                <a:cubicBezTo>
                  <a:pt x="2472521" y="2803331"/>
                  <a:pt x="2470940" y="2804489"/>
                  <a:pt x="2469377" y="2805647"/>
                </a:cubicBezTo>
                <a:close/>
                <a:moveTo>
                  <a:pt x="635094" y="2805133"/>
                </a:moveTo>
                <a:cubicBezTo>
                  <a:pt x="633532" y="2803975"/>
                  <a:pt x="631951" y="2802835"/>
                  <a:pt x="630388" y="2801677"/>
                </a:cubicBezTo>
                <a:lnTo>
                  <a:pt x="647578" y="2778346"/>
                </a:lnTo>
                <a:cubicBezTo>
                  <a:pt x="649122" y="2779486"/>
                  <a:pt x="650648" y="2780608"/>
                  <a:pt x="652192" y="2781747"/>
                </a:cubicBezTo>
                <a:lnTo>
                  <a:pt x="635094" y="2805133"/>
                </a:lnTo>
                <a:close/>
                <a:moveTo>
                  <a:pt x="2485831" y="2793458"/>
                </a:moveTo>
                <a:lnTo>
                  <a:pt x="2468421" y="2770294"/>
                </a:lnTo>
                <a:cubicBezTo>
                  <a:pt x="2469965" y="2769136"/>
                  <a:pt x="2471491" y="2767977"/>
                  <a:pt x="2473017" y="2766838"/>
                </a:cubicBezTo>
                <a:lnTo>
                  <a:pt x="2490482" y="2789947"/>
                </a:lnTo>
                <a:cubicBezTo>
                  <a:pt x="2488938" y="2791124"/>
                  <a:pt x="2487375" y="2792300"/>
                  <a:pt x="2485813" y="2793458"/>
                </a:cubicBezTo>
                <a:close/>
                <a:moveTo>
                  <a:pt x="618677" y="2792962"/>
                </a:moveTo>
                <a:cubicBezTo>
                  <a:pt x="617114" y="2791786"/>
                  <a:pt x="615570" y="2790627"/>
                  <a:pt x="614026" y="2789451"/>
                </a:cubicBezTo>
                <a:lnTo>
                  <a:pt x="631510" y="2766341"/>
                </a:lnTo>
                <a:cubicBezTo>
                  <a:pt x="633035" y="2767499"/>
                  <a:pt x="634561" y="2768639"/>
                  <a:pt x="636087" y="2769798"/>
                </a:cubicBezTo>
                <a:lnTo>
                  <a:pt x="618677" y="2792962"/>
                </a:lnTo>
                <a:close/>
                <a:moveTo>
                  <a:pt x="2502138" y="2781049"/>
                </a:moveTo>
                <a:lnTo>
                  <a:pt x="2484434" y="2758105"/>
                </a:lnTo>
                <a:cubicBezTo>
                  <a:pt x="2485960" y="2756928"/>
                  <a:pt x="2487467" y="2755752"/>
                  <a:pt x="2488993" y="2754575"/>
                </a:cubicBezTo>
                <a:lnTo>
                  <a:pt x="2506771" y="2777464"/>
                </a:lnTo>
                <a:cubicBezTo>
                  <a:pt x="2505227" y="2778659"/>
                  <a:pt x="2503682" y="2779854"/>
                  <a:pt x="2502156" y="2781049"/>
                </a:cubicBezTo>
                <a:close/>
                <a:moveTo>
                  <a:pt x="602425" y="2780571"/>
                </a:moveTo>
                <a:cubicBezTo>
                  <a:pt x="600881" y="2779376"/>
                  <a:pt x="599337" y="2778181"/>
                  <a:pt x="597811" y="2776986"/>
                </a:cubicBezTo>
                <a:lnTo>
                  <a:pt x="615625" y="2754134"/>
                </a:lnTo>
                <a:cubicBezTo>
                  <a:pt x="617133" y="2755311"/>
                  <a:pt x="618640" y="2756469"/>
                  <a:pt x="620148" y="2757645"/>
                </a:cubicBezTo>
                <a:lnTo>
                  <a:pt x="602444" y="2780571"/>
                </a:lnTo>
                <a:close/>
                <a:moveTo>
                  <a:pt x="2518280" y="2768437"/>
                </a:moveTo>
                <a:lnTo>
                  <a:pt x="2500281" y="2745732"/>
                </a:lnTo>
                <a:cubicBezTo>
                  <a:pt x="2501789" y="2744537"/>
                  <a:pt x="2503278" y="2743361"/>
                  <a:pt x="2504767" y="2742166"/>
                </a:cubicBezTo>
                <a:lnTo>
                  <a:pt x="2522858" y="2764797"/>
                </a:lnTo>
                <a:cubicBezTo>
                  <a:pt x="2521331" y="2766010"/>
                  <a:pt x="2519806" y="2767242"/>
                  <a:pt x="2518261" y="2768456"/>
                </a:cubicBezTo>
                <a:close/>
                <a:moveTo>
                  <a:pt x="586320" y="2767959"/>
                </a:moveTo>
                <a:cubicBezTo>
                  <a:pt x="584794" y="2766746"/>
                  <a:pt x="583268" y="2765532"/>
                  <a:pt x="581743" y="2764319"/>
                </a:cubicBezTo>
                <a:lnTo>
                  <a:pt x="599851" y="2741706"/>
                </a:lnTo>
                <a:cubicBezTo>
                  <a:pt x="601340" y="2742901"/>
                  <a:pt x="602830" y="2744096"/>
                  <a:pt x="604337" y="2745273"/>
                </a:cubicBezTo>
                <a:lnTo>
                  <a:pt x="586320" y="2767959"/>
                </a:lnTo>
                <a:close/>
                <a:moveTo>
                  <a:pt x="2534256" y="2755586"/>
                </a:moveTo>
                <a:lnTo>
                  <a:pt x="2515963" y="2733120"/>
                </a:lnTo>
                <a:cubicBezTo>
                  <a:pt x="2517452" y="2731907"/>
                  <a:pt x="2518923" y="2730694"/>
                  <a:pt x="2520412" y="2729480"/>
                </a:cubicBezTo>
                <a:lnTo>
                  <a:pt x="2538797" y="2751873"/>
                </a:lnTo>
                <a:cubicBezTo>
                  <a:pt x="2537289" y="2753104"/>
                  <a:pt x="2535782" y="2754354"/>
                  <a:pt x="2534256" y="2755586"/>
                </a:cubicBezTo>
                <a:close/>
                <a:moveTo>
                  <a:pt x="570399" y="2755145"/>
                </a:moveTo>
                <a:cubicBezTo>
                  <a:pt x="568892" y="2753913"/>
                  <a:pt x="567384" y="2752682"/>
                  <a:pt x="565877" y="2751450"/>
                </a:cubicBezTo>
                <a:lnTo>
                  <a:pt x="584280" y="2729076"/>
                </a:lnTo>
                <a:cubicBezTo>
                  <a:pt x="585750" y="2730289"/>
                  <a:pt x="587221" y="2731503"/>
                  <a:pt x="588710" y="2732698"/>
                </a:cubicBezTo>
                <a:lnTo>
                  <a:pt x="570399" y="2755145"/>
                </a:lnTo>
                <a:close/>
                <a:moveTo>
                  <a:pt x="2550067" y="2742552"/>
                </a:moveTo>
                <a:lnTo>
                  <a:pt x="2531480" y="2720325"/>
                </a:lnTo>
                <a:cubicBezTo>
                  <a:pt x="2532951" y="2719093"/>
                  <a:pt x="2534403" y="2717861"/>
                  <a:pt x="2535874" y="2716630"/>
                </a:cubicBezTo>
                <a:lnTo>
                  <a:pt x="2554552" y="2738783"/>
                </a:lnTo>
                <a:cubicBezTo>
                  <a:pt x="2553063" y="2740051"/>
                  <a:pt x="2551556" y="2741301"/>
                  <a:pt x="2550067" y="2742552"/>
                </a:cubicBezTo>
                <a:close/>
                <a:moveTo>
                  <a:pt x="554662" y="2742129"/>
                </a:moveTo>
                <a:cubicBezTo>
                  <a:pt x="553173" y="2740879"/>
                  <a:pt x="551684" y="2739629"/>
                  <a:pt x="550195" y="2738378"/>
                </a:cubicBezTo>
                <a:lnTo>
                  <a:pt x="568892" y="2716243"/>
                </a:lnTo>
                <a:cubicBezTo>
                  <a:pt x="570344" y="2717475"/>
                  <a:pt x="571815" y="2718707"/>
                  <a:pt x="573267" y="2719939"/>
                </a:cubicBezTo>
                <a:lnTo>
                  <a:pt x="554662" y="2742147"/>
                </a:lnTo>
                <a:close/>
                <a:moveTo>
                  <a:pt x="2565693" y="2729297"/>
                </a:moveTo>
                <a:lnTo>
                  <a:pt x="2546794" y="2707327"/>
                </a:lnTo>
                <a:cubicBezTo>
                  <a:pt x="2548246" y="2706077"/>
                  <a:pt x="2549699" y="2704827"/>
                  <a:pt x="2551151" y="2703576"/>
                </a:cubicBezTo>
                <a:lnTo>
                  <a:pt x="2570124" y="2725472"/>
                </a:lnTo>
                <a:cubicBezTo>
                  <a:pt x="2568653" y="2726741"/>
                  <a:pt x="2567183" y="2728028"/>
                  <a:pt x="2565693" y="2729297"/>
                </a:cubicBezTo>
                <a:close/>
                <a:moveTo>
                  <a:pt x="539072" y="2728892"/>
                </a:moveTo>
                <a:cubicBezTo>
                  <a:pt x="537601" y="2727623"/>
                  <a:pt x="536130" y="2726355"/>
                  <a:pt x="534660" y="2725086"/>
                </a:cubicBezTo>
                <a:lnTo>
                  <a:pt x="553633" y="2703190"/>
                </a:lnTo>
                <a:cubicBezTo>
                  <a:pt x="555085" y="2704441"/>
                  <a:pt x="556519" y="2705691"/>
                  <a:pt x="557971" y="2706941"/>
                </a:cubicBezTo>
                <a:lnTo>
                  <a:pt x="539054" y="2728892"/>
                </a:lnTo>
                <a:close/>
                <a:moveTo>
                  <a:pt x="2581136" y="2715821"/>
                </a:moveTo>
                <a:lnTo>
                  <a:pt x="2561962" y="2694109"/>
                </a:lnTo>
                <a:cubicBezTo>
                  <a:pt x="2563395" y="2692840"/>
                  <a:pt x="2564811" y="2691590"/>
                  <a:pt x="2566245" y="2690321"/>
                </a:cubicBezTo>
                <a:lnTo>
                  <a:pt x="2585512" y="2711960"/>
                </a:lnTo>
                <a:cubicBezTo>
                  <a:pt x="2584060" y="2713247"/>
                  <a:pt x="2582607" y="2714534"/>
                  <a:pt x="2581155" y="2715821"/>
                </a:cubicBezTo>
                <a:close/>
                <a:moveTo>
                  <a:pt x="523684" y="2715453"/>
                </a:moveTo>
                <a:cubicBezTo>
                  <a:pt x="522232" y="2714166"/>
                  <a:pt x="520779" y="2712879"/>
                  <a:pt x="519327" y="2711592"/>
                </a:cubicBezTo>
                <a:lnTo>
                  <a:pt x="538594" y="2689954"/>
                </a:lnTo>
                <a:cubicBezTo>
                  <a:pt x="540028" y="2691222"/>
                  <a:pt x="541444" y="2692491"/>
                  <a:pt x="542878" y="2693759"/>
                </a:cubicBezTo>
                <a:lnTo>
                  <a:pt x="523684" y="2715471"/>
                </a:lnTo>
                <a:close/>
                <a:moveTo>
                  <a:pt x="2596341" y="2702216"/>
                </a:moveTo>
                <a:lnTo>
                  <a:pt x="2576871" y="2680743"/>
                </a:lnTo>
                <a:cubicBezTo>
                  <a:pt x="2578287" y="2679456"/>
                  <a:pt x="2579684" y="2678187"/>
                  <a:pt x="2581100" y="2676901"/>
                </a:cubicBezTo>
                <a:lnTo>
                  <a:pt x="2600642" y="2698282"/>
                </a:lnTo>
                <a:cubicBezTo>
                  <a:pt x="2599209" y="2699587"/>
                  <a:pt x="2597775" y="2700911"/>
                  <a:pt x="2596322" y="2702216"/>
                </a:cubicBezTo>
                <a:close/>
                <a:moveTo>
                  <a:pt x="508480" y="2701830"/>
                </a:moveTo>
                <a:cubicBezTo>
                  <a:pt x="507046" y="2700525"/>
                  <a:pt x="505612" y="2699219"/>
                  <a:pt x="504160" y="2697896"/>
                </a:cubicBezTo>
                <a:lnTo>
                  <a:pt x="523702" y="2676514"/>
                </a:lnTo>
                <a:cubicBezTo>
                  <a:pt x="525118" y="2677801"/>
                  <a:pt x="526515" y="2679088"/>
                  <a:pt x="527931" y="2680375"/>
                </a:cubicBezTo>
                <a:lnTo>
                  <a:pt x="508462" y="2701830"/>
                </a:lnTo>
                <a:close/>
                <a:moveTo>
                  <a:pt x="2611379" y="2688409"/>
                </a:moveTo>
                <a:lnTo>
                  <a:pt x="2591634" y="2667212"/>
                </a:lnTo>
                <a:cubicBezTo>
                  <a:pt x="2593031" y="2665906"/>
                  <a:pt x="2594428" y="2664601"/>
                  <a:pt x="2595807" y="2663296"/>
                </a:cubicBezTo>
                <a:lnTo>
                  <a:pt x="2615644" y="2684420"/>
                </a:lnTo>
                <a:cubicBezTo>
                  <a:pt x="2614229" y="2685743"/>
                  <a:pt x="2612813" y="2687067"/>
                  <a:pt x="2611379" y="2688391"/>
                </a:cubicBezTo>
                <a:close/>
                <a:moveTo>
                  <a:pt x="493441" y="2687986"/>
                </a:moveTo>
                <a:cubicBezTo>
                  <a:pt x="492026" y="2686663"/>
                  <a:pt x="490610" y="2685339"/>
                  <a:pt x="489195" y="2684015"/>
                </a:cubicBezTo>
                <a:lnTo>
                  <a:pt x="509032" y="2662891"/>
                </a:lnTo>
                <a:cubicBezTo>
                  <a:pt x="510429" y="2664197"/>
                  <a:pt x="511826" y="2665502"/>
                  <a:pt x="513223" y="2666807"/>
                </a:cubicBezTo>
                <a:lnTo>
                  <a:pt x="493460" y="2687986"/>
                </a:lnTo>
                <a:close/>
                <a:moveTo>
                  <a:pt x="2626215" y="2674400"/>
                </a:moveTo>
                <a:lnTo>
                  <a:pt x="2606176" y="2653478"/>
                </a:lnTo>
                <a:cubicBezTo>
                  <a:pt x="2607555" y="2652155"/>
                  <a:pt x="2608934" y="2650831"/>
                  <a:pt x="2610313" y="2649508"/>
                </a:cubicBezTo>
                <a:lnTo>
                  <a:pt x="2630407" y="2670374"/>
                </a:lnTo>
                <a:cubicBezTo>
                  <a:pt x="2629010" y="2671716"/>
                  <a:pt x="2627613" y="2673058"/>
                  <a:pt x="2626215" y="2674400"/>
                </a:cubicBezTo>
                <a:close/>
                <a:moveTo>
                  <a:pt x="478605" y="2673959"/>
                </a:moveTo>
                <a:cubicBezTo>
                  <a:pt x="477208" y="2672617"/>
                  <a:pt x="475811" y="2671275"/>
                  <a:pt x="474413" y="2669914"/>
                </a:cubicBezTo>
                <a:lnTo>
                  <a:pt x="494526" y="2649066"/>
                </a:lnTo>
                <a:cubicBezTo>
                  <a:pt x="495905" y="2650390"/>
                  <a:pt x="497284" y="2651714"/>
                  <a:pt x="498663" y="2653037"/>
                </a:cubicBezTo>
                <a:lnTo>
                  <a:pt x="478624" y="2673959"/>
                </a:lnTo>
                <a:close/>
                <a:moveTo>
                  <a:pt x="2640868" y="2660189"/>
                </a:moveTo>
                <a:lnTo>
                  <a:pt x="2620571" y="2639506"/>
                </a:lnTo>
                <a:cubicBezTo>
                  <a:pt x="2621932" y="2638164"/>
                  <a:pt x="2623292" y="2636841"/>
                  <a:pt x="2624634" y="2635499"/>
                </a:cubicBezTo>
                <a:lnTo>
                  <a:pt x="2645023" y="2656089"/>
                </a:lnTo>
                <a:cubicBezTo>
                  <a:pt x="2643644" y="2657450"/>
                  <a:pt x="2642265" y="2658828"/>
                  <a:pt x="2640868" y="2660189"/>
                </a:cubicBezTo>
                <a:close/>
                <a:moveTo>
                  <a:pt x="463953" y="2659748"/>
                </a:moveTo>
                <a:cubicBezTo>
                  <a:pt x="462555" y="2658387"/>
                  <a:pt x="461177" y="2657008"/>
                  <a:pt x="459798" y="2655648"/>
                </a:cubicBezTo>
                <a:lnTo>
                  <a:pt x="480205" y="2635076"/>
                </a:lnTo>
                <a:cubicBezTo>
                  <a:pt x="481565" y="2636418"/>
                  <a:pt x="482907" y="2637760"/>
                  <a:pt x="484268" y="2639083"/>
                </a:cubicBezTo>
                <a:lnTo>
                  <a:pt x="463953" y="2659748"/>
                </a:lnTo>
                <a:close/>
                <a:moveTo>
                  <a:pt x="2655337" y="2645794"/>
                </a:moveTo>
                <a:lnTo>
                  <a:pt x="2634764" y="2625387"/>
                </a:lnTo>
                <a:cubicBezTo>
                  <a:pt x="2636106" y="2624027"/>
                  <a:pt x="2637448" y="2622666"/>
                  <a:pt x="2638790" y="2621324"/>
                </a:cubicBezTo>
                <a:lnTo>
                  <a:pt x="2659436" y="2641657"/>
                </a:lnTo>
                <a:cubicBezTo>
                  <a:pt x="2658076" y="2643036"/>
                  <a:pt x="2656697" y="2644433"/>
                  <a:pt x="2655337" y="2645794"/>
                </a:cubicBezTo>
                <a:close/>
                <a:moveTo>
                  <a:pt x="449484" y="2645334"/>
                </a:moveTo>
                <a:cubicBezTo>
                  <a:pt x="448124" y="2643955"/>
                  <a:pt x="446745" y="2642577"/>
                  <a:pt x="445384" y="2641179"/>
                </a:cubicBezTo>
                <a:lnTo>
                  <a:pt x="466049" y="2620864"/>
                </a:lnTo>
                <a:cubicBezTo>
                  <a:pt x="467391" y="2622225"/>
                  <a:pt x="468733" y="2623585"/>
                  <a:pt x="470056" y="2624946"/>
                </a:cubicBezTo>
                <a:lnTo>
                  <a:pt x="449466" y="2645334"/>
                </a:lnTo>
                <a:close/>
                <a:moveTo>
                  <a:pt x="2669640" y="2631178"/>
                </a:moveTo>
                <a:lnTo>
                  <a:pt x="2648792" y="2611065"/>
                </a:lnTo>
                <a:cubicBezTo>
                  <a:pt x="2650115" y="2609687"/>
                  <a:pt x="2651439" y="2608308"/>
                  <a:pt x="2652763" y="2606929"/>
                </a:cubicBezTo>
                <a:lnTo>
                  <a:pt x="2673684" y="2626968"/>
                </a:lnTo>
                <a:cubicBezTo>
                  <a:pt x="2672342" y="2628365"/>
                  <a:pt x="2671000" y="2629763"/>
                  <a:pt x="2669640" y="2631160"/>
                </a:cubicBezTo>
                <a:close/>
                <a:moveTo>
                  <a:pt x="435218" y="2630737"/>
                </a:moveTo>
                <a:cubicBezTo>
                  <a:pt x="433857" y="2629340"/>
                  <a:pt x="432515" y="2627924"/>
                  <a:pt x="431173" y="2626527"/>
                </a:cubicBezTo>
                <a:lnTo>
                  <a:pt x="452113" y="2606506"/>
                </a:lnTo>
                <a:cubicBezTo>
                  <a:pt x="453437" y="2607885"/>
                  <a:pt x="454742" y="2609264"/>
                  <a:pt x="456066" y="2610624"/>
                </a:cubicBezTo>
                <a:lnTo>
                  <a:pt x="435218" y="2630737"/>
                </a:lnTo>
                <a:close/>
                <a:moveTo>
                  <a:pt x="2683722" y="2616415"/>
                </a:moveTo>
                <a:lnTo>
                  <a:pt x="2662617" y="2596560"/>
                </a:lnTo>
                <a:cubicBezTo>
                  <a:pt x="2663922" y="2595163"/>
                  <a:pt x="2665227" y="2593784"/>
                  <a:pt x="2666533" y="2592387"/>
                </a:cubicBezTo>
                <a:lnTo>
                  <a:pt x="2687712" y="2612150"/>
                </a:lnTo>
                <a:cubicBezTo>
                  <a:pt x="2686388" y="2613566"/>
                  <a:pt x="2685064" y="2614981"/>
                  <a:pt x="2683722" y="2616397"/>
                </a:cubicBezTo>
                <a:close/>
                <a:moveTo>
                  <a:pt x="421135" y="2615937"/>
                </a:moveTo>
                <a:cubicBezTo>
                  <a:pt x="419811" y="2614522"/>
                  <a:pt x="418488" y="2613106"/>
                  <a:pt x="417164" y="2611690"/>
                </a:cubicBezTo>
                <a:lnTo>
                  <a:pt x="438361" y="2591927"/>
                </a:lnTo>
                <a:cubicBezTo>
                  <a:pt x="439667" y="2593324"/>
                  <a:pt x="440972" y="2594722"/>
                  <a:pt x="442277" y="2596119"/>
                </a:cubicBezTo>
                <a:lnTo>
                  <a:pt x="421153" y="2615956"/>
                </a:lnTo>
                <a:close/>
                <a:moveTo>
                  <a:pt x="2697603" y="2601432"/>
                </a:moveTo>
                <a:lnTo>
                  <a:pt x="2676221" y="2581871"/>
                </a:lnTo>
                <a:cubicBezTo>
                  <a:pt x="2677508" y="2580455"/>
                  <a:pt x="2678795" y="2579058"/>
                  <a:pt x="2680082" y="2577642"/>
                </a:cubicBezTo>
                <a:lnTo>
                  <a:pt x="2701519" y="2597130"/>
                </a:lnTo>
                <a:cubicBezTo>
                  <a:pt x="2700213" y="2598564"/>
                  <a:pt x="2698908" y="2599998"/>
                  <a:pt x="2697584" y="2601432"/>
                </a:cubicBezTo>
                <a:close/>
                <a:moveTo>
                  <a:pt x="407273" y="2600972"/>
                </a:moveTo>
                <a:cubicBezTo>
                  <a:pt x="405968" y="2599538"/>
                  <a:pt x="404662" y="2598104"/>
                  <a:pt x="403357" y="2596670"/>
                </a:cubicBezTo>
                <a:lnTo>
                  <a:pt x="424812" y="2577183"/>
                </a:lnTo>
                <a:cubicBezTo>
                  <a:pt x="426099" y="2578598"/>
                  <a:pt x="427386" y="2580014"/>
                  <a:pt x="428673" y="2581411"/>
                </a:cubicBezTo>
                <a:lnTo>
                  <a:pt x="407291" y="2600954"/>
                </a:lnTo>
                <a:close/>
                <a:moveTo>
                  <a:pt x="2711299" y="2586265"/>
                </a:moveTo>
                <a:lnTo>
                  <a:pt x="2689661" y="2566998"/>
                </a:lnTo>
                <a:cubicBezTo>
                  <a:pt x="2690929" y="2565582"/>
                  <a:pt x="2692198" y="2564148"/>
                  <a:pt x="2693466" y="2562714"/>
                </a:cubicBezTo>
                <a:lnTo>
                  <a:pt x="2715178" y="2581908"/>
                </a:lnTo>
                <a:cubicBezTo>
                  <a:pt x="2713891" y="2583360"/>
                  <a:pt x="2712604" y="2584812"/>
                  <a:pt x="2711299" y="2586265"/>
                </a:cubicBezTo>
                <a:close/>
                <a:moveTo>
                  <a:pt x="393595" y="2585823"/>
                </a:moveTo>
                <a:cubicBezTo>
                  <a:pt x="392308" y="2584371"/>
                  <a:pt x="391021" y="2582919"/>
                  <a:pt x="389734" y="2581466"/>
                </a:cubicBezTo>
                <a:lnTo>
                  <a:pt x="411446" y="2562273"/>
                </a:lnTo>
                <a:cubicBezTo>
                  <a:pt x="412715" y="2563707"/>
                  <a:pt x="413983" y="2565122"/>
                  <a:pt x="415252" y="2566557"/>
                </a:cubicBezTo>
                <a:lnTo>
                  <a:pt x="393613" y="2585823"/>
                </a:lnTo>
                <a:close/>
                <a:moveTo>
                  <a:pt x="2724793" y="2570932"/>
                </a:moveTo>
                <a:lnTo>
                  <a:pt x="2702916" y="2551941"/>
                </a:lnTo>
                <a:cubicBezTo>
                  <a:pt x="2704166" y="2550507"/>
                  <a:pt x="2705416" y="2549054"/>
                  <a:pt x="2706666" y="2547602"/>
                </a:cubicBezTo>
                <a:lnTo>
                  <a:pt x="2728617" y="2566520"/>
                </a:lnTo>
                <a:cubicBezTo>
                  <a:pt x="2727349" y="2567990"/>
                  <a:pt x="2726080" y="2569461"/>
                  <a:pt x="2724793" y="2570932"/>
                </a:cubicBezTo>
                <a:close/>
                <a:moveTo>
                  <a:pt x="380137" y="2570491"/>
                </a:moveTo>
                <a:cubicBezTo>
                  <a:pt x="378851" y="2569020"/>
                  <a:pt x="377582" y="2567531"/>
                  <a:pt x="376314" y="2566060"/>
                </a:cubicBezTo>
                <a:lnTo>
                  <a:pt x="398283" y="2547179"/>
                </a:lnTo>
                <a:cubicBezTo>
                  <a:pt x="399533" y="2548632"/>
                  <a:pt x="400783" y="2550084"/>
                  <a:pt x="402033" y="2551518"/>
                </a:cubicBezTo>
                <a:lnTo>
                  <a:pt x="380137" y="2570509"/>
                </a:lnTo>
                <a:close/>
                <a:moveTo>
                  <a:pt x="2738085" y="2555415"/>
                </a:moveTo>
                <a:lnTo>
                  <a:pt x="2715951" y="2536718"/>
                </a:lnTo>
                <a:cubicBezTo>
                  <a:pt x="2717182" y="2535266"/>
                  <a:pt x="2718414" y="2533795"/>
                  <a:pt x="2719627" y="2532343"/>
                </a:cubicBezTo>
                <a:lnTo>
                  <a:pt x="2741836" y="2550948"/>
                </a:lnTo>
                <a:cubicBezTo>
                  <a:pt x="2740586" y="2552437"/>
                  <a:pt x="2739336" y="2553926"/>
                  <a:pt x="2738067" y="2555415"/>
                </a:cubicBezTo>
                <a:close/>
                <a:moveTo>
                  <a:pt x="366809" y="2554919"/>
                </a:moveTo>
                <a:cubicBezTo>
                  <a:pt x="365540" y="2553430"/>
                  <a:pt x="364290" y="2551941"/>
                  <a:pt x="363040" y="2550433"/>
                </a:cubicBezTo>
                <a:lnTo>
                  <a:pt x="385248" y="2531828"/>
                </a:lnTo>
                <a:cubicBezTo>
                  <a:pt x="386480" y="2533299"/>
                  <a:pt x="387712" y="2534770"/>
                  <a:pt x="388944" y="2536222"/>
                </a:cubicBezTo>
                <a:lnTo>
                  <a:pt x="366809" y="2554901"/>
                </a:lnTo>
                <a:close/>
                <a:moveTo>
                  <a:pt x="2751175" y="2539715"/>
                </a:moveTo>
                <a:lnTo>
                  <a:pt x="2728783" y="2521330"/>
                </a:lnTo>
                <a:cubicBezTo>
                  <a:pt x="2729996" y="2519841"/>
                  <a:pt x="2731210" y="2518370"/>
                  <a:pt x="2732423" y="2516881"/>
                </a:cubicBezTo>
                <a:lnTo>
                  <a:pt x="2754852" y="2535211"/>
                </a:lnTo>
                <a:cubicBezTo>
                  <a:pt x="2753620" y="2536718"/>
                  <a:pt x="2752389" y="2538207"/>
                  <a:pt x="2751157" y="2539715"/>
                </a:cubicBezTo>
                <a:close/>
                <a:moveTo>
                  <a:pt x="353700" y="2539163"/>
                </a:moveTo>
                <a:cubicBezTo>
                  <a:pt x="352469" y="2537656"/>
                  <a:pt x="351237" y="2536148"/>
                  <a:pt x="350005" y="2534641"/>
                </a:cubicBezTo>
                <a:lnTo>
                  <a:pt x="372453" y="2516330"/>
                </a:lnTo>
                <a:cubicBezTo>
                  <a:pt x="373666" y="2517819"/>
                  <a:pt x="374880" y="2519308"/>
                  <a:pt x="376093" y="2520779"/>
                </a:cubicBezTo>
                <a:lnTo>
                  <a:pt x="353700" y="2539163"/>
                </a:lnTo>
                <a:close/>
                <a:moveTo>
                  <a:pt x="2764063" y="2523849"/>
                </a:moveTo>
                <a:lnTo>
                  <a:pt x="2741432" y="2505759"/>
                </a:lnTo>
                <a:cubicBezTo>
                  <a:pt x="2742626" y="2504270"/>
                  <a:pt x="2743821" y="2502762"/>
                  <a:pt x="2745016" y="2501273"/>
                </a:cubicBezTo>
                <a:lnTo>
                  <a:pt x="2767703" y="2519308"/>
                </a:lnTo>
                <a:cubicBezTo>
                  <a:pt x="2766490" y="2520834"/>
                  <a:pt x="2765276" y="2522342"/>
                  <a:pt x="2764081" y="2523867"/>
                </a:cubicBezTo>
                <a:close/>
                <a:moveTo>
                  <a:pt x="340795" y="2523242"/>
                </a:moveTo>
                <a:cubicBezTo>
                  <a:pt x="339581" y="2521717"/>
                  <a:pt x="338368" y="2520191"/>
                  <a:pt x="337154" y="2518665"/>
                </a:cubicBezTo>
                <a:lnTo>
                  <a:pt x="359859" y="2500666"/>
                </a:lnTo>
                <a:cubicBezTo>
                  <a:pt x="361054" y="2502174"/>
                  <a:pt x="362249" y="2503663"/>
                  <a:pt x="363444" y="2505152"/>
                </a:cubicBezTo>
                <a:lnTo>
                  <a:pt x="340813" y="2523242"/>
                </a:lnTo>
                <a:close/>
                <a:moveTo>
                  <a:pt x="2776730" y="2507799"/>
                </a:moveTo>
                <a:lnTo>
                  <a:pt x="2753860" y="2490003"/>
                </a:lnTo>
                <a:cubicBezTo>
                  <a:pt x="2755036" y="2488496"/>
                  <a:pt x="2756213" y="2486970"/>
                  <a:pt x="2757389" y="2485462"/>
                </a:cubicBezTo>
                <a:lnTo>
                  <a:pt x="2780315" y="2503185"/>
                </a:lnTo>
                <a:cubicBezTo>
                  <a:pt x="2779120" y="2504729"/>
                  <a:pt x="2777943" y="2506255"/>
                  <a:pt x="2776748" y="2507781"/>
                </a:cubicBezTo>
                <a:close/>
                <a:moveTo>
                  <a:pt x="328109" y="2507156"/>
                </a:moveTo>
                <a:cubicBezTo>
                  <a:pt x="326914" y="2505612"/>
                  <a:pt x="325719" y="2504067"/>
                  <a:pt x="324524" y="2502523"/>
                </a:cubicBezTo>
                <a:lnTo>
                  <a:pt x="347468" y="2484837"/>
                </a:lnTo>
                <a:cubicBezTo>
                  <a:pt x="348626" y="2486345"/>
                  <a:pt x="349803" y="2487871"/>
                  <a:pt x="350980" y="2489378"/>
                </a:cubicBezTo>
                <a:lnTo>
                  <a:pt x="328109" y="2507174"/>
                </a:lnTo>
                <a:close/>
                <a:moveTo>
                  <a:pt x="2789195" y="2491603"/>
                </a:moveTo>
                <a:lnTo>
                  <a:pt x="2766085" y="2474119"/>
                </a:lnTo>
                <a:cubicBezTo>
                  <a:pt x="2767243" y="2472593"/>
                  <a:pt x="2768402" y="2471067"/>
                  <a:pt x="2769541" y="2469541"/>
                </a:cubicBezTo>
                <a:lnTo>
                  <a:pt x="2792706" y="2486951"/>
                </a:lnTo>
                <a:cubicBezTo>
                  <a:pt x="2791529" y="2488496"/>
                  <a:pt x="2790371" y="2490058"/>
                  <a:pt x="2789195" y="2491603"/>
                </a:cubicBezTo>
                <a:close/>
                <a:moveTo>
                  <a:pt x="315644" y="2490904"/>
                </a:moveTo>
                <a:cubicBezTo>
                  <a:pt x="314468" y="2489341"/>
                  <a:pt x="313291" y="2487779"/>
                  <a:pt x="312115" y="2486216"/>
                </a:cubicBezTo>
                <a:lnTo>
                  <a:pt x="335298" y="2468824"/>
                </a:lnTo>
                <a:cubicBezTo>
                  <a:pt x="336456" y="2470350"/>
                  <a:pt x="337596" y="2471876"/>
                  <a:pt x="338754" y="2473402"/>
                </a:cubicBezTo>
                <a:lnTo>
                  <a:pt x="315663" y="2490886"/>
                </a:lnTo>
                <a:close/>
                <a:moveTo>
                  <a:pt x="2801420" y="2475240"/>
                </a:moveTo>
                <a:lnTo>
                  <a:pt x="2778109" y="2458032"/>
                </a:lnTo>
                <a:cubicBezTo>
                  <a:pt x="2779248" y="2456488"/>
                  <a:pt x="2780370" y="2454962"/>
                  <a:pt x="2781491" y="2453418"/>
                </a:cubicBezTo>
                <a:lnTo>
                  <a:pt x="2804877" y="2470534"/>
                </a:lnTo>
                <a:cubicBezTo>
                  <a:pt x="2803718" y="2472115"/>
                  <a:pt x="2802579" y="2473678"/>
                  <a:pt x="2801420" y="2475240"/>
                </a:cubicBezTo>
                <a:close/>
                <a:moveTo>
                  <a:pt x="303382" y="2474487"/>
                </a:moveTo>
                <a:cubicBezTo>
                  <a:pt x="302224" y="2472906"/>
                  <a:pt x="301065" y="2471343"/>
                  <a:pt x="299907" y="2469762"/>
                </a:cubicBezTo>
                <a:lnTo>
                  <a:pt x="323311" y="2452683"/>
                </a:lnTo>
                <a:cubicBezTo>
                  <a:pt x="324432" y="2454227"/>
                  <a:pt x="325572" y="2455771"/>
                  <a:pt x="326694" y="2457315"/>
                </a:cubicBezTo>
                <a:lnTo>
                  <a:pt x="303364" y="2474505"/>
                </a:lnTo>
                <a:close/>
                <a:moveTo>
                  <a:pt x="2813462" y="2458694"/>
                </a:moveTo>
                <a:lnTo>
                  <a:pt x="2789930" y="2441799"/>
                </a:lnTo>
                <a:cubicBezTo>
                  <a:pt x="2791051" y="2440255"/>
                  <a:pt x="2792154" y="2438692"/>
                  <a:pt x="2793257" y="2437148"/>
                </a:cubicBezTo>
                <a:lnTo>
                  <a:pt x="2816863" y="2453933"/>
                </a:lnTo>
                <a:cubicBezTo>
                  <a:pt x="2815742" y="2455514"/>
                  <a:pt x="2814602" y="2457113"/>
                  <a:pt x="2813462" y="2458694"/>
                </a:cubicBezTo>
                <a:close/>
                <a:moveTo>
                  <a:pt x="291340" y="2457885"/>
                </a:moveTo>
                <a:cubicBezTo>
                  <a:pt x="290200" y="2456304"/>
                  <a:pt x="289079" y="2454705"/>
                  <a:pt x="287939" y="2453124"/>
                </a:cubicBezTo>
                <a:lnTo>
                  <a:pt x="311563" y="2436339"/>
                </a:lnTo>
                <a:cubicBezTo>
                  <a:pt x="312666" y="2437901"/>
                  <a:pt x="313788" y="2439464"/>
                  <a:pt x="314909" y="2441027"/>
                </a:cubicBezTo>
                <a:lnTo>
                  <a:pt x="291340" y="2457885"/>
                </a:lnTo>
                <a:close/>
                <a:moveTo>
                  <a:pt x="2825265" y="2442001"/>
                </a:moveTo>
                <a:lnTo>
                  <a:pt x="2801494" y="2425437"/>
                </a:lnTo>
                <a:cubicBezTo>
                  <a:pt x="2802597" y="2423874"/>
                  <a:pt x="2803682" y="2422293"/>
                  <a:pt x="2804766" y="2420730"/>
                </a:cubicBezTo>
                <a:lnTo>
                  <a:pt x="2828593" y="2437221"/>
                </a:lnTo>
                <a:cubicBezTo>
                  <a:pt x="2827490" y="2438821"/>
                  <a:pt x="2826368" y="2440420"/>
                  <a:pt x="2825265" y="2442020"/>
                </a:cubicBezTo>
                <a:close/>
                <a:moveTo>
                  <a:pt x="279519" y="2441155"/>
                </a:moveTo>
                <a:cubicBezTo>
                  <a:pt x="278397" y="2439556"/>
                  <a:pt x="277294" y="2437956"/>
                  <a:pt x="276173" y="2436339"/>
                </a:cubicBezTo>
                <a:lnTo>
                  <a:pt x="300018" y="2419885"/>
                </a:lnTo>
                <a:cubicBezTo>
                  <a:pt x="301102" y="2421466"/>
                  <a:pt x="302205" y="2423028"/>
                  <a:pt x="303290" y="2424609"/>
                </a:cubicBezTo>
                <a:lnTo>
                  <a:pt x="279519" y="2441155"/>
                </a:lnTo>
                <a:close/>
                <a:moveTo>
                  <a:pt x="2836847" y="2425142"/>
                </a:moveTo>
                <a:lnTo>
                  <a:pt x="2812874" y="2408872"/>
                </a:lnTo>
                <a:cubicBezTo>
                  <a:pt x="2813940" y="2407291"/>
                  <a:pt x="2815006" y="2405710"/>
                  <a:pt x="2816073" y="2404129"/>
                </a:cubicBezTo>
                <a:lnTo>
                  <a:pt x="2840120" y="2420289"/>
                </a:lnTo>
                <a:cubicBezTo>
                  <a:pt x="2839035" y="2421907"/>
                  <a:pt x="2837932" y="2423525"/>
                  <a:pt x="2836847" y="2425142"/>
                </a:cubicBezTo>
                <a:close/>
                <a:moveTo>
                  <a:pt x="267918" y="2424260"/>
                </a:moveTo>
                <a:cubicBezTo>
                  <a:pt x="266833" y="2422642"/>
                  <a:pt x="265730" y="2421024"/>
                  <a:pt x="264646" y="2419407"/>
                </a:cubicBezTo>
                <a:lnTo>
                  <a:pt x="288693" y="2403265"/>
                </a:lnTo>
                <a:cubicBezTo>
                  <a:pt x="289759" y="2404864"/>
                  <a:pt x="290825" y="2406445"/>
                  <a:pt x="291910" y="2408027"/>
                </a:cubicBezTo>
                <a:lnTo>
                  <a:pt x="267900" y="2424260"/>
                </a:lnTo>
                <a:close/>
                <a:moveTo>
                  <a:pt x="2848227" y="2408155"/>
                </a:moveTo>
                <a:lnTo>
                  <a:pt x="2824033" y="2392197"/>
                </a:lnTo>
                <a:cubicBezTo>
                  <a:pt x="2825081" y="2390598"/>
                  <a:pt x="2826129" y="2389017"/>
                  <a:pt x="2827177" y="2387417"/>
                </a:cubicBezTo>
                <a:lnTo>
                  <a:pt x="2851426" y="2403265"/>
                </a:lnTo>
                <a:cubicBezTo>
                  <a:pt x="2850360" y="2404901"/>
                  <a:pt x="2849294" y="2406519"/>
                  <a:pt x="2848209" y="2408155"/>
                </a:cubicBezTo>
                <a:close/>
                <a:moveTo>
                  <a:pt x="256556" y="2407218"/>
                </a:moveTo>
                <a:cubicBezTo>
                  <a:pt x="255490" y="2405581"/>
                  <a:pt x="254424" y="2403963"/>
                  <a:pt x="253358" y="2402327"/>
                </a:cubicBezTo>
                <a:lnTo>
                  <a:pt x="277625" y="2386498"/>
                </a:lnTo>
                <a:cubicBezTo>
                  <a:pt x="278673" y="2388098"/>
                  <a:pt x="279721" y="2389697"/>
                  <a:pt x="280769" y="2391296"/>
                </a:cubicBezTo>
                <a:lnTo>
                  <a:pt x="256556" y="2407218"/>
                </a:lnTo>
                <a:close/>
                <a:moveTo>
                  <a:pt x="2859368" y="2390984"/>
                </a:moveTo>
                <a:lnTo>
                  <a:pt x="2834972" y="2375357"/>
                </a:lnTo>
                <a:cubicBezTo>
                  <a:pt x="2836002" y="2373739"/>
                  <a:pt x="2837031" y="2372140"/>
                  <a:pt x="2838061" y="2370522"/>
                </a:cubicBezTo>
                <a:lnTo>
                  <a:pt x="2862512" y="2386057"/>
                </a:lnTo>
                <a:cubicBezTo>
                  <a:pt x="2861464" y="2387693"/>
                  <a:pt x="2860416" y="2389348"/>
                  <a:pt x="2859368" y="2390984"/>
                </a:cubicBezTo>
                <a:close/>
                <a:moveTo>
                  <a:pt x="245415" y="2390028"/>
                </a:moveTo>
                <a:cubicBezTo>
                  <a:pt x="244368" y="2388392"/>
                  <a:pt x="243320" y="2386737"/>
                  <a:pt x="242272" y="2385101"/>
                </a:cubicBezTo>
                <a:lnTo>
                  <a:pt x="266742" y="2369584"/>
                </a:lnTo>
                <a:cubicBezTo>
                  <a:pt x="267771" y="2371202"/>
                  <a:pt x="268801" y="2372820"/>
                  <a:pt x="269830" y="2374438"/>
                </a:cubicBezTo>
                <a:lnTo>
                  <a:pt x="245415" y="2390046"/>
                </a:lnTo>
                <a:close/>
                <a:moveTo>
                  <a:pt x="2870270" y="2373684"/>
                </a:moveTo>
                <a:lnTo>
                  <a:pt x="2845672" y="2358370"/>
                </a:lnTo>
                <a:cubicBezTo>
                  <a:pt x="2846683" y="2356752"/>
                  <a:pt x="2847694" y="2355116"/>
                  <a:pt x="2848687" y="2353498"/>
                </a:cubicBezTo>
                <a:lnTo>
                  <a:pt x="2873341" y="2368702"/>
                </a:lnTo>
                <a:cubicBezTo>
                  <a:pt x="2872311" y="2370356"/>
                  <a:pt x="2871282" y="2372030"/>
                  <a:pt x="2870252" y="2373684"/>
                </a:cubicBezTo>
                <a:close/>
                <a:moveTo>
                  <a:pt x="234495" y="2372673"/>
                </a:moveTo>
                <a:cubicBezTo>
                  <a:pt x="233465" y="2371018"/>
                  <a:pt x="232436" y="2369345"/>
                  <a:pt x="231425" y="2367691"/>
                </a:cubicBezTo>
                <a:lnTo>
                  <a:pt x="256097" y="2352505"/>
                </a:lnTo>
                <a:cubicBezTo>
                  <a:pt x="257108" y="2354141"/>
                  <a:pt x="258101" y="2355759"/>
                  <a:pt x="259112" y="2357395"/>
                </a:cubicBezTo>
                <a:lnTo>
                  <a:pt x="234495" y="2372673"/>
                </a:lnTo>
                <a:close/>
                <a:moveTo>
                  <a:pt x="2880970" y="2356237"/>
                </a:moveTo>
                <a:lnTo>
                  <a:pt x="2856169" y="2341272"/>
                </a:lnTo>
                <a:cubicBezTo>
                  <a:pt x="2857162" y="2339636"/>
                  <a:pt x="2858137" y="2338000"/>
                  <a:pt x="2859129" y="2336363"/>
                </a:cubicBezTo>
                <a:lnTo>
                  <a:pt x="2883985" y="2351237"/>
                </a:lnTo>
                <a:cubicBezTo>
                  <a:pt x="2882993" y="2352910"/>
                  <a:pt x="2881981" y="2354583"/>
                  <a:pt x="2880970" y="2356237"/>
                </a:cubicBezTo>
                <a:close/>
                <a:moveTo>
                  <a:pt x="223795" y="2355189"/>
                </a:moveTo>
                <a:cubicBezTo>
                  <a:pt x="222784" y="2353516"/>
                  <a:pt x="221791" y="2351843"/>
                  <a:pt x="220780" y="2350170"/>
                </a:cubicBezTo>
                <a:lnTo>
                  <a:pt x="245654" y="2335316"/>
                </a:lnTo>
                <a:cubicBezTo>
                  <a:pt x="246629" y="2336952"/>
                  <a:pt x="247622" y="2338607"/>
                  <a:pt x="248614" y="2340243"/>
                </a:cubicBezTo>
                <a:lnTo>
                  <a:pt x="223795" y="2355189"/>
                </a:lnTo>
                <a:close/>
                <a:moveTo>
                  <a:pt x="2891431" y="2338662"/>
                </a:moveTo>
                <a:lnTo>
                  <a:pt x="2866428" y="2324009"/>
                </a:lnTo>
                <a:cubicBezTo>
                  <a:pt x="2867402" y="2322354"/>
                  <a:pt x="2868358" y="2320718"/>
                  <a:pt x="2869314" y="2319064"/>
                </a:cubicBezTo>
                <a:lnTo>
                  <a:pt x="2894373" y="2333606"/>
                </a:lnTo>
                <a:cubicBezTo>
                  <a:pt x="2893398" y="2335297"/>
                  <a:pt x="2892405" y="2336970"/>
                  <a:pt x="2891431" y="2338662"/>
                </a:cubicBezTo>
                <a:close/>
                <a:moveTo>
                  <a:pt x="213353" y="2337577"/>
                </a:moveTo>
                <a:cubicBezTo>
                  <a:pt x="212360" y="2335885"/>
                  <a:pt x="211386" y="2334213"/>
                  <a:pt x="210411" y="2332521"/>
                </a:cubicBezTo>
                <a:lnTo>
                  <a:pt x="235469" y="2317979"/>
                </a:lnTo>
                <a:cubicBezTo>
                  <a:pt x="236425" y="2319634"/>
                  <a:pt x="237400" y="2321288"/>
                  <a:pt x="238356" y="2322943"/>
                </a:cubicBezTo>
                <a:lnTo>
                  <a:pt x="213353" y="2337577"/>
                </a:lnTo>
                <a:close/>
                <a:moveTo>
                  <a:pt x="2901653" y="2320939"/>
                </a:moveTo>
                <a:lnTo>
                  <a:pt x="2876466" y="2306617"/>
                </a:lnTo>
                <a:cubicBezTo>
                  <a:pt x="2877404" y="2304963"/>
                  <a:pt x="2878360" y="2303290"/>
                  <a:pt x="2879297" y="2301617"/>
                </a:cubicBezTo>
                <a:lnTo>
                  <a:pt x="2904539" y="2315846"/>
                </a:lnTo>
                <a:cubicBezTo>
                  <a:pt x="2903583" y="2317538"/>
                  <a:pt x="2902627" y="2319248"/>
                  <a:pt x="2901653" y="2320939"/>
                </a:cubicBezTo>
                <a:close/>
                <a:moveTo>
                  <a:pt x="203113" y="2319817"/>
                </a:moveTo>
                <a:cubicBezTo>
                  <a:pt x="202157" y="2318126"/>
                  <a:pt x="201201" y="2316416"/>
                  <a:pt x="200245" y="2314725"/>
                </a:cubicBezTo>
                <a:lnTo>
                  <a:pt x="225487" y="2300514"/>
                </a:lnTo>
                <a:cubicBezTo>
                  <a:pt x="226424" y="2302187"/>
                  <a:pt x="227380" y="2303860"/>
                  <a:pt x="228318" y="2305514"/>
                </a:cubicBezTo>
                <a:lnTo>
                  <a:pt x="203113" y="2319817"/>
                </a:lnTo>
                <a:close/>
                <a:moveTo>
                  <a:pt x="2911654" y="2303069"/>
                </a:moveTo>
                <a:lnTo>
                  <a:pt x="2886283" y="2289078"/>
                </a:lnTo>
                <a:cubicBezTo>
                  <a:pt x="2887203" y="2287405"/>
                  <a:pt x="2888122" y="2285733"/>
                  <a:pt x="2889041" y="2284059"/>
                </a:cubicBezTo>
                <a:lnTo>
                  <a:pt x="2914467" y="2297940"/>
                </a:lnTo>
                <a:cubicBezTo>
                  <a:pt x="2913529" y="2299650"/>
                  <a:pt x="2912592" y="2301359"/>
                  <a:pt x="2911654" y="2303069"/>
                </a:cubicBezTo>
                <a:close/>
                <a:moveTo>
                  <a:pt x="193130" y="2301948"/>
                </a:moveTo>
                <a:cubicBezTo>
                  <a:pt x="192192" y="2300238"/>
                  <a:pt x="191255" y="2298547"/>
                  <a:pt x="190335" y="2296837"/>
                </a:cubicBezTo>
                <a:lnTo>
                  <a:pt x="215761" y="2282956"/>
                </a:lnTo>
                <a:cubicBezTo>
                  <a:pt x="216680" y="2284629"/>
                  <a:pt x="217600" y="2286302"/>
                  <a:pt x="218519" y="2287975"/>
                </a:cubicBezTo>
                <a:lnTo>
                  <a:pt x="193130" y="2301948"/>
                </a:lnTo>
                <a:close/>
                <a:moveTo>
                  <a:pt x="2921416" y="2285089"/>
                </a:moveTo>
                <a:lnTo>
                  <a:pt x="2895862" y="2271448"/>
                </a:lnTo>
                <a:cubicBezTo>
                  <a:pt x="2896763" y="2269756"/>
                  <a:pt x="2897663" y="2268065"/>
                  <a:pt x="2898564" y="2266374"/>
                </a:cubicBezTo>
                <a:lnTo>
                  <a:pt x="2924174" y="2279923"/>
                </a:lnTo>
                <a:cubicBezTo>
                  <a:pt x="2923273" y="2281651"/>
                  <a:pt x="2922354" y="2283361"/>
                  <a:pt x="2921435" y="2285089"/>
                </a:cubicBezTo>
                <a:close/>
                <a:moveTo>
                  <a:pt x="183404" y="2283986"/>
                </a:moveTo>
                <a:cubicBezTo>
                  <a:pt x="182485" y="2282276"/>
                  <a:pt x="181566" y="2280548"/>
                  <a:pt x="180665" y="2278820"/>
                </a:cubicBezTo>
                <a:lnTo>
                  <a:pt x="206275" y="2265271"/>
                </a:lnTo>
                <a:cubicBezTo>
                  <a:pt x="207157" y="2266962"/>
                  <a:pt x="208058" y="2268653"/>
                  <a:pt x="208959" y="2270326"/>
                </a:cubicBezTo>
                <a:lnTo>
                  <a:pt x="183404" y="2283967"/>
                </a:lnTo>
                <a:close/>
                <a:moveTo>
                  <a:pt x="2930939" y="2266962"/>
                </a:moveTo>
                <a:lnTo>
                  <a:pt x="2905201" y="2253651"/>
                </a:lnTo>
                <a:cubicBezTo>
                  <a:pt x="2906083" y="2251960"/>
                  <a:pt x="2906948" y="2250250"/>
                  <a:pt x="2907830" y="2248541"/>
                </a:cubicBezTo>
                <a:lnTo>
                  <a:pt x="2933605" y="2261759"/>
                </a:lnTo>
                <a:cubicBezTo>
                  <a:pt x="2932723" y="2263487"/>
                  <a:pt x="2931822" y="2265234"/>
                  <a:pt x="2930921" y="2266962"/>
                </a:cubicBezTo>
                <a:close/>
                <a:moveTo>
                  <a:pt x="173881" y="2265877"/>
                </a:moveTo>
                <a:cubicBezTo>
                  <a:pt x="172980" y="2264149"/>
                  <a:pt x="172098" y="2262421"/>
                  <a:pt x="171215" y="2260693"/>
                </a:cubicBezTo>
                <a:lnTo>
                  <a:pt x="196991" y="2247474"/>
                </a:lnTo>
                <a:cubicBezTo>
                  <a:pt x="197873" y="2249184"/>
                  <a:pt x="198737" y="2250875"/>
                  <a:pt x="199620" y="2252585"/>
                </a:cubicBezTo>
                <a:lnTo>
                  <a:pt x="173881" y="2265896"/>
                </a:lnTo>
                <a:close/>
                <a:moveTo>
                  <a:pt x="2940224" y="2248724"/>
                </a:moveTo>
                <a:lnTo>
                  <a:pt x="2914320" y="2235763"/>
                </a:lnTo>
                <a:cubicBezTo>
                  <a:pt x="2915184" y="2234054"/>
                  <a:pt x="2916030" y="2232344"/>
                  <a:pt x="2916875" y="2230616"/>
                </a:cubicBezTo>
                <a:lnTo>
                  <a:pt x="2942834" y="2243503"/>
                </a:lnTo>
                <a:cubicBezTo>
                  <a:pt x="2941970" y="2245250"/>
                  <a:pt x="2941106" y="2246996"/>
                  <a:pt x="2940224" y="2248724"/>
                </a:cubicBezTo>
                <a:close/>
                <a:moveTo>
                  <a:pt x="164597" y="2247640"/>
                </a:moveTo>
                <a:lnTo>
                  <a:pt x="161968" y="2242382"/>
                </a:lnTo>
                <a:lnTo>
                  <a:pt x="187927" y="2229494"/>
                </a:lnTo>
                <a:lnTo>
                  <a:pt x="190482" y="2234642"/>
                </a:lnTo>
                <a:lnTo>
                  <a:pt x="164579" y="2247640"/>
                </a:lnTo>
                <a:close/>
                <a:moveTo>
                  <a:pt x="2949269" y="2230358"/>
                </a:moveTo>
                <a:lnTo>
                  <a:pt x="2923181" y="2217728"/>
                </a:lnTo>
                <a:cubicBezTo>
                  <a:pt x="2924008" y="2216000"/>
                  <a:pt x="2924854" y="2214272"/>
                  <a:pt x="2925681" y="2212544"/>
                </a:cubicBezTo>
                <a:lnTo>
                  <a:pt x="2951806" y="2225082"/>
                </a:lnTo>
                <a:cubicBezTo>
                  <a:pt x="2950960" y="2226847"/>
                  <a:pt x="2950115" y="2228593"/>
                  <a:pt x="2949269" y="2230340"/>
                </a:cubicBezTo>
                <a:close/>
                <a:moveTo>
                  <a:pt x="155533" y="2229200"/>
                </a:moveTo>
                <a:cubicBezTo>
                  <a:pt x="154669" y="2227435"/>
                  <a:pt x="153824" y="2225670"/>
                  <a:pt x="152978" y="2223905"/>
                </a:cubicBezTo>
                <a:lnTo>
                  <a:pt x="179102" y="2211385"/>
                </a:lnTo>
                <a:cubicBezTo>
                  <a:pt x="179930" y="2213114"/>
                  <a:pt x="180757" y="2214842"/>
                  <a:pt x="181603" y="2216570"/>
                </a:cubicBezTo>
                <a:lnTo>
                  <a:pt x="155533" y="2229200"/>
                </a:lnTo>
                <a:close/>
                <a:moveTo>
                  <a:pt x="2958075" y="2211882"/>
                </a:moveTo>
                <a:lnTo>
                  <a:pt x="2931840" y="2199583"/>
                </a:lnTo>
                <a:cubicBezTo>
                  <a:pt x="2932649" y="2197854"/>
                  <a:pt x="2933458" y="2196126"/>
                  <a:pt x="2934267" y="2194380"/>
                </a:cubicBezTo>
                <a:lnTo>
                  <a:pt x="2960557" y="2206569"/>
                </a:lnTo>
                <a:cubicBezTo>
                  <a:pt x="2959730" y="2208333"/>
                  <a:pt x="2958902" y="2210117"/>
                  <a:pt x="2958075" y="2211882"/>
                </a:cubicBezTo>
                <a:close/>
                <a:moveTo>
                  <a:pt x="146690" y="2210668"/>
                </a:moveTo>
                <a:cubicBezTo>
                  <a:pt x="145863" y="2208903"/>
                  <a:pt x="145036" y="2207120"/>
                  <a:pt x="144208" y="2205355"/>
                </a:cubicBezTo>
                <a:lnTo>
                  <a:pt x="170498" y="2193148"/>
                </a:lnTo>
                <a:cubicBezTo>
                  <a:pt x="171307" y="2194894"/>
                  <a:pt x="172116" y="2196641"/>
                  <a:pt x="172944" y="2198369"/>
                </a:cubicBezTo>
                <a:lnTo>
                  <a:pt x="146709" y="2210668"/>
                </a:lnTo>
                <a:close/>
                <a:moveTo>
                  <a:pt x="2966624" y="2193277"/>
                </a:moveTo>
                <a:lnTo>
                  <a:pt x="2940224" y="2181345"/>
                </a:lnTo>
                <a:cubicBezTo>
                  <a:pt x="2941014" y="2179599"/>
                  <a:pt x="2941805" y="2177852"/>
                  <a:pt x="2942577" y="2176105"/>
                </a:cubicBezTo>
                <a:lnTo>
                  <a:pt x="2969014" y="2187945"/>
                </a:lnTo>
                <a:cubicBezTo>
                  <a:pt x="2968223" y="2189728"/>
                  <a:pt x="2967414" y="2191493"/>
                  <a:pt x="2966606" y="2193277"/>
                </a:cubicBezTo>
                <a:close/>
                <a:moveTo>
                  <a:pt x="138105" y="2192008"/>
                </a:moveTo>
                <a:cubicBezTo>
                  <a:pt x="137296" y="2190225"/>
                  <a:pt x="136487" y="2188441"/>
                  <a:pt x="135696" y="2186658"/>
                </a:cubicBezTo>
                <a:lnTo>
                  <a:pt x="162133" y="2174800"/>
                </a:lnTo>
                <a:cubicBezTo>
                  <a:pt x="162924" y="2176547"/>
                  <a:pt x="163714" y="2178312"/>
                  <a:pt x="164505" y="2180058"/>
                </a:cubicBezTo>
                <a:lnTo>
                  <a:pt x="138105" y="2192008"/>
                </a:lnTo>
                <a:close/>
                <a:moveTo>
                  <a:pt x="2974952" y="2174561"/>
                </a:moveTo>
                <a:lnTo>
                  <a:pt x="2948405" y="2162979"/>
                </a:lnTo>
                <a:cubicBezTo>
                  <a:pt x="2949177" y="2161232"/>
                  <a:pt x="2949931" y="2159467"/>
                  <a:pt x="2950684" y="2157703"/>
                </a:cubicBezTo>
                <a:lnTo>
                  <a:pt x="2977287" y="2169193"/>
                </a:lnTo>
                <a:cubicBezTo>
                  <a:pt x="2976515" y="2170976"/>
                  <a:pt x="2975743" y="2172778"/>
                  <a:pt x="2974952" y="2174561"/>
                </a:cubicBezTo>
                <a:close/>
                <a:moveTo>
                  <a:pt x="129740" y="2173256"/>
                </a:moveTo>
                <a:cubicBezTo>
                  <a:pt x="128949" y="2171454"/>
                  <a:pt x="128177" y="2169671"/>
                  <a:pt x="127405" y="2167869"/>
                </a:cubicBezTo>
                <a:lnTo>
                  <a:pt x="153989" y="2156361"/>
                </a:lnTo>
                <a:cubicBezTo>
                  <a:pt x="154761" y="2158125"/>
                  <a:pt x="155515" y="2159890"/>
                  <a:pt x="156287" y="2161655"/>
                </a:cubicBezTo>
                <a:lnTo>
                  <a:pt x="129740" y="2173256"/>
                </a:lnTo>
                <a:close/>
                <a:moveTo>
                  <a:pt x="2983023" y="2155754"/>
                </a:moveTo>
                <a:lnTo>
                  <a:pt x="2956329" y="2144502"/>
                </a:lnTo>
                <a:cubicBezTo>
                  <a:pt x="2957064" y="2142737"/>
                  <a:pt x="2957818" y="2140973"/>
                  <a:pt x="2958553" y="2139208"/>
                </a:cubicBezTo>
                <a:lnTo>
                  <a:pt x="2985302" y="2150349"/>
                </a:lnTo>
                <a:cubicBezTo>
                  <a:pt x="2984549" y="2152150"/>
                  <a:pt x="2983795" y="2153952"/>
                  <a:pt x="2983041" y="2155754"/>
                </a:cubicBezTo>
                <a:close/>
                <a:moveTo>
                  <a:pt x="121651" y="2154375"/>
                </a:moveTo>
                <a:cubicBezTo>
                  <a:pt x="120897" y="2152573"/>
                  <a:pt x="120125" y="2150772"/>
                  <a:pt x="119371" y="2148951"/>
                </a:cubicBezTo>
                <a:lnTo>
                  <a:pt x="146120" y="2137792"/>
                </a:lnTo>
                <a:cubicBezTo>
                  <a:pt x="146856" y="2139557"/>
                  <a:pt x="147610" y="2141340"/>
                  <a:pt x="148345" y="2143105"/>
                </a:cubicBezTo>
                <a:lnTo>
                  <a:pt x="121651" y="2154356"/>
                </a:lnTo>
                <a:close/>
                <a:moveTo>
                  <a:pt x="2990836" y="2136818"/>
                </a:moveTo>
                <a:lnTo>
                  <a:pt x="2963995" y="2125934"/>
                </a:lnTo>
                <a:cubicBezTo>
                  <a:pt x="2964712" y="2124169"/>
                  <a:pt x="2965429" y="2122386"/>
                  <a:pt x="2966146" y="2120602"/>
                </a:cubicBezTo>
                <a:lnTo>
                  <a:pt x="2993043" y="2131394"/>
                </a:lnTo>
                <a:cubicBezTo>
                  <a:pt x="2992307" y="2133196"/>
                  <a:pt x="2991590" y="2135016"/>
                  <a:pt x="2990855" y="2136818"/>
                </a:cubicBezTo>
                <a:close/>
                <a:moveTo>
                  <a:pt x="113800" y="2135402"/>
                </a:moveTo>
                <a:cubicBezTo>
                  <a:pt x="113065" y="2133582"/>
                  <a:pt x="112330" y="2131780"/>
                  <a:pt x="111594" y="2129960"/>
                </a:cubicBezTo>
                <a:lnTo>
                  <a:pt x="138472" y="2119150"/>
                </a:lnTo>
                <a:cubicBezTo>
                  <a:pt x="139189" y="2120933"/>
                  <a:pt x="139906" y="2122717"/>
                  <a:pt x="140623" y="2124482"/>
                </a:cubicBezTo>
                <a:lnTo>
                  <a:pt x="113782" y="2135384"/>
                </a:lnTo>
                <a:close/>
                <a:moveTo>
                  <a:pt x="2998429" y="2117771"/>
                </a:moveTo>
                <a:lnTo>
                  <a:pt x="2971441" y="2107255"/>
                </a:lnTo>
                <a:cubicBezTo>
                  <a:pt x="2972139" y="2105472"/>
                  <a:pt x="2972838" y="2103689"/>
                  <a:pt x="2973518" y="2101887"/>
                </a:cubicBezTo>
                <a:lnTo>
                  <a:pt x="3000543" y="2112329"/>
                </a:lnTo>
                <a:cubicBezTo>
                  <a:pt x="2999845" y="2114149"/>
                  <a:pt x="2999128" y="2115951"/>
                  <a:pt x="2998429" y="2117771"/>
                </a:cubicBezTo>
                <a:close/>
                <a:moveTo>
                  <a:pt x="106189" y="2116337"/>
                </a:moveTo>
                <a:cubicBezTo>
                  <a:pt x="105472" y="2114517"/>
                  <a:pt x="104774" y="2112697"/>
                  <a:pt x="104057" y="2110877"/>
                </a:cubicBezTo>
                <a:lnTo>
                  <a:pt x="131082" y="2100435"/>
                </a:lnTo>
                <a:cubicBezTo>
                  <a:pt x="131781" y="2102218"/>
                  <a:pt x="132479" y="2104020"/>
                  <a:pt x="133178" y="2105803"/>
                </a:cubicBezTo>
                <a:lnTo>
                  <a:pt x="106189" y="2116356"/>
                </a:lnTo>
                <a:close/>
                <a:moveTo>
                  <a:pt x="3005746" y="2098670"/>
                </a:moveTo>
                <a:lnTo>
                  <a:pt x="2978629" y="2088485"/>
                </a:lnTo>
                <a:cubicBezTo>
                  <a:pt x="2979309" y="2086701"/>
                  <a:pt x="2979971" y="2084900"/>
                  <a:pt x="2980633" y="2083116"/>
                </a:cubicBezTo>
                <a:lnTo>
                  <a:pt x="3007805" y="2093191"/>
                </a:lnTo>
                <a:cubicBezTo>
                  <a:pt x="3007125" y="2095030"/>
                  <a:pt x="3006445" y="2096850"/>
                  <a:pt x="3005764" y="2098688"/>
                </a:cubicBezTo>
                <a:close/>
                <a:moveTo>
                  <a:pt x="98835" y="2097162"/>
                </a:moveTo>
                <a:cubicBezTo>
                  <a:pt x="98155" y="2095324"/>
                  <a:pt x="97457" y="2093504"/>
                  <a:pt x="96776" y="2091665"/>
                </a:cubicBezTo>
                <a:lnTo>
                  <a:pt x="123930" y="2081572"/>
                </a:lnTo>
                <a:cubicBezTo>
                  <a:pt x="124592" y="2083374"/>
                  <a:pt x="125272" y="2085175"/>
                  <a:pt x="125953" y="2086977"/>
                </a:cubicBezTo>
                <a:lnTo>
                  <a:pt x="98835" y="2097162"/>
                </a:lnTo>
                <a:close/>
                <a:moveTo>
                  <a:pt x="3012824" y="2079439"/>
                </a:moveTo>
                <a:lnTo>
                  <a:pt x="2985560" y="2069622"/>
                </a:lnTo>
                <a:cubicBezTo>
                  <a:pt x="2986204" y="2067820"/>
                  <a:pt x="2986865" y="2066019"/>
                  <a:pt x="2987509" y="2064199"/>
                </a:cubicBezTo>
                <a:lnTo>
                  <a:pt x="3014791" y="2073924"/>
                </a:lnTo>
                <a:cubicBezTo>
                  <a:pt x="3014130" y="2075762"/>
                  <a:pt x="3013486" y="2077601"/>
                  <a:pt x="3012824" y="2079421"/>
                </a:cubicBezTo>
                <a:close/>
                <a:moveTo>
                  <a:pt x="91739" y="2077895"/>
                </a:moveTo>
                <a:cubicBezTo>
                  <a:pt x="91077" y="2076057"/>
                  <a:pt x="90415" y="2074218"/>
                  <a:pt x="89753" y="2072380"/>
                </a:cubicBezTo>
                <a:lnTo>
                  <a:pt x="117036" y="2062636"/>
                </a:lnTo>
                <a:cubicBezTo>
                  <a:pt x="117680" y="2064438"/>
                  <a:pt x="118323" y="2066258"/>
                  <a:pt x="118985" y="2068059"/>
                </a:cubicBezTo>
                <a:lnTo>
                  <a:pt x="91721" y="2077895"/>
                </a:lnTo>
                <a:close/>
                <a:moveTo>
                  <a:pt x="3019645" y="2060117"/>
                </a:moveTo>
                <a:lnTo>
                  <a:pt x="2992252" y="2050668"/>
                </a:lnTo>
                <a:cubicBezTo>
                  <a:pt x="2992877" y="2048847"/>
                  <a:pt x="2993502" y="2047046"/>
                  <a:pt x="2994127" y="2045226"/>
                </a:cubicBezTo>
                <a:lnTo>
                  <a:pt x="3021539" y="2054602"/>
                </a:lnTo>
                <a:cubicBezTo>
                  <a:pt x="3020913" y="2056440"/>
                  <a:pt x="3020270" y="2058279"/>
                  <a:pt x="3019645" y="2060136"/>
                </a:cubicBezTo>
                <a:close/>
                <a:moveTo>
                  <a:pt x="84900" y="2058536"/>
                </a:moveTo>
                <a:cubicBezTo>
                  <a:pt x="84256" y="2056679"/>
                  <a:pt x="83631" y="2054841"/>
                  <a:pt x="82988" y="2052984"/>
                </a:cubicBezTo>
                <a:lnTo>
                  <a:pt x="110399" y="2043608"/>
                </a:lnTo>
                <a:cubicBezTo>
                  <a:pt x="111024" y="2045428"/>
                  <a:pt x="111649" y="2047230"/>
                  <a:pt x="112274" y="2049050"/>
                </a:cubicBezTo>
                <a:lnTo>
                  <a:pt x="84900" y="2058518"/>
                </a:lnTo>
                <a:close/>
                <a:moveTo>
                  <a:pt x="3026208" y="2040722"/>
                </a:moveTo>
                <a:lnTo>
                  <a:pt x="2998705" y="2031621"/>
                </a:lnTo>
                <a:cubicBezTo>
                  <a:pt x="2999311" y="2029801"/>
                  <a:pt x="2999900" y="2027981"/>
                  <a:pt x="3000507" y="2026161"/>
                </a:cubicBezTo>
                <a:lnTo>
                  <a:pt x="3028047" y="2035169"/>
                </a:lnTo>
                <a:cubicBezTo>
                  <a:pt x="3027440" y="2037026"/>
                  <a:pt x="3026833" y="2038865"/>
                  <a:pt x="3026227" y="2040722"/>
                </a:cubicBezTo>
                <a:close/>
                <a:moveTo>
                  <a:pt x="78318" y="2039104"/>
                </a:moveTo>
                <a:cubicBezTo>
                  <a:pt x="77693" y="2037247"/>
                  <a:pt x="77086" y="2035390"/>
                  <a:pt x="76480" y="2033515"/>
                </a:cubicBezTo>
                <a:lnTo>
                  <a:pt x="104020" y="2024525"/>
                </a:lnTo>
                <a:cubicBezTo>
                  <a:pt x="104608" y="2026345"/>
                  <a:pt x="105215" y="2028165"/>
                  <a:pt x="105822" y="2029985"/>
                </a:cubicBezTo>
                <a:lnTo>
                  <a:pt x="78318" y="2039104"/>
                </a:lnTo>
                <a:close/>
                <a:moveTo>
                  <a:pt x="3032533" y="2021216"/>
                </a:moveTo>
                <a:lnTo>
                  <a:pt x="3004900" y="2012483"/>
                </a:lnTo>
                <a:cubicBezTo>
                  <a:pt x="3005470" y="2010645"/>
                  <a:pt x="3006059" y="2008824"/>
                  <a:pt x="3006629" y="2006986"/>
                </a:cubicBezTo>
                <a:lnTo>
                  <a:pt x="3034279" y="2015645"/>
                </a:lnTo>
                <a:cubicBezTo>
                  <a:pt x="3033691" y="2017502"/>
                  <a:pt x="3033121" y="2019359"/>
                  <a:pt x="3032533" y="2021216"/>
                </a:cubicBezTo>
                <a:close/>
                <a:moveTo>
                  <a:pt x="71994" y="2019561"/>
                </a:moveTo>
                <a:cubicBezTo>
                  <a:pt x="71406" y="2017704"/>
                  <a:pt x="70817" y="2015829"/>
                  <a:pt x="70229" y="2013954"/>
                </a:cubicBezTo>
                <a:lnTo>
                  <a:pt x="97879" y="2005313"/>
                </a:lnTo>
                <a:cubicBezTo>
                  <a:pt x="98449" y="2007151"/>
                  <a:pt x="99019" y="2008971"/>
                  <a:pt x="99608" y="2010810"/>
                </a:cubicBezTo>
                <a:lnTo>
                  <a:pt x="71976" y="2019561"/>
                </a:lnTo>
                <a:close/>
                <a:moveTo>
                  <a:pt x="3038581" y="2001654"/>
                </a:moveTo>
                <a:lnTo>
                  <a:pt x="3010839" y="1993271"/>
                </a:lnTo>
                <a:cubicBezTo>
                  <a:pt x="3011390" y="1991433"/>
                  <a:pt x="3011942" y="1989594"/>
                  <a:pt x="3012493" y="1987756"/>
                </a:cubicBezTo>
                <a:lnTo>
                  <a:pt x="3040254" y="1996047"/>
                </a:lnTo>
                <a:cubicBezTo>
                  <a:pt x="3039703" y="1997922"/>
                  <a:pt x="3039133" y="1999779"/>
                  <a:pt x="3038581" y="2001654"/>
                </a:cubicBezTo>
                <a:close/>
                <a:moveTo>
                  <a:pt x="65927" y="1999963"/>
                </a:moveTo>
                <a:cubicBezTo>
                  <a:pt x="65357" y="1998088"/>
                  <a:pt x="64806" y="1996213"/>
                  <a:pt x="64236" y="1994337"/>
                </a:cubicBezTo>
                <a:lnTo>
                  <a:pt x="91996" y="1986064"/>
                </a:lnTo>
                <a:cubicBezTo>
                  <a:pt x="92548" y="1987903"/>
                  <a:pt x="93099" y="1989741"/>
                  <a:pt x="93651" y="1991580"/>
                </a:cubicBezTo>
                <a:lnTo>
                  <a:pt x="65909" y="1999963"/>
                </a:lnTo>
                <a:close/>
                <a:moveTo>
                  <a:pt x="3044390" y="1982001"/>
                </a:moveTo>
                <a:lnTo>
                  <a:pt x="3016556" y="1973986"/>
                </a:lnTo>
                <a:cubicBezTo>
                  <a:pt x="3017089" y="1972147"/>
                  <a:pt x="3017604" y="1970309"/>
                  <a:pt x="3018137" y="1968470"/>
                </a:cubicBezTo>
                <a:lnTo>
                  <a:pt x="3046008" y="1976376"/>
                </a:lnTo>
                <a:cubicBezTo>
                  <a:pt x="3045475" y="1978251"/>
                  <a:pt x="3044942" y="1980126"/>
                  <a:pt x="3044390" y="1982001"/>
                </a:cubicBezTo>
                <a:close/>
                <a:moveTo>
                  <a:pt x="60118" y="1980273"/>
                </a:moveTo>
                <a:cubicBezTo>
                  <a:pt x="59584" y="1978398"/>
                  <a:pt x="59033" y="1976523"/>
                  <a:pt x="58500" y="1974629"/>
                </a:cubicBezTo>
                <a:lnTo>
                  <a:pt x="86371" y="1966724"/>
                </a:lnTo>
                <a:cubicBezTo>
                  <a:pt x="86885" y="1968562"/>
                  <a:pt x="87419" y="1970419"/>
                  <a:pt x="87952" y="1972258"/>
                </a:cubicBezTo>
                <a:lnTo>
                  <a:pt x="60099" y="1980273"/>
                </a:lnTo>
                <a:close/>
                <a:moveTo>
                  <a:pt x="3049924" y="1962275"/>
                </a:moveTo>
                <a:lnTo>
                  <a:pt x="3021980" y="1954627"/>
                </a:lnTo>
                <a:cubicBezTo>
                  <a:pt x="3022476" y="1952788"/>
                  <a:pt x="3022991" y="1950932"/>
                  <a:pt x="3023487" y="1949093"/>
                </a:cubicBezTo>
                <a:lnTo>
                  <a:pt x="3051469" y="1956631"/>
                </a:lnTo>
                <a:cubicBezTo>
                  <a:pt x="3050954" y="1958524"/>
                  <a:pt x="3050439" y="1960399"/>
                  <a:pt x="3049924" y="1962275"/>
                </a:cubicBezTo>
                <a:close/>
                <a:moveTo>
                  <a:pt x="54565" y="1960510"/>
                </a:moveTo>
                <a:cubicBezTo>
                  <a:pt x="54051" y="1958616"/>
                  <a:pt x="53536" y="1956741"/>
                  <a:pt x="53021" y="1954847"/>
                </a:cubicBezTo>
                <a:lnTo>
                  <a:pt x="81002" y="1947310"/>
                </a:lnTo>
                <a:cubicBezTo>
                  <a:pt x="81499" y="1949166"/>
                  <a:pt x="82014" y="1951023"/>
                  <a:pt x="82510" y="1952862"/>
                </a:cubicBezTo>
                <a:lnTo>
                  <a:pt x="54565" y="1960491"/>
                </a:lnTo>
                <a:close/>
                <a:moveTo>
                  <a:pt x="3055219" y="1942474"/>
                </a:moveTo>
                <a:lnTo>
                  <a:pt x="3027183" y="1935176"/>
                </a:lnTo>
                <a:cubicBezTo>
                  <a:pt x="3027661" y="1933319"/>
                  <a:pt x="3028139" y="1931462"/>
                  <a:pt x="3028617" y="1929605"/>
                </a:cubicBezTo>
                <a:lnTo>
                  <a:pt x="3056690" y="1936794"/>
                </a:lnTo>
                <a:cubicBezTo>
                  <a:pt x="3056212" y="1938687"/>
                  <a:pt x="3055715" y="1940581"/>
                  <a:pt x="3055219" y="1942456"/>
                </a:cubicBezTo>
                <a:close/>
                <a:moveTo>
                  <a:pt x="49289" y="1940673"/>
                </a:moveTo>
                <a:cubicBezTo>
                  <a:pt x="48793" y="1938779"/>
                  <a:pt x="48315" y="1936886"/>
                  <a:pt x="47837" y="1934992"/>
                </a:cubicBezTo>
                <a:lnTo>
                  <a:pt x="75910" y="1927840"/>
                </a:lnTo>
                <a:cubicBezTo>
                  <a:pt x="76388" y="1929697"/>
                  <a:pt x="76866" y="1931554"/>
                  <a:pt x="77344" y="1933411"/>
                </a:cubicBezTo>
                <a:lnTo>
                  <a:pt x="49289" y="1940673"/>
                </a:lnTo>
                <a:close/>
                <a:moveTo>
                  <a:pt x="3060238" y="1922601"/>
                </a:moveTo>
                <a:lnTo>
                  <a:pt x="3032110" y="1915688"/>
                </a:lnTo>
                <a:cubicBezTo>
                  <a:pt x="3032569" y="1913831"/>
                  <a:pt x="3033011" y="1911975"/>
                  <a:pt x="3033470" y="1910099"/>
                </a:cubicBezTo>
                <a:lnTo>
                  <a:pt x="3061635" y="1916902"/>
                </a:lnTo>
                <a:cubicBezTo>
                  <a:pt x="3061176" y="1918795"/>
                  <a:pt x="3060716" y="1920689"/>
                  <a:pt x="3060238" y="1922601"/>
                </a:cubicBezTo>
                <a:close/>
                <a:moveTo>
                  <a:pt x="44270" y="1920762"/>
                </a:moveTo>
                <a:cubicBezTo>
                  <a:pt x="43810" y="1918869"/>
                  <a:pt x="43351" y="1916957"/>
                  <a:pt x="42891" y="1915063"/>
                </a:cubicBezTo>
                <a:lnTo>
                  <a:pt x="71056" y="1908279"/>
                </a:lnTo>
                <a:cubicBezTo>
                  <a:pt x="71498" y="1910136"/>
                  <a:pt x="71957" y="1912011"/>
                  <a:pt x="72417" y="1913868"/>
                </a:cubicBezTo>
                <a:lnTo>
                  <a:pt x="44270" y="1920762"/>
                </a:lnTo>
                <a:close/>
                <a:moveTo>
                  <a:pt x="3065018" y="1902654"/>
                </a:moveTo>
                <a:lnTo>
                  <a:pt x="3036779" y="1896127"/>
                </a:lnTo>
                <a:cubicBezTo>
                  <a:pt x="3037221" y="1894252"/>
                  <a:pt x="3037643" y="1892395"/>
                  <a:pt x="3038066" y="1890520"/>
                </a:cubicBezTo>
                <a:lnTo>
                  <a:pt x="3066323" y="1896954"/>
                </a:lnTo>
                <a:cubicBezTo>
                  <a:pt x="3065882" y="1898848"/>
                  <a:pt x="3065459" y="1900760"/>
                  <a:pt x="3065018" y="1902654"/>
                </a:cubicBezTo>
                <a:close/>
                <a:moveTo>
                  <a:pt x="39527" y="1900797"/>
                </a:moveTo>
                <a:cubicBezTo>
                  <a:pt x="39086" y="1898885"/>
                  <a:pt x="38644" y="1896991"/>
                  <a:pt x="38222" y="1895079"/>
                </a:cubicBezTo>
                <a:lnTo>
                  <a:pt x="66479" y="1888663"/>
                </a:lnTo>
                <a:cubicBezTo>
                  <a:pt x="66901" y="1890538"/>
                  <a:pt x="67324" y="1892395"/>
                  <a:pt x="67765" y="1894270"/>
                </a:cubicBezTo>
                <a:lnTo>
                  <a:pt x="39527" y="1900797"/>
                </a:lnTo>
                <a:close/>
                <a:moveTo>
                  <a:pt x="3069504" y="1882670"/>
                </a:moveTo>
                <a:lnTo>
                  <a:pt x="3041192" y="1876511"/>
                </a:lnTo>
                <a:cubicBezTo>
                  <a:pt x="3041596" y="1874636"/>
                  <a:pt x="3042001" y="1872760"/>
                  <a:pt x="3042405" y="1870885"/>
                </a:cubicBezTo>
                <a:lnTo>
                  <a:pt x="3070736" y="1876970"/>
                </a:lnTo>
                <a:cubicBezTo>
                  <a:pt x="3070331" y="1878882"/>
                  <a:pt x="3069908" y="1880776"/>
                  <a:pt x="3069504" y="1882688"/>
                </a:cubicBezTo>
                <a:close/>
                <a:moveTo>
                  <a:pt x="35041" y="1880776"/>
                </a:moveTo>
                <a:cubicBezTo>
                  <a:pt x="34618" y="1878864"/>
                  <a:pt x="34214" y="1876952"/>
                  <a:pt x="33809" y="1875040"/>
                </a:cubicBezTo>
                <a:lnTo>
                  <a:pt x="62140" y="1869010"/>
                </a:lnTo>
                <a:cubicBezTo>
                  <a:pt x="62544" y="1870885"/>
                  <a:pt x="62949" y="1872760"/>
                  <a:pt x="63353" y="1874636"/>
                </a:cubicBezTo>
                <a:lnTo>
                  <a:pt x="35041" y="1880776"/>
                </a:lnTo>
                <a:close/>
                <a:moveTo>
                  <a:pt x="3073751" y="1862612"/>
                </a:moveTo>
                <a:lnTo>
                  <a:pt x="3045365" y="1856784"/>
                </a:lnTo>
                <a:cubicBezTo>
                  <a:pt x="3045751" y="1854909"/>
                  <a:pt x="3046137" y="1853034"/>
                  <a:pt x="3046505" y="1851158"/>
                </a:cubicBezTo>
                <a:lnTo>
                  <a:pt x="3074909" y="1856858"/>
                </a:lnTo>
                <a:cubicBezTo>
                  <a:pt x="3074523" y="1858770"/>
                  <a:pt x="3074137" y="1860700"/>
                  <a:pt x="3073751" y="1862612"/>
                </a:cubicBezTo>
                <a:close/>
                <a:moveTo>
                  <a:pt x="30813" y="1860700"/>
                </a:moveTo>
                <a:cubicBezTo>
                  <a:pt x="30426" y="1858788"/>
                  <a:pt x="30040" y="1856858"/>
                  <a:pt x="29654" y="1854946"/>
                </a:cubicBezTo>
                <a:lnTo>
                  <a:pt x="58077" y="1849283"/>
                </a:lnTo>
                <a:cubicBezTo>
                  <a:pt x="58445" y="1851158"/>
                  <a:pt x="58831" y="1853052"/>
                  <a:pt x="59217" y="1854927"/>
                </a:cubicBezTo>
                <a:lnTo>
                  <a:pt x="30831" y="1860700"/>
                </a:lnTo>
                <a:close/>
                <a:moveTo>
                  <a:pt x="3077722" y="1842499"/>
                </a:moveTo>
                <a:lnTo>
                  <a:pt x="3049262" y="1837058"/>
                </a:lnTo>
                <a:cubicBezTo>
                  <a:pt x="3049630" y="1835182"/>
                  <a:pt x="3049979" y="1833289"/>
                  <a:pt x="3050329" y="1831413"/>
                </a:cubicBezTo>
                <a:lnTo>
                  <a:pt x="3078807" y="1836727"/>
                </a:lnTo>
                <a:cubicBezTo>
                  <a:pt x="3078439" y="1838657"/>
                  <a:pt x="3078089" y="1840569"/>
                  <a:pt x="3077722" y="1842499"/>
                </a:cubicBezTo>
                <a:close/>
                <a:moveTo>
                  <a:pt x="26860" y="1840551"/>
                </a:moveTo>
                <a:cubicBezTo>
                  <a:pt x="26492" y="1838620"/>
                  <a:pt x="26143" y="1836708"/>
                  <a:pt x="25775" y="1834778"/>
                </a:cubicBezTo>
                <a:lnTo>
                  <a:pt x="54271" y="1829502"/>
                </a:lnTo>
                <a:cubicBezTo>
                  <a:pt x="54621" y="1831395"/>
                  <a:pt x="54970" y="1833270"/>
                  <a:pt x="55338" y="1835146"/>
                </a:cubicBezTo>
                <a:lnTo>
                  <a:pt x="26860" y="1840532"/>
                </a:lnTo>
                <a:close/>
                <a:moveTo>
                  <a:pt x="3081435" y="1822331"/>
                </a:moveTo>
                <a:lnTo>
                  <a:pt x="3052903" y="1817276"/>
                </a:lnTo>
                <a:cubicBezTo>
                  <a:pt x="3053234" y="1815382"/>
                  <a:pt x="3053564" y="1813507"/>
                  <a:pt x="3053895" y="1811613"/>
                </a:cubicBezTo>
                <a:lnTo>
                  <a:pt x="3082447" y="1816559"/>
                </a:lnTo>
                <a:cubicBezTo>
                  <a:pt x="3082116" y="1818489"/>
                  <a:pt x="3081785" y="1820401"/>
                  <a:pt x="3081435" y="1822331"/>
                </a:cubicBezTo>
                <a:close/>
                <a:moveTo>
                  <a:pt x="23183" y="1820383"/>
                </a:moveTo>
                <a:cubicBezTo>
                  <a:pt x="22852" y="1818452"/>
                  <a:pt x="22503" y="1816522"/>
                  <a:pt x="22172" y="1814592"/>
                </a:cubicBezTo>
                <a:lnTo>
                  <a:pt x="50723" y="1809701"/>
                </a:lnTo>
                <a:cubicBezTo>
                  <a:pt x="51054" y="1811595"/>
                  <a:pt x="51366" y="1813470"/>
                  <a:pt x="51697" y="1815364"/>
                </a:cubicBezTo>
                <a:lnTo>
                  <a:pt x="23165" y="1820364"/>
                </a:lnTo>
                <a:close/>
                <a:moveTo>
                  <a:pt x="3084873" y="1802127"/>
                </a:moveTo>
                <a:lnTo>
                  <a:pt x="3056285" y="1797420"/>
                </a:lnTo>
                <a:cubicBezTo>
                  <a:pt x="3056598" y="1795527"/>
                  <a:pt x="3056892" y="1793633"/>
                  <a:pt x="3057205" y="1791758"/>
                </a:cubicBezTo>
                <a:lnTo>
                  <a:pt x="3085811" y="1796336"/>
                </a:lnTo>
                <a:cubicBezTo>
                  <a:pt x="3085498" y="1798266"/>
                  <a:pt x="3085186" y="1800197"/>
                  <a:pt x="3084873" y="1802127"/>
                </a:cubicBezTo>
                <a:close/>
                <a:moveTo>
                  <a:pt x="19782" y="1800141"/>
                </a:moveTo>
                <a:cubicBezTo>
                  <a:pt x="19469" y="1798211"/>
                  <a:pt x="19157" y="1796281"/>
                  <a:pt x="18863" y="1794350"/>
                </a:cubicBezTo>
                <a:lnTo>
                  <a:pt x="47487" y="1789846"/>
                </a:lnTo>
                <a:cubicBezTo>
                  <a:pt x="47781" y="1791740"/>
                  <a:pt x="48094" y="1793633"/>
                  <a:pt x="48388" y="1795527"/>
                </a:cubicBezTo>
                <a:lnTo>
                  <a:pt x="19782" y="1800160"/>
                </a:lnTo>
                <a:close/>
                <a:moveTo>
                  <a:pt x="3088054" y="1781849"/>
                </a:moveTo>
                <a:lnTo>
                  <a:pt x="3059392" y="1777547"/>
                </a:lnTo>
                <a:cubicBezTo>
                  <a:pt x="3059687" y="1775653"/>
                  <a:pt x="3059962" y="1773760"/>
                  <a:pt x="3060238" y="1771848"/>
                </a:cubicBezTo>
                <a:lnTo>
                  <a:pt x="3088900" y="1776039"/>
                </a:lnTo>
                <a:cubicBezTo>
                  <a:pt x="3088624" y="1777970"/>
                  <a:pt x="3088330" y="1779900"/>
                  <a:pt x="3088035" y="1781830"/>
                </a:cubicBezTo>
                <a:close/>
                <a:moveTo>
                  <a:pt x="16638" y="1779863"/>
                </a:moveTo>
                <a:cubicBezTo>
                  <a:pt x="16344" y="1777933"/>
                  <a:pt x="16068" y="1776003"/>
                  <a:pt x="15792" y="1774054"/>
                </a:cubicBezTo>
                <a:lnTo>
                  <a:pt x="44472" y="1769917"/>
                </a:lnTo>
                <a:cubicBezTo>
                  <a:pt x="44748" y="1771811"/>
                  <a:pt x="45024" y="1773704"/>
                  <a:pt x="45300" y="1775598"/>
                </a:cubicBezTo>
                <a:lnTo>
                  <a:pt x="16638" y="1779845"/>
                </a:lnTo>
                <a:close/>
                <a:moveTo>
                  <a:pt x="3090959" y="1761552"/>
                </a:moveTo>
                <a:lnTo>
                  <a:pt x="3062260" y="1757618"/>
                </a:lnTo>
                <a:cubicBezTo>
                  <a:pt x="3062518" y="1755724"/>
                  <a:pt x="3062775" y="1753831"/>
                  <a:pt x="3063032" y="1751937"/>
                </a:cubicBezTo>
                <a:lnTo>
                  <a:pt x="3091749" y="1755743"/>
                </a:lnTo>
                <a:cubicBezTo>
                  <a:pt x="3091492" y="1757673"/>
                  <a:pt x="3091234" y="1759622"/>
                  <a:pt x="3090959" y="1761552"/>
                </a:cubicBezTo>
                <a:close/>
                <a:moveTo>
                  <a:pt x="13770" y="1759548"/>
                </a:moveTo>
                <a:cubicBezTo>
                  <a:pt x="13513" y="1757618"/>
                  <a:pt x="13255" y="1755669"/>
                  <a:pt x="12998" y="1753739"/>
                </a:cubicBezTo>
                <a:lnTo>
                  <a:pt x="41733" y="1749988"/>
                </a:lnTo>
                <a:cubicBezTo>
                  <a:pt x="41990" y="1751882"/>
                  <a:pt x="42229" y="1753794"/>
                  <a:pt x="42487" y="1755688"/>
                </a:cubicBezTo>
                <a:lnTo>
                  <a:pt x="13770" y="1759548"/>
                </a:lnTo>
                <a:close/>
                <a:moveTo>
                  <a:pt x="3093606" y="1741219"/>
                </a:moveTo>
                <a:lnTo>
                  <a:pt x="3064852" y="1737671"/>
                </a:lnTo>
                <a:cubicBezTo>
                  <a:pt x="3065091" y="1735777"/>
                  <a:pt x="3065312" y="1733865"/>
                  <a:pt x="3065551" y="1731972"/>
                </a:cubicBezTo>
                <a:lnTo>
                  <a:pt x="3094323" y="1735409"/>
                </a:lnTo>
                <a:cubicBezTo>
                  <a:pt x="3094084" y="1737358"/>
                  <a:pt x="3093863" y="1739289"/>
                  <a:pt x="3093606" y="1741237"/>
                </a:cubicBezTo>
                <a:close/>
                <a:moveTo>
                  <a:pt x="11159" y="1739197"/>
                </a:moveTo>
                <a:cubicBezTo>
                  <a:pt x="10920" y="1737248"/>
                  <a:pt x="10700" y="1735318"/>
                  <a:pt x="10461" y="1733369"/>
                </a:cubicBezTo>
                <a:lnTo>
                  <a:pt x="39233" y="1730004"/>
                </a:lnTo>
                <a:cubicBezTo>
                  <a:pt x="39453" y="1731898"/>
                  <a:pt x="39674" y="1733810"/>
                  <a:pt x="39913" y="1735704"/>
                </a:cubicBezTo>
                <a:lnTo>
                  <a:pt x="11141" y="1739178"/>
                </a:lnTo>
                <a:close/>
                <a:moveTo>
                  <a:pt x="3095996" y="1720849"/>
                </a:moveTo>
                <a:lnTo>
                  <a:pt x="3067206" y="1717668"/>
                </a:lnTo>
                <a:cubicBezTo>
                  <a:pt x="3067408" y="1715775"/>
                  <a:pt x="3067629" y="1713863"/>
                  <a:pt x="3067831" y="1711951"/>
                </a:cubicBezTo>
                <a:lnTo>
                  <a:pt x="3096639" y="1715002"/>
                </a:lnTo>
                <a:cubicBezTo>
                  <a:pt x="3096437" y="1716951"/>
                  <a:pt x="3096217" y="1718900"/>
                  <a:pt x="3096014" y="1720849"/>
                </a:cubicBezTo>
                <a:close/>
                <a:moveTo>
                  <a:pt x="8843" y="1718827"/>
                </a:moveTo>
                <a:cubicBezTo>
                  <a:pt x="8641" y="1716878"/>
                  <a:pt x="8420" y="1714929"/>
                  <a:pt x="8218" y="1712999"/>
                </a:cubicBezTo>
                <a:lnTo>
                  <a:pt x="37045" y="1710002"/>
                </a:lnTo>
                <a:cubicBezTo>
                  <a:pt x="37247" y="1711914"/>
                  <a:pt x="37449" y="1713808"/>
                  <a:pt x="37652" y="1715720"/>
                </a:cubicBezTo>
                <a:lnTo>
                  <a:pt x="8843" y="1718827"/>
                </a:lnTo>
                <a:close/>
                <a:moveTo>
                  <a:pt x="3098092" y="1700442"/>
                </a:moveTo>
                <a:lnTo>
                  <a:pt x="3069246" y="1697647"/>
                </a:lnTo>
                <a:cubicBezTo>
                  <a:pt x="3069430" y="1695736"/>
                  <a:pt x="3069614" y="1693842"/>
                  <a:pt x="3069780" y="1691930"/>
                </a:cubicBezTo>
                <a:lnTo>
                  <a:pt x="3098625" y="1694596"/>
                </a:lnTo>
                <a:cubicBezTo>
                  <a:pt x="3098441" y="1696544"/>
                  <a:pt x="3098257" y="1698493"/>
                  <a:pt x="3098073" y="1700442"/>
                </a:cubicBezTo>
                <a:close/>
                <a:moveTo>
                  <a:pt x="6784" y="1698420"/>
                </a:moveTo>
                <a:cubicBezTo>
                  <a:pt x="6600" y="1696471"/>
                  <a:pt x="6416" y="1694522"/>
                  <a:pt x="6251" y="1692592"/>
                </a:cubicBezTo>
                <a:lnTo>
                  <a:pt x="35115" y="1689981"/>
                </a:lnTo>
                <a:cubicBezTo>
                  <a:pt x="35280" y="1691893"/>
                  <a:pt x="35464" y="1693805"/>
                  <a:pt x="35648" y="1695717"/>
                </a:cubicBezTo>
                <a:lnTo>
                  <a:pt x="6802" y="1698420"/>
                </a:lnTo>
                <a:close/>
                <a:moveTo>
                  <a:pt x="3099930" y="1679998"/>
                </a:moveTo>
                <a:lnTo>
                  <a:pt x="3071048" y="1677590"/>
                </a:lnTo>
                <a:cubicBezTo>
                  <a:pt x="3071214" y="1675678"/>
                  <a:pt x="3071361" y="1673766"/>
                  <a:pt x="3071508" y="1671872"/>
                </a:cubicBezTo>
                <a:lnTo>
                  <a:pt x="3100390" y="1674152"/>
                </a:lnTo>
                <a:cubicBezTo>
                  <a:pt x="3100243" y="1676101"/>
                  <a:pt x="3100077" y="1678050"/>
                  <a:pt x="3099912" y="1679998"/>
                </a:cubicBezTo>
                <a:close/>
                <a:moveTo>
                  <a:pt x="5001" y="1677976"/>
                </a:moveTo>
                <a:cubicBezTo>
                  <a:pt x="4835" y="1676027"/>
                  <a:pt x="4688" y="1674079"/>
                  <a:pt x="4541" y="1672130"/>
                </a:cubicBezTo>
                <a:lnTo>
                  <a:pt x="33423" y="1669924"/>
                </a:lnTo>
                <a:cubicBezTo>
                  <a:pt x="33570" y="1671836"/>
                  <a:pt x="33717" y="1673748"/>
                  <a:pt x="33883" y="1675660"/>
                </a:cubicBezTo>
                <a:lnTo>
                  <a:pt x="5001" y="1677994"/>
                </a:lnTo>
                <a:close/>
                <a:moveTo>
                  <a:pt x="3101493" y="1659555"/>
                </a:moveTo>
                <a:lnTo>
                  <a:pt x="3072593" y="1657514"/>
                </a:lnTo>
                <a:cubicBezTo>
                  <a:pt x="3072721" y="1655602"/>
                  <a:pt x="3072850" y="1653690"/>
                  <a:pt x="3072979" y="1651778"/>
                </a:cubicBezTo>
                <a:lnTo>
                  <a:pt x="3101897" y="1653690"/>
                </a:lnTo>
                <a:cubicBezTo>
                  <a:pt x="3101769" y="1655639"/>
                  <a:pt x="3101640" y="1657588"/>
                  <a:pt x="3101493" y="1659555"/>
                </a:cubicBezTo>
                <a:close/>
                <a:moveTo>
                  <a:pt x="3475" y="1657532"/>
                </a:moveTo>
                <a:cubicBezTo>
                  <a:pt x="3346" y="1655584"/>
                  <a:pt x="3217" y="1653635"/>
                  <a:pt x="3089" y="1651686"/>
                </a:cubicBezTo>
                <a:lnTo>
                  <a:pt x="32008" y="1649848"/>
                </a:lnTo>
                <a:cubicBezTo>
                  <a:pt x="32136" y="1651760"/>
                  <a:pt x="32247" y="1653672"/>
                  <a:pt x="32375" y="1655584"/>
                </a:cubicBezTo>
                <a:lnTo>
                  <a:pt x="3475" y="1657532"/>
                </a:lnTo>
                <a:close/>
                <a:moveTo>
                  <a:pt x="3102798" y="1639074"/>
                </a:moveTo>
                <a:lnTo>
                  <a:pt x="3073879" y="1637420"/>
                </a:lnTo>
                <a:cubicBezTo>
                  <a:pt x="3073990" y="1635508"/>
                  <a:pt x="3074100" y="1633596"/>
                  <a:pt x="3074192" y="1631684"/>
                </a:cubicBezTo>
                <a:lnTo>
                  <a:pt x="3103129" y="1633210"/>
                </a:lnTo>
                <a:cubicBezTo>
                  <a:pt x="3103019" y="1635158"/>
                  <a:pt x="3102927" y="1637126"/>
                  <a:pt x="3102817" y="1639074"/>
                </a:cubicBezTo>
                <a:close/>
                <a:moveTo>
                  <a:pt x="2243" y="1637052"/>
                </a:moveTo>
                <a:cubicBezTo>
                  <a:pt x="2133" y="1635103"/>
                  <a:pt x="2041" y="1633155"/>
                  <a:pt x="1930" y="1631206"/>
                </a:cubicBezTo>
                <a:lnTo>
                  <a:pt x="30868" y="1629753"/>
                </a:lnTo>
                <a:cubicBezTo>
                  <a:pt x="30960" y="1631665"/>
                  <a:pt x="31070" y="1633577"/>
                  <a:pt x="31162" y="1635489"/>
                </a:cubicBezTo>
                <a:lnTo>
                  <a:pt x="2225" y="1637052"/>
                </a:lnTo>
                <a:close/>
                <a:moveTo>
                  <a:pt x="3103828" y="1618576"/>
                </a:moveTo>
                <a:lnTo>
                  <a:pt x="3074891" y="1617307"/>
                </a:lnTo>
                <a:cubicBezTo>
                  <a:pt x="3074982" y="1615395"/>
                  <a:pt x="3075056" y="1613483"/>
                  <a:pt x="3075130" y="1611571"/>
                </a:cubicBezTo>
                <a:lnTo>
                  <a:pt x="3104085" y="1612711"/>
                </a:lnTo>
                <a:cubicBezTo>
                  <a:pt x="3104012" y="1614660"/>
                  <a:pt x="3103920" y="1616627"/>
                  <a:pt x="3103846" y="1618576"/>
                </a:cubicBezTo>
                <a:close/>
                <a:moveTo>
                  <a:pt x="1269" y="1616572"/>
                </a:moveTo>
                <a:cubicBezTo>
                  <a:pt x="1195" y="1614623"/>
                  <a:pt x="1121" y="1612656"/>
                  <a:pt x="1048" y="1610707"/>
                </a:cubicBezTo>
                <a:lnTo>
                  <a:pt x="30004" y="1609641"/>
                </a:lnTo>
                <a:cubicBezTo>
                  <a:pt x="30077" y="1611553"/>
                  <a:pt x="30151" y="1613465"/>
                  <a:pt x="30224" y="1615377"/>
                </a:cubicBezTo>
                <a:lnTo>
                  <a:pt x="1269" y="1616553"/>
                </a:lnTo>
                <a:close/>
                <a:moveTo>
                  <a:pt x="3104581" y="1598058"/>
                </a:moveTo>
                <a:lnTo>
                  <a:pt x="3075626" y="1597194"/>
                </a:lnTo>
                <a:cubicBezTo>
                  <a:pt x="3075681" y="1595282"/>
                  <a:pt x="3075736" y="1593352"/>
                  <a:pt x="3075791" y="1591440"/>
                </a:cubicBezTo>
                <a:lnTo>
                  <a:pt x="3104765" y="1592194"/>
                </a:lnTo>
                <a:cubicBezTo>
                  <a:pt x="3104710" y="1594142"/>
                  <a:pt x="3104655" y="1596110"/>
                  <a:pt x="3104600" y="1598058"/>
                </a:cubicBezTo>
                <a:close/>
                <a:moveTo>
                  <a:pt x="570" y="1596073"/>
                </a:moveTo>
                <a:cubicBezTo>
                  <a:pt x="515" y="1594124"/>
                  <a:pt x="460" y="1592157"/>
                  <a:pt x="423" y="1590208"/>
                </a:cubicBezTo>
                <a:lnTo>
                  <a:pt x="29397" y="1589546"/>
                </a:lnTo>
                <a:cubicBezTo>
                  <a:pt x="29434" y="1591458"/>
                  <a:pt x="29489" y="1593370"/>
                  <a:pt x="29544" y="1595282"/>
                </a:cubicBezTo>
                <a:lnTo>
                  <a:pt x="588" y="1596073"/>
                </a:lnTo>
                <a:close/>
                <a:moveTo>
                  <a:pt x="3105059" y="1577541"/>
                </a:moveTo>
                <a:lnTo>
                  <a:pt x="3076085" y="1577063"/>
                </a:lnTo>
                <a:cubicBezTo>
                  <a:pt x="3076122" y="1575151"/>
                  <a:pt x="3076141" y="1573221"/>
                  <a:pt x="3076177" y="1571309"/>
                </a:cubicBezTo>
                <a:lnTo>
                  <a:pt x="3105152" y="1571695"/>
                </a:lnTo>
                <a:cubicBezTo>
                  <a:pt x="3105133" y="1573644"/>
                  <a:pt x="3105096" y="1575611"/>
                  <a:pt x="3105059" y="1577560"/>
                </a:cubicBezTo>
                <a:close/>
                <a:moveTo>
                  <a:pt x="147" y="1575556"/>
                </a:moveTo>
                <a:cubicBezTo>
                  <a:pt x="129" y="1573607"/>
                  <a:pt x="92" y="1571658"/>
                  <a:pt x="74" y="1569709"/>
                </a:cubicBezTo>
                <a:lnTo>
                  <a:pt x="29048" y="1569415"/>
                </a:lnTo>
                <a:cubicBezTo>
                  <a:pt x="29066" y="1571327"/>
                  <a:pt x="29084" y="1573239"/>
                  <a:pt x="29121" y="1575170"/>
                </a:cubicBezTo>
                <a:lnTo>
                  <a:pt x="147" y="1575574"/>
                </a:lnTo>
                <a:close/>
                <a:moveTo>
                  <a:pt x="3105280" y="1557006"/>
                </a:moveTo>
                <a:lnTo>
                  <a:pt x="3076306" y="1556895"/>
                </a:lnTo>
                <a:cubicBezTo>
                  <a:pt x="3076306" y="1555075"/>
                  <a:pt x="3076306" y="1553255"/>
                  <a:pt x="3076306" y="1551417"/>
                </a:cubicBezTo>
                <a:lnTo>
                  <a:pt x="3076306" y="1551141"/>
                </a:lnTo>
                <a:lnTo>
                  <a:pt x="3105280" y="1551141"/>
                </a:lnTo>
                <a:lnTo>
                  <a:pt x="3105280" y="1551417"/>
                </a:lnTo>
                <a:cubicBezTo>
                  <a:pt x="3105280" y="1553274"/>
                  <a:pt x="3105280" y="1555131"/>
                  <a:pt x="3105280" y="1557006"/>
                </a:cubicBezTo>
                <a:close/>
                <a:moveTo>
                  <a:pt x="28974" y="1555057"/>
                </a:moveTo>
                <a:lnTo>
                  <a:pt x="0" y="1555057"/>
                </a:lnTo>
                <a:lnTo>
                  <a:pt x="0" y="1553862"/>
                </a:lnTo>
                <a:cubicBezTo>
                  <a:pt x="0" y="1552299"/>
                  <a:pt x="0" y="1550755"/>
                  <a:pt x="0" y="1549211"/>
                </a:cubicBezTo>
                <a:lnTo>
                  <a:pt x="28974" y="1549303"/>
                </a:lnTo>
                <a:cubicBezTo>
                  <a:pt x="28974" y="1550810"/>
                  <a:pt x="28974" y="1552336"/>
                  <a:pt x="28974" y="1553844"/>
                </a:cubicBezTo>
                <a:lnTo>
                  <a:pt x="28974" y="1555075"/>
                </a:lnTo>
                <a:close/>
                <a:moveTo>
                  <a:pt x="3076233" y="1536783"/>
                </a:moveTo>
                <a:cubicBezTo>
                  <a:pt x="3076233" y="1534871"/>
                  <a:pt x="3076196" y="1532940"/>
                  <a:pt x="3076159" y="1531028"/>
                </a:cubicBezTo>
                <a:lnTo>
                  <a:pt x="3105133" y="1530642"/>
                </a:lnTo>
                <a:cubicBezTo>
                  <a:pt x="3105152" y="1532591"/>
                  <a:pt x="3105188" y="1534540"/>
                  <a:pt x="3105207" y="1536489"/>
                </a:cubicBezTo>
                <a:lnTo>
                  <a:pt x="3076233" y="1536764"/>
                </a:lnTo>
                <a:close/>
                <a:moveTo>
                  <a:pt x="29084" y="1534908"/>
                </a:moveTo>
                <a:lnTo>
                  <a:pt x="110" y="1534540"/>
                </a:lnTo>
                <a:cubicBezTo>
                  <a:pt x="129" y="1532591"/>
                  <a:pt x="165" y="1530624"/>
                  <a:pt x="202" y="1528675"/>
                </a:cubicBezTo>
                <a:lnTo>
                  <a:pt x="29176" y="1529153"/>
                </a:lnTo>
                <a:cubicBezTo>
                  <a:pt x="29140" y="1531065"/>
                  <a:pt x="29121" y="1532995"/>
                  <a:pt x="29103" y="1534908"/>
                </a:cubicBezTo>
                <a:close/>
                <a:moveTo>
                  <a:pt x="3075902" y="1516670"/>
                </a:moveTo>
                <a:cubicBezTo>
                  <a:pt x="3075865" y="1514758"/>
                  <a:pt x="3075810" y="1512846"/>
                  <a:pt x="3075755" y="1510934"/>
                </a:cubicBezTo>
                <a:lnTo>
                  <a:pt x="3104710" y="1510143"/>
                </a:lnTo>
                <a:cubicBezTo>
                  <a:pt x="3104765" y="1512092"/>
                  <a:pt x="3104820" y="1514059"/>
                  <a:pt x="3104857" y="1516008"/>
                </a:cubicBezTo>
                <a:lnTo>
                  <a:pt x="3075883" y="1516670"/>
                </a:lnTo>
                <a:close/>
                <a:moveTo>
                  <a:pt x="29470" y="1514758"/>
                </a:moveTo>
                <a:lnTo>
                  <a:pt x="496" y="1514023"/>
                </a:lnTo>
                <a:cubicBezTo>
                  <a:pt x="552" y="1512074"/>
                  <a:pt x="607" y="1510107"/>
                  <a:pt x="662" y="1508158"/>
                </a:cubicBezTo>
                <a:lnTo>
                  <a:pt x="29618" y="1509022"/>
                </a:lnTo>
                <a:cubicBezTo>
                  <a:pt x="29562" y="1510934"/>
                  <a:pt x="29507" y="1512864"/>
                  <a:pt x="29452" y="1514776"/>
                </a:cubicBezTo>
                <a:close/>
                <a:moveTo>
                  <a:pt x="3075313" y="1496557"/>
                </a:moveTo>
                <a:cubicBezTo>
                  <a:pt x="3075240" y="1494645"/>
                  <a:pt x="3075166" y="1492733"/>
                  <a:pt x="3075093" y="1490821"/>
                </a:cubicBezTo>
                <a:lnTo>
                  <a:pt x="3104048" y="1489663"/>
                </a:lnTo>
                <a:cubicBezTo>
                  <a:pt x="3104122" y="1491612"/>
                  <a:pt x="3104195" y="1493579"/>
                  <a:pt x="3104269" y="1495528"/>
                </a:cubicBezTo>
                <a:lnTo>
                  <a:pt x="3075313" y="1496557"/>
                </a:lnTo>
                <a:close/>
                <a:moveTo>
                  <a:pt x="30132" y="1494645"/>
                </a:moveTo>
                <a:lnTo>
                  <a:pt x="1177" y="1493506"/>
                </a:lnTo>
                <a:cubicBezTo>
                  <a:pt x="1250" y="1491557"/>
                  <a:pt x="1342" y="1489608"/>
                  <a:pt x="1416" y="1487641"/>
                </a:cubicBezTo>
                <a:lnTo>
                  <a:pt x="30371" y="1488873"/>
                </a:lnTo>
                <a:cubicBezTo>
                  <a:pt x="30298" y="1490785"/>
                  <a:pt x="30206" y="1492715"/>
                  <a:pt x="30132" y="1494627"/>
                </a:cubicBezTo>
                <a:close/>
                <a:moveTo>
                  <a:pt x="3074449" y="1476463"/>
                </a:moveTo>
                <a:cubicBezTo>
                  <a:pt x="3074357" y="1474551"/>
                  <a:pt x="3074247" y="1472639"/>
                  <a:pt x="3074155" y="1470709"/>
                </a:cubicBezTo>
                <a:lnTo>
                  <a:pt x="3103092" y="1469164"/>
                </a:lnTo>
                <a:cubicBezTo>
                  <a:pt x="3103203" y="1471113"/>
                  <a:pt x="3103295" y="1473062"/>
                  <a:pt x="3103387" y="1475011"/>
                </a:cubicBezTo>
                <a:lnTo>
                  <a:pt x="3074449" y="1476445"/>
                </a:lnTo>
                <a:close/>
                <a:moveTo>
                  <a:pt x="31052" y="1474514"/>
                </a:moveTo>
                <a:lnTo>
                  <a:pt x="2114" y="1473007"/>
                </a:lnTo>
                <a:cubicBezTo>
                  <a:pt x="2225" y="1471058"/>
                  <a:pt x="2316" y="1469109"/>
                  <a:pt x="2427" y="1467160"/>
                </a:cubicBezTo>
                <a:lnTo>
                  <a:pt x="31364" y="1468778"/>
                </a:lnTo>
                <a:cubicBezTo>
                  <a:pt x="31254" y="1470690"/>
                  <a:pt x="31162" y="1472602"/>
                  <a:pt x="31052" y="1474533"/>
                </a:cubicBezTo>
                <a:close/>
                <a:moveTo>
                  <a:pt x="3073328" y="1456350"/>
                </a:moveTo>
                <a:cubicBezTo>
                  <a:pt x="3073199" y="1454438"/>
                  <a:pt x="3073089" y="1452526"/>
                  <a:pt x="3072960" y="1450614"/>
                </a:cubicBezTo>
                <a:lnTo>
                  <a:pt x="3101861" y="1448684"/>
                </a:lnTo>
                <a:cubicBezTo>
                  <a:pt x="3101989" y="1450633"/>
                  <a:pt x="3102118" y="1452581"/>
                  <a:pt x="3102247" y="1454530"/>
                </a:cubicBezTo>
                <a:lnTo>
                  <a:pt x="3073328" y="1456350"/>
                </a:lnTo>
                <a:close/>
                <a:moveTo>
                  <a:pt x="32228" y="1454420"/>
                </a:moveTo>
                <a:lnTo>
                  <a:pt x="3309" y="1452526"/>
                </a:lnTo>
                <a:cubicBezTo>
                  <a:pt x="3438" y="1450578"/>
                  <a:pt x="3567" y="1448629"/>
                  <a:pt x="3695" y="1446680"/>
                </a:cubicBezTo>
                <a:lnTo>
                  <a:pt x="32596" y="1448684"/>
                </a:lnTo>
                <a:cubicBezTo>
                  <a:pt x="32467" y="1450596"/>
                  <a:pt x="32338" y="1452508"/>
                  <a:pt x="32210" y="1454420"/>
                </a:cubicBezTo>
                <a:close/>
                <a:moveTo>
                  <a:pt x="3071930" y="1436274"/>
                </a:moveTo>
                <a:cubicBezTo>
                  <a:pt x="3071783" y="1434362"/>
                  <a:pt x="3071636" y="1432450"/>
                  <a:pt x="3071489" y="1430538"/>
                </a:cubicBezTo>
                <a:lnTo>
                  <a:pt x="3100372" y="1428222"/>
                </a:lnTo>
                <a:cubicBezTo>
                  <a:pt x="3100519" y="1430171"/>
                  <a:pt x="3100684" y="1432119"/>
                  <a:pt x="3100831" y="1434068"/>
                </a:cubicBezTo>
                <a:lnTo>
                  <a:pt x="3071949" y="1436274"/>
                </a:lnTo>
                <a:close/>
                <a:moveTo>
                  <a:pt x="33681" y="1434326"/>
                </a:moveTo>
                <a:lnTo>
                  <a:pt x="4798" y="1432046"/>
                </a:lnTo>
                <a:cubicBezTo>
                  <a:pt x="4945" y="1430097"/>
                  <a:pt x="5111" y="1428148"/>
                  <a:pt x="5276" y="1426200"/>
                </a:cubicBezTo>
                <a:lnTo>
                  <a:pt x="34159" y="1428590"/>
                </a:lnTo>
                <a:cubicBezTo>
                  <a:pt x="33993" y="1430502"/>
                  <a:pt x="33846" y="1432414"/>
                  <a:pt x="33699" y="1434326"/>
                </a:cubicBezTo>
                <a:close/>
                <a:moveTo>
                  <a:pt x="3070258" y="1416217"/>
                </a:moveTo>
                <a:cubicBezTo>
                  <a:pt x="3070092" y="1414305"/>
                  <a:pt x="3069908" y="1412393"/>
                  <a:pt x="3069724" y="1410481"/>
                </a:cubicBezTo>
                <a:lnTo>
                  <a:pt x="3098570" y="1407797"/>
                </a:lnTo>
                <a:cubicBezTo>
                  <a:pt x="3098754" y="1409746"/>
                  <a:pt x="3098938" y="1411694"/>
                  <a:pt x="3099103" y="1413625"/>
                </a:cubicBezTo>
                <a:lnTo>
                  <a:pt x="3070239" y="1416217"/>
                </a:lnTo>
                <a:close/>
                <a:moveTo>
                  <a:pt x="35390" y="1414268"/>
                </a:moveTo>
                <a:lnTo>
                  <a:pt x="6545" y="1411602"/>
                </a:lnTo>
                <a:cubicBezTo>
                  <a:pt x="6729" y="1409654"/>
                  <a:pt x="6913" y="1407705"/>
                  <a:pt x="7096" y="1405756"/>
                </a:cubicBezTo>
                <a:lnTo>
                  <a:pt x="35942" y="1408532"/>
                </a:lnTo>
                <a:cubicBezTo>
                  <a:pt x="35758" y="1410444"/>
                  <a:pt x="35574" y="1412356"/>
                  <a:pt x="35409" y="1414250"/>
                </a:cubicBezTo>
                <a:close/>
                <a:moveTo>
                  <a:pt x="3068327" y="1396178"/>
                </a:moveTo>
                <a:cubicBezTo>
                  <a:pt x="3068125" y="1394266"/>
                  <a:pt x="3067923" y="1392372"/>
                  <a:pt x="3067721" y="1390460"/>
                </a:cubicBezTo>
                <a:lnTo>
                  <a:pt x="3096529" y="1387390"/>
                </a:lnTo>
                <a:cubicBezTo>
                  <a:pt x="3096731" y="1389339"/>
                  <a:pt x="3096934" y="1391269"/>
                  <a:pt x="3097136" y="1393218"/>
                </a:cubicBezTo>
                <a:lnTo>
                  <a:pt x="3068309" y="1396178"/>
                </a:lnTo>
                <a:close/>
                <a:moveTo>
                  <a:pt x="37376" y="1394229"/>
                </a:moveTo>
                <a:lnTo>
                  <a:pt x="8567" y="1391195"/>
                </a:lnTo>
                <a:cubicBezTo>
                  <a:pt x="8769" y="1389247"/>
                  <a:pt x="8972" y="1387316"/>
                  <a:pt x="9192" y="1385368"/>
                </a:cubicBezTo>
                <a:lnTo>
                  <a:pt x="38001" y="1388511"/>
                </a:lnTo>
                <a:cubicBezTo>
                  <a:pt x="37799" y="1390423"/>
                  <a:pt x="37578" y="1392317"/>
                  <a:pt x="37394" y="1394229"/>
                </a:cubicBezTo>
                <a:close/>
                <a:moveTo>
                  <a:pt x="3066140" y="1376175"/>
                </a:moveTo>
                <a:cubicBezTo>
                  <a:pt x="3065919" y="1374282"/>
                  <a:pt x="3065698" y="1372370"/>
                  <a:pt x="3065459" y="1370476"/>
                </a:cubicBezTo>
                <a:lnTo>
                  <a:pt x="3094231" y="1367001"/>
                </a:lnTo>
                <a:cubicBezTo>
                  <a:pt x="3094470" y="1368950"/>
                  <a:pt x="3094691" y="1370881"/>
                  <a:pt x="3094930" y="1372829"/>
                </a:cubicBezTo>
                <a:lnTo>
                  <a:pt x="3066158" y="1376175"/>
                </a:lnTo>
                <a:close/>
                <a:moveTo>
                  <a:pt x="39619" y="1374227"/>
                </a:moveTo>
                <a:lnTo>
                  <a:pt x="10847" y="1370807"/>
                </a:lnTo>
                <a:cubicBezTo>
                  <a:pt x="11086" y="1368877"/>
                  <a:pt x="11307" y="1366928"/>
                  <a:pt x="11545" y="1364997"/>
                </a:cubicBezTo>
                <a:lnTo>
                  <a:pt x="40299" y="1368527"/>
                </a:lnTo>
                <a:cubicBezTo>
                  <a:pt x="40060" y="1370439"/>
                  <a:pt x="39839" y="1372333"/>
                  <a:pt x="39600" y="1374245"/>
                </a:cubicBezTo>
                <a:close/>
                <a:moveTo>
                  <a:pt x="3063676" y="1356191"/>
                </a:moveTo>
                <a:cubicBezTo>
                  <a:pt x="3063437" y="1354298"/>
                  <a:pt x="3063180" y="1352386"/>
                  <a:pt x="3062922" y="1350492"/>
                </a:cubicBezTo>
                <a:lnTo>
                  <a:pt x="3091639" y="1346631"/>
                </a:lnTo>
                <a:cubicBezTo>
                  <a:pt x="3091896" y="1348562"/>
                  <a:pt x="3092153" y="1350511"/>
                  <a:pt x="3092411" y="1352459"/>
                </a:cubicBezTo>
                <a:lnTo>
                  <a:pt x="3063676" y="1356191"/>
                </a:lnTo>
                <a:close/>
                <a:moveTo>
                  <a:pt x="42119" y="1354261"/>
                </a:moveTo>
                <a:lnTo>
                  <a:pt x="13402" y="1350455"/>
                </a:lnTo>
                <a:cubicBezTo>
                  <a:pt x="13660" y="1348525"/>
                  <a:pt x="13917" y="1346595"/>
                  <a:pt x="14175" y="1344646"/>
                </a:cubicBezTo>
                <a:lnTo>
                  <a:pt x="42891" y="1348543"/>
                </a:lnTo>
                <a:cubicBezTo>
                  <a:pt x="42634" y="1350437"/>
                  <a:pt x="42376" y="1352349"/>
                  <a:pt x="42119" y="1354243"/>
                </a:cubicBezTo>
                <a:close/>
                <a:moveTo>
                  <a:pt x="3060955" y="1336263"/>
                </a:moveTo>
                <a:cubicBezTo>
                  <a:pt x="3060679" y="1334369"/>
                  <a:pt x="3060404" y="1332475"/>
                  <a:pt x="3060128" y="1330582"/>
                </a:cubicBezTo>
                <a:lnTo>
                  <a:pt x="3088789" y="1326353"/>
                </a:lnTo>
                <a:cubicBezTo>
                  <a:pt x="3089083" y="1328284"/>
                  <a:pt x="3089359" y="1330232"/>
                  <a:pt x="3089635" y="1332163"/>
                </a:cubicBezTo>
                <a:lnTo>
                  <a:pt x="3060955" y="1336263"/>
                </a:lnTo>
                <a:close/>
                <a:moveTo>
                  <a:pt x="44895" y="1334314"/>
                </a:moveTo>
                <a:lnTo>
                  <a:pt x="16215" y="1330140"/>
                </a:lnTo>
                <a:cubicBezTo>
                  <a:pt x="16491" y="1328210"/>
                  <a:pt x="16785" y="1326280"/>
                  <a:pt x="17061" y="1324349"/>
                </a:cubicBezTo>
                <a:lnTo>
                  <a:pt x="45722" y="1328633"/>
                </a:lnTo>
                <a:cubicBezTo>
                  <a:pt x="45447" y="1330526"/>
                  <a:pt x="45152" y="1332420"/>
                  <a:pt x="44877" y="1334332"/>
                </a:cubicBezTo>
                <a:close/>
                <a:moveTo>
                  <a:pt x="3057958" y="1316352"/>
                </a:moveTo>
                <a:cubicBezTo>
                  <a:pt x="3057664" y="1314458"/>
                  <a:pt x="3057352" y="1312565"/>
                  <a:pt x="3057057" y="1310671"/>
                </a:cubicBezTo>
                <a:lnTo>
                  <a:pt x="3085664" y="1306057"/>
                </a:lnTo>
                <a:cubicBezTo>
                  <a:pt x="3085976" y="1307987"/>
                  <a:pt x="3086289" y="1309917"/>
                  <a:pt x="3086583" y="1311848"/>
                </a:cubicBezTo>
                <a:lnTo>
                  <a:pt x="3057958" y="1316334"/>
                </a:lnTo>
                <a:close/>
                <a:moveTo>
                  <a:pt x="47929" y="1314422"/>
                </a:moveTo>
                <a:lnTo>
                  <a:pt x="19322" y="1309862"/>
                </a:lnTo>
                <a:cubicBezTo>
                  <a:pt x="19635" y="1307932"/>
                  <a:pt x="19947" y="1306002"/>
                  <a:pt x="20260" y="1304071"/>
                </a:cubicBezTo>
                <a:lnTo>
                  <a:pt x="48848" y="1308741"/>
                </a:lnTo>
                <a:cubicBezTo>
                  <a:pt x="48535" y="1310634"/>
                  <a:pt x="48241" y="1312528"/>
                  <a:pt x="47929" y="1314422"/>
                </a:cubicBezTo>
                <a:close/>
                <a:moveTo>
                  <a:pt x="3054686" y="1296478"/>
                </a:moveTo>
                <a:cubicBezTo>
                  <a:pt x="3054355" y="1294585"/>
                  <a:pt x="3054042" y="1292710"/>
                  <a:pt x="3053712" y="1290816"/>
                </a:cubicBezTo>
                <a:lnTo>
                  <a:pt x="3082244" y="1285815"/>
                </a:lnTo>
                <a:cubicBezTo>
                  <a:pt x="3082575" y="1287746"/>
                  <a:pt x="3082925" y="1289676"/>
                  <a:pt x="3083237" y="1291606"/>
                </a:cubicBezTo>
                <a:lnTo>
                  <a:pt x="3054668" y="1296478"/>
                </a:lnTo>
                <a:close/>
                <a:moveTo>
                  <a:pt x="51219" y="1294566"/>
                </a:moveTo>
                <a:lnTo>
                  <a:pt x="22668" y="1289621"/>
                </a:lnTo>
                <a:cubicBezTo>
                  <a:pt x="22999" y="1287690"/>
                  <a:pt x="23330" y="1285779"/>
                  <a:pt x="23679" y="1283848"/>
                </a:cubicBezTo>
                <a:lnTo>
                  <a:pt x="52212" y="1288886"/>
                </a:lnTo>
                <a:cubicBezTo>
                  <a:pt x="51881" y="1290779"/>
                  <a:pt x="51550" y="1292673"/>
                  <a:pt x="51219" y="1294548"/>
                </a:cubicBezTo>
                <a:close/>
                <a:moveTo>
                  <a:pt x="3051174" y="1276660"/>
                </a:moveTo>
                <a:cubicBezTo>
                  <a:pt x="3050825" y="1274785"/>
                  <a:pt x="3050476" y="1272891"/>
                  <a:pt x="3050126" y="1271016"/>
                </a:cubicBezTo>
                <a:lnTo>
                  <a:pt x="3078604" y="1265647"/>
                </a:lnTo>
                <a:cubicBezTo>
                  <a:pt x="3078972" y="1267578"/>
                  <a:pt x="3079321" y="1269490"/>
                  <a:pt x="3079689" y="1271420"/>
                </a:cubicBezTo>
                <a:lnTo>
                  <a:pt x="3051193" y="1276678"/>
                </a:lnTo>
                <a:close/>
                <a:moveTo>
                  <a:pt x="54786" y="1274766"/>
                </a:moveTo>
                <a:lnTo>
                  <a:pt x="26308" y="1269453"/>
                </a:lnTo>
                <a:cubicBezTo>
                  <a:pt x="26658" y="1267541"/>
                  <a:pt x="27025" y="1265611"/>
                  <a:pt x="27393" y="1263699"/>
                </a:cubicBezTo>
                <a:lnTo>
                  <a:pt x="55852" y="1269104"/>
                </a:lnTo>
                <a:cubicBezTo>
                  <a:pt x="55503" y="1270979"/>
                  <a:pt x="55135" y="1272873"/>
                  <a:pt x="54786" y="1274748"/>
                </a:cubicBezTo>
                <a:close/>
                <a:moveTo>
                  <a:pt x="3047387" y="1256896"/>
                </a:moveTo>
                <a:cubicBezTo>
                  <a:pt x="3047020" y="1255021"/>
                  <a:pt x="3046634" y="1253146"/>
                  <a:pt x="3046266" y="1251271"/>
                </a:cubicBezTo>
                <a:lnTo>
                  <a:pt x="3074670" y="1245516"/>
                </a:lnTo>
                <a:cubicBezTo>
                  <a:pt x="3075056" y="1247428"/>
                  <a:pt x="3075442" y="1249359"/>
                  <a:pt x="3075828" y="1251271"/>
                </a:cubicBezTo>
                <a:lnTo>
                  <a:pt x="3047406" y="1256896"/>
                </a:lnTo>
                <a:close/>
                <a:moveTo>
                  <a:pt x="58592" y="1255003"/>
                </a:moveTo>
                <a:lnTo>
                  <a:pt x="30169" y="1249322"/>
                </a:lnTo>
                <a:cubicBezTo>
                  <a:pt x="30555" y="1247410"/>
                  <a:pt x="30941" y="1245480"/>
                  <a:pt x="31327" y="1243568"/>
                </a:cubicBezTo>
                <a:lnTo>
                  <a:pt x="59713" y="1249359"/>
                </a:lnTo>
                <a:cubicBezTo>
                  <a:pt x="59327" y="1251234"/>
                  <a:pt x="58959" y="1253109"/>
                  <a:pt x="58573" y="1254984"/>
                </a:cubicBezTo>
                <a:close/>
                <a:moveTo>
                  <a:pt x="3043324" y="1237170"/>
                </a:moveTo>
                <a:cubicBezTo>
                  <a:pt x="3042920" y="1235295"/>
                  <a:pt x="3042515" y="1233419"/>
                  <a:pt x="3042111" y="1231544"/>
                </a:cubicBezTo>
                <a:lnTo>
                  <a:pt x="3070423" y="1225422"/>
                </a:lnTo>
                <a:cubicBezTo>
                  <a:pt x="3070827" y="1227334"/>
                  <a:pt x="3071250" y="1229246"/>
                  <a:pt x="3071655" y="1231158"/>
                </a:cubicBezTo>
                <a:lnTo>
                  <a:pt x="3043306" y="1237170"/>
                </a:lnTo>
                <a:close/>
                <a:moveTo>
                  <a:pt x="62673" y="1235313"/>
                </a:moveTo>
                <a:lnTo>
                  <a:pt x="34342" y="1229264"/>
                </a:lnTo>
                <a:cubicBezTo>
                  <a:pt x="34747" y="1227352"/>
                  <a:pt x="35170" y="1225440"/>
                  <a:pt x="35574" y="1223528"/>
                </a:cubicBezTo>
                <a:lnTo>
                  <a:pt x="63886" y="1229687"/>
                </a:lnTo>
                <a:cubicBezTo>
                  <a:pt x="63482" y="1231563"/>
                  <a:pt x="63077" y="1233438"/>
                  <a:pt x="62673" y="1235295"/>
                </a:cubicBezTo>
                <a:close/>
                <a:moveTo>
                  <a:pt x="3039022" y="1217498"/>
                </a:moveTo>
                <a:cubicBezTo>
                  <a:pt x="3038600" y="1215623"/>
                  <a:pt x="3038176" y="1213748"/>
                  <a:pt x="3037735" y="1211891"/>
                </a:cubicBezTo>
                <a:lnTo>
                  <a:pt x="3065974" y="1205401"/>
                </a:lnTo>
                <a:cubicBezTo>
                  <a:pt x="3066415" y="1207313"/>
                  <a:pt x="3066857" y="1209207"/>
                  <a:pt x="3067279" y="1211119"/>
                </a:cubicBezTo>
                <a:lnTo>
                  <a:pt x="3039022" y="1217517"/>
                </a:lnTo>
                <a:close/>
                <a:moveTo>
                  <a:pt x="67012" y="1215660"/>
                </a:moveTo>
                <a:lnTo>
                  <a:pt x="38755" y="1209244"/>
                </a:lnTo>
                <a:cubicBezTo>
                  <a:pt x="39196" y="1207332"/>
                  <a:pt x="39619" y="1205438"/>
                  <a:pt x="40060" y="1203526"/>
                </a:cubicBezTo>
                <a:lnTo>
                  <a:pt x="68280" y="1210071"/>
                </a:lnTo>
                <a:cubicBezTo>
                  <a:pt x="67839" y="1211928"/>
                  <a:pt x="67416" y="1213803"/>
                  <a:pt x="66993" y="1215660"/>
                </a:cubicBezTo>
                <a:close/>
                <a:moveTo>
                  <a:pt x="3034445" y="1197882"/>
                </a:moveTo>
                <a:cubicBezTo>
                  <a:pt x="3034003" y="1196025"/>
                  <a:pt x="3033544" y="1194150"/>
                  <a:pt x="3033084" y="1192293"/>
                </a:cubicBezTo>
                <a:lnTo>
                  <a:pt x="3061231" y="1185417"/>
                </a:lnTo>
                <a:cubicBezTo>
                  <a:pt x="3061690" y="1187311"/>
                  <a:pt x="3062150" y="1189223"/>
                  <a:pt x="3062610" y="1191117"/>
                </a:cubicBezTo>
                <a:lnTo>
                  <a:pt x="3034445" y="1197882"/>
                </a:lnTo>
                <a:close/>
                <a:moveTo>
                  <a:pt x="71589" y="1196062"/>
                </a:moveTo>
                <a:lnTo>
                  <a:pt x="43424" y="1189278"/>
                </a:lnTo>
                <a:cubicBezTo>
                  <a:pt x="43884" y="1187384"/>
                  <a:pt x="44344" y="1185472"/>
                  <a:pt x="44803" y="1183579"/>
                </a:cubicBezTo>
                <a:lnTo>
                  <a:pt x="72950" y="1190491"/>
                </a:lnTo>
                <a:cubicBezTo>
                  <a:pt x="72490" y="1192348"/>
                  <a:pt x="72049" y="1194205"/>
                  <a:pt x="71589" y="1196062"/>
                </a:cubicBezTo>
                <a:close/>
                <a:moveTo>
                  <a:pt x="3029609" y="1178339"/>
                </a:moveTo>
                <a:cubicBezTo>
                  <a:pt x="3029131" y="1176482"/>
                  <a:pt x="3028672" y="1174626"/>
                  <a:pt x="3028175" y="1172769"/>
                </a:cubicBezTo>
                <a:lnTo>
                  <a:pt x="3056230" y="1165507"/>
                </a:lnTo>
                <a:cubicBezTo>
                  <a:pt x="3056727" y="1167400"/>
                  <a:pt x="3057205" y="1169294"/>
                  <a:pt x="3057682" y="1171188"/>
                </a:cubicBezTo>
                <a:lnTo>
                  <a:pt x="3029591" y="1178321"/>
                </a:lnTo>
                <a:close/>
                <a:moveTo>
                  <a:pt x="76443" y="1176538"/>
                </a:moveTo>
                <a:lnTo>
                  <a:pt x="48370" y="1169368"/>
                </a:lnTo>
                <a:cubicBezTo>
                  <a:pt x="48848" y="1167474"/>
                  <a:pt x="49344" y="1165580"/>
                  <a:pt x="49822" y="1163687"/>
                </a:cubicBezTo>
                <a:lnTo>
                  <a:pt x="77877" y="1170967"/>
                </a:lnTo>
                <a:cubicBezTo>
                  <a:pt x="77399" y="1172824"/>
                  <a:pt x="76921" y="1174681"/>
                  <a:pt x="76443" y="1176538"/>
                </a:cubicBezTo>
                <a:close/>
                <a:moveTo>
                  <a:pt x="3024517" y="1158852"/>
                </a:moveTo>
                <a:cubicBezTo>
                  <a:pt x="3024020" y="1156995"/>
                  <a:pt x="3023524" y="1155138"/>
                  <a:pt x="3023009" y="1153299"/>
                </a:cubicBezTo>
                <a:lnTo>
                  <a:pt x="3050972" y="1145688"/>
                </a:lnTo>
                <a:cubicBezTo>
                  <a:pt x="3051487" y="1147582"/>
                  <a:pt x="3052002" y="1149457"/>
                  <a:pt x="3052498" y="1151351"/>
                </a:cubicBezTo>
                <a:lnTo>
                  <a:pt x="3024517" y="1158870"/>
                </a:lnTo>
                <a:close/>
                <a:moveTo>
                  <a:pt x="81536" y="1157087"/>
                </a:moveTo>
                <a:lnTo>
                  <a:pt x="53554" y="1149549"/>
                </a:lnTo>
                <a:cubicBezTo>
                  <a:pt x="54069" y="1147674"/>
                  <a:pt x="54565" y="1145780"/>
                  <a:pt x="55080" y="1143905"/>
                </a:cubicBezTo>
                <a:lnTo>
                  <a:pt x="83025" y="1151535"/>
                </a:lnTo>
                <a:cubicBezTo>
                  <a:pt x="82528" y="1153391"/>
                  <a:pt x="82014" y="1155230"/>
                  <a:pt x="81517" y="1157087"/>
                </a:cubicBezTo>
                <a:close/>
                <a:moveTo>
                  <a:pt x="3019148" y="1139438"/>
                </a:moveTo>
                <a:cubicBezTo>
                  <a:pt x="3018634" y="1137599"/>
                  <a:pt x="3018101" y="1135742"/>
                  <a:pt x="3017567" y="1133904"/>
                </a:cubicBezTo>
                <a:lnTo>
                  <a:pt x="3045420" y="1125906"/>
                </a:lnTo>
                <a:cubicBezTo>
                  <a:pt x="3045953" y="1127782"/>
                  <a:pt x="3046505" y="1129675"/>
                  <a:pt x="3047020" y="1131551"/>
                </a:cubicBezTo>
                <a:lnTo>
                  <a:pt x="3019148" y="1139438"/>
                </a:lnTo>
                <a:close/>
                <a:moveTo>
                  <a:pt x="86904" y="1137709"/>
                </a:moveTo>
                <a:lnTo>
                  <a:pt x="59033" y="1129804"/>
                </a:lnTo>
                <a:cubicBezTo>
                  <a:pt x="59566" y="1127929"/>
                  <a:pt x="60099" y="1126054"/>
                  <a:pt x="60651" y="1124178"/>
                </a:cubicBezTo>
                <a:lnTo>
                  <a:pt x="88503" y="1132194"/>
                </a:lnTo>
                <a:cubicBezTo>
                  <a:pt x="87970" y="1134033"/>
                  <a:pt x="87455" y="1135871"/>
                  <a:pt x="86922" y="1137709"/>
                </a:cubicBezTo>
                <a:close/>
                <a:moveTo>
                  <a:pt x="3013541" y="1120097"/>
                </a:moveTo>
                <a:cubicBezTo>
                  <a:pt x="3012990" y="1118259"/>
                  <a:pt x="3012438" y="1116420"/>
                  <a:pt x="3011887" y="1114582"/>
                </a:cubicBezTo>
                <a:lnTo>
                  <a:pt x="3039629" y="1106235"/>
                </a:lnTo>
                <a:cubicBezTo>
                  <a:pt x="3040199" y="1108110"/>
                  <a:pt x="3040750" y="1109985"/>
                  <a:pt x="3041320" y="1111861"/>
                </a:cubicBezTo>
                <a:lnTo>
                  <a:pt x="3013541" y="1120115"/>
                </a:lnTo>
                <a:close/>
                <a:moveTo>
                  <a:pt x="92511" y="1118387"/>
                </a:moveTo>
                <a:lnTo>
                  <a:pt x="64750" y="1110114"/>
                </a:lnTo>
                <a:cubicBezTo>
                  <a:pt x="65302" y="1108239"/>
                  <a:pt x="65872" y="1106382"/>
                  <a:pt x="66423" y="1104507"/>
                </a:cubicBezTo>
                <a:lnTo>
                  <a:pt x="94166" y="1112872"/>
                </a:lnTo>
                <a:cubicBezTo>
                  <a:pt x="93614" y="1114710"/>
                  <a:pt x="93063" y="1116549"/>
                  <a:pt x="92511" y="1118387"/>
                </a:cubicBezTo>
                <a:close/>
                <a:moveTo>
                  <a:pt x="3007677" y="1100830"/>
                </a:moveTo>
                <a:cubicBezTo>
                  <a:pt x="3007107" y="1099010"/>
                  <a:pt x="3006537" y="1097171"/>
                  <a:pt x="3005949" y="1095351"/>
                </a:cubicBezTo>
                <a:lnTo>
                  <a:pt x="3033580" y="1086619"/>
                </a:lnTo>
                <a:cubicBezTo>
                  <a:pt x="3034169" y="1088494"/>
                  <a:pt x="3034757" y="1090351"/>
                  <a:pt x="3035345" y="1092226"/>
                </a:cubicBezTo>
                <a:lnTo>
                  <a:pt x="3007677" y="1100848"/>
                </a:lnTo>
                <a:close/>
                <a:moveTo>
                  <a:pt x="98376" y="1099157"/>
                </a:moveTo>
                <a:lnTo>
                  <a:pt x="70707" y="1090535"/>
                </a:lnTo>
                <a:cubicBezTo>
                  <a:pt x="71295" y="1088678"/>
                  <a:pt x="71865" y="1086803"/>
                  <a:pt x="72454" y="1084946"/>
                </a:cubicBezTo>
                <a:lnTo>
                  <a:pt x="100086" y="1093678"/>
                </a:lnTo>
                <a:cubicBezTo>
                  <a:pt x="99516" y="1095498"/>
                  <a:pt x="98927" y="1097337"/>
                  <a:pt x="98357" y="1099157"/>
                </a:cubicBezTo>
                <a:close/>
                <a:moveTo>
                  <a:pt x="3001555" y="1081637"/>
                </a:moveTo>
                <a:cubicBezTo>
                  <a:pt x="3000966" y="1079816"/>
                  <a:pt x="3000360" y="1077996"/>
                  <a:pt x="2999753" y="1076158"/>
                </a:cubicBezTo>
                <a:lnTo>
                  <a:pt x="3027256" y="1067058"/>
                </a:lnTo>
                <a:cubicBezTo>
                  <a:pt x="3027863" y="1068914"/>
                  <a:pt x="3028488" y="1070771"/>
                  <a:pt x="3029095" y="1072628"/>
                </a:cubicBezTo>
                <a:lnTo>
                  <a:pt x="3001555" y="1081618"/>
                </a:lnTo>
                <a:close/>
                <a:moveTo>
                  <a:pt x="104479" y="1080000"/>
                </a:moveTo>
                <a:lnTo>
                  <a:pt x="76939" y="1071010"/>
                </a:lnTo>
                <a:cubicBezTo>
                  <a:pt x="77546" y="1069153"/>
                  <a:pt x="78153" y="1067297"/>
                  <a:pt x="78759" y="1065440"/>
                </a:cubicBezTo>
                <a:lnTo>
                  <a:pt x="106263" y="1074540"/>
                </a:lnTo>
                <a:cubicBezTo>
                  <a:pt x="105656" y="1076360"/>
                  <a:pt x="105068" y="1078180"/>
                  <a:pt x="104461" y="1080000"/>
                </a:cubicBezTo>
                <a:close/>
                <a:moveTo>
                  <a:pt x="2995175" y="1062535"/>
                </a:moveTo>
                <a:cubicBezTo>
                  <a:pt x="2994550" y="1060715"/>
                  <a:pt x="2993925" y="1058895"/>
                  <a:pt x="2993300" y="1057093"/>
                </a:cubicBezTo>
                <a:lnTo>
                  <a:pt x="3020693" y="1047643"/>
                </a:lnTo>
                <a:cubicBezTo>
                  <a:pt x="3021336" y="1049500"/>
                  <a:pt x="3021961" y="1051339"/>
                  <a:pt x="3022605" y="1053196"/>
                </a:cubicBezTo>
                <a:lnTo>
                  <a:pt x="2995175" y="1062553"/>
                </a:lnTo>
                <a:close/>
                <a:moveTo>
                  <a:pt x="110859" y="1060917"/>
                </a:moveTo>
                <a:lnTo>
                  <a:pt x="83429" y="1051559"/>
                </a:lnTo>
                <a:cubicBezTo>
                  <a:pt x="84054" y="1049721"/>
                  <a:pt x="84698" y="1047864"/>
                  <a:pt x="85323" y="1046026"/>
                </a:cubicBezTo>
                <a:lnTo>
                  <a:pt x="112716" y="1055475"/>
                </a:lnTo>
                <a:cubicBezTo>
                  <a:pt x="112091" y="1057277"/>
                  <a:pt x="111466" y="1059097"/>
                  <a:pt x="110859" y="1060917"/>
                </a:cubicBezTo>
                <a:close/>
                <a:moveTo>
                  <a:pt x="2988538" y="1043507"/>
                </a:moveTo>
                <a:cubicBezTo>
                  <a:pt x="2987895" y="1041705"/>
                  <a:pt x="2987251" y="1039885"/>
                  <a:pt x="2986590" y="1038084"/>
                </a:cubicBezTo>
                <a:lnTo>
                  <a:pt x="3013854" y="1028266"/>
                </a:lnTo>
                <a:cubicBezTo>
                  <a:pt x="3014516" y="1030105"/>
                  <a:pt x="3015177" y="1031943"/>
                  <a:pt x="3015821" y="1033781"/>
                </a:cubicBezTo>
                <a:lnTo>
                  <a:pt x="2988520" y="1043489"/>
                </a:lnTo>
                <a:close/>
                <a:moveTo>
                  <a:pt x="117459" y="1041944"/>
                </a:moveTo>
                <a:lnTo>
                  <a:pt x="90158" y="1032237"/>
                </a:lnTo>
                <a:cubicBezTo>
                  <a:pt x="90801" y="1030399"/>
                  <a:pt x="91463" y="1028560"/>
                  <a:pt x="92125" y="1026740"/>
                </a:cubicBezTo>
                <a:lnTo>
                  <a:pt x="119389" y="1036539"/>
                </a:lnTo>
                <a:cubicBezTo>
                  <a:pt x="118746" y="1038341"/>
                  <a:pt x="118102" y="1040143"/>
                  <a:pt x="117459" y="1041963"/>
                </a:cubicBezTo>
                <a:close/>
                <a:moveTo>
                  <a:pt x="2981644" y="1024571"/>
                </a:moveTo>
                <a:cubicBezTo>
                  <a:pt x="2980982" y="1022769"/>
                  <a:pt x="2980302" y="1020968"/>
                  <a:pt x="2979622" y="1019166"/>
                </a:cubicBezTo>
                <a:lnTo>
                  <a:pt x="3006757" y="1008999"/>
                </a:lnTo>
                <a:cubicBezTo>
                  <a:pt x="3007438" y="1010838"/>
                  <a:pt x="3008136" y="1012658"/>
                  <a:pt x="3008816" y="1014496"/>
                </a:cubicBezTo>
                <a:lnTo>
                  <a:pt x="2981644" y="1024571"/>
                </a:lnTo>
                <a:close/>
                <a:moveTo>
                  <a:pt x="124335" y="1023045"/>
                </a:moveTo>
                <a:lnTo>
                  <a:pt x="97162" y="1012989"/>
                </a:lnTo>
                <a:cubicBezTo>
                  <a:pt x="97843" y="1011150"/>
                  <a:pt x="98523" y="1009330"/>
                  <a:pt x="99203" y="1007510"/>
                </a:cubicBezTo>
                <a:lnTo>
                  <a:pt x="126339" y="1017677"/>
                </a:lnTo>
                <a:cubicBezTo>
                  <a:pt x="125677" y="1019478"/>
                  <a:pt x="124997" y="1021262"/>
                  <a:pt x="124335" y="1023063"/>
                </a:cubicBezTo>
                <a:close/>
                <a:moveTo>
                  <a:pt x="2974529" y="1005727"/>
                </a:moveTo>
                <a:cubicBezTo>
                  <a:pt x="2973831" y="1003943"/>
                  <a:pt x="2973150" y="1002142"/>
                  <a:pt x="2972452" y="1000358"/>
                </a:cubicBezTo>
                <a:lnTo>
                  <a:pt x="2999440" y="989824"/>
                </a:lnTo>
                <a:cubicBezTo>
                  <a:pt x="3000157" y="991644"/>
                  <a:pt x="3000856" y="993464"/>
                  <a:pt x="3001573" y="995303"/>
                </a:cubicBezTo>
                <a:lnTo>
                  <a:pt x="2974548" y="1005727"/>
                </a:lnTo>
                <a:close/>
                <a:moveTo>
                  <a:pt x="131431" y="1004238"/>
                </a:moveTo>
                <a:lnTo>
                  <a:pt x="104406" y="993814"/>
                </a:lnTo>
                <a:cubicBezTo>
                  <a:pt x="105105" y="991993"/>
                  <a:pt x="105803" y="990173"/>
                  <a:pt x="106520" y="988372"/>
                </a:cubicBezTo>
                <a:lnTo>
                  <a:pt x="133527" y="998888"/>
                </a:lnTo>
                <a:cubicBezTo>
                  <a:pt x="132828" y="1000671"/>
                  <a:pt x="132130" y="1002454"/>
                  <a:pt x="131450" y="1004256"/>
                </a:cubicBezTo>
                <a:close/>
                <a:moveTo>
                  <a:pt x="2967139" y="986974"/>
                </a:moveTo>
                <a:cubicBezTo>
                  <a:pt x="2966422" y="985191"/>
                  <a:pt x="2965705" y="983426"/>
                  <a:pt x="2964988" y="981643"/>
                </a:cubicBezTo>
                <a:lnTo>
                  <a:pt x="2991847" y="970759"/>
                </a:lnTo>
                <a:cubicBezTo>
                  <a:pt x="2992583" y="972579"/>
                  <a:pt x="2993318" y="974399"/>
                  <a:pt x="2994054" y="976201"/>
                </a:cubicBezTo>
                <a:lnTo>
                  <a:pt x="2967157" y="986974"/>
                </a:lnTo>
                <a:close/>
                <a:moveTo>
                  <a:pt x="138785" y="985522"/>
                </a:moveTo>
                <a:lnTo>
                  <a:pt x="111888" y="974749"/>
                </a:lnTo>
                <a:cubicBezTo>
                  <a:pt x="112605" y="972947"/>
                  <a:pt x="113341" y="971127"/>
                  <a:pt x="114076" y="969325"/>
                </a:cubicBezTo>
                <a:lnTo>
                  <a:pt x="140936" y="980209"/>
                </a:lnTo>
                <a:cubicBezTo>
                  <a:pt x="140219" y="981974"/>
                  <a:pt x="139502" y="983757"/>
                  <a:pt x="138785" y="985540"/>
                </a:cubicBezTo>
                <a:close/>
                <a:moveTo>
                  <a:pt x="2959509" y="968314"/>
                </a:moveTo>
                <a:cubicBezTo>
                  <a:pt x="2958774" y="966549"/>
                  <a:pt x="2958038" y="964784"/>
                  <a:pt x="2957284" y="963001"/>
                </a:cubicBezTo>
                <a:lnTo>
                  <a:pt x="2983979" y="951750"/>
                </a:lnTo>
                <a:cubicBezTo>
                  <a:pt x="2984733" y="953551"/>
                  <a:pt x="2985505" y="955353"/>
                  <a:pt x="2986240" y="957173"/>
                </a:cubicBezTo>
                <a:lnTo>
                  <a:pt x="2959491" y="968296"/>
                </a:lnTo>
                <a:close/>
                <a:moveTo>
                  <a:pt x="146396" y="966917"/>
                </a:moveTo>
                <a:lnTo>
                  <a:pt x="119647" y="955794"/>
                </a:lnTo>
                <a:cubicBezTo>
                  <a:pt x="120400" y="953993"/>
                  <a:pt x="121154" y="952191"/>
                  <a:pt x="121908" y="950389"/>
                </a:cubicBezTo>
                <a:lnTo>
                  <a:pt x="148621" y="961604"/>
                </a:lnTo>
                <a:cubicBezTo>
                  <a:pt x="147885" y="963369"/>
                  <a:pt x="147132" y="965134"/>
                  <a:pt x="146396" y="966899"/>
                </a:cubicBezTo>
                <a:close/>
                <a:moveTo>
                  <a:pt x="2951640" y="949764"/>
                </a:moveTo>
                <a:cubicBezTo>
                  <a:pt x="2950887" y="947999"/>
                  <a:pt x="2950115" y="946234"/>
                  <a:pt x="2949342" y="944469"/>
                </a:cubicBezTo>
                <a:lnTo>
                  <a:pt x="2975908" y="932887"/>
                </a:lnTo>
                <a:cubicBezTo>
                  <a:pt x="2976699" y="934689"/>
                  <a:pt x="2977471" y="936472"/>
                  <a:pt x="2978243" y="938274"/>
                </a:cubicBezTo>
                <a:lnTo>
                  <a:pt x="2951640" y="949764"/>
                </a:lnTo>
                <a:close/>
                <a:moveTo>
                  <a:pt x="154228" y="948422"/>
                </a:moveTo>
                <a:lnTo>
                  <a:pt x="127626" y="936950"/>
                </a:lnTo>
                <a:cubicBezTo>
                  <a:pt x="128398" y="935167"/>
                  <a:pt x="129170" y="933365"/>
                  <a:pt x="129960" y="931582"/>
                </a:cubicBezTo>
                <a:lnTo>
                  <a:pt x="156526" y="943164"/>
                </a:lnTo>
                <a:cubicBezTo>
                  <a:pt x="155754" y="944911"/>
                  <a:pt x="155000" y="946676"/>
                  <a:pt x="154246" y="948440"/>
                </a:cubicBezTo>
                <a:close/>
                <a:moveTo>
                  <a:pt x="2943514" y="931306"/>
                </a:moveTo>
                <a:cubicBezTo>
                  <a:pt x="2942724" y="929559"/>
                  <a:pt x="2941952" y="927813"/>
                  <a:pt x="2941161" y="926066"/>
                </a:cubicBezTo>
                <a:lnTo>
                  <a:pt x="2967562" y="914116"/>
                </a:lnTo>
                <a:cubicBezTo>
                  <a:pt x="2968370" y="915900"/>
                  <a:pt x="2969179" y="917683"/>
                  <a:pt x="2969970" y="919485"/>
                </a:cubicBezTo>
                <a:lnTo>
                  <a:pt x="2943514" y="931306"/>
                </a:lnTo>
                <a:close/>
                <a:moveTo>
                  <a:pt x="162317" y="930019"/>
                </a:moveTo>
                <a:lnTo>
                  <a:pt x="135862" y="918198"/>
                </a:lnTo>
                <a:cubicBezTo>
                  <a:pt x="136652" y="916415"/>
                  <a:pt x="137461" y="914631"/>
                  <a:pt x="138252" y="912866"/>
                </a:cubicBezTo>
                <a:lnTo>
                  <a:pt x="164652" y="924798"/>
                </a:lnTo>
                <a:cubicBezTo>
                  <a:pt x="163862" y="926544"/>
                  <a:pt x="163071" y="928291"/>
                  <a:pt x="162299" y="930038"/>
                </a:cubicBezTo>
                <a:close/>
                <a:moveTo>
                  <a:pt x="2935168" y="912977"/>
                </a:moveTo>
                <a:cubicBezTo>
                  <a:pt x="2934359" y="911230"/>
                  <a:pt x="2933550" y="909484"/>
                  <a:pt x="2932741" y="907755"/>
                </a:cubicBezTo>
                <a:lnTo>
                  <a:pt x="2958976" y="895475"/>
                </a:lnTo>
                <a:cubicBezTo>
                  <a:pt x="2959803" y="897239"/>
                  <a:pt x="2960631" y="899023"/>
                  <a:pt x="2961458" y="900788"/>
                </a:cubicBezTo>
                <a:lnTo>
                  <a:pt x="2935168" y="912977"/>
                </a:lnTo>
                <a:close/>
                <a:moveTo>
                  <a:pt x="170627" y="911727"/>
                </a:moveTo>
                <a:lnTo>
                  <a:pt x="144337" y="899556"/>
                </a:lnTo>
                <a:cubicBezTo>
                  <a:pt x="145146" y="897791"/>
                  <a:pt x="145973" y="896026"/>
                  <a:pt x="146801" y="894243"/>
                </a:cubicBezTo>
                <a:lnTo>
                  <a:pt x="173054" y="906524"/>
                </a:lnTo>
                <a:cubicBezTo>
                  <a:pt x="172245" y="908252"/>
                  <a:pt x="171436" y="909998"/>
                  <a:pt x="170627" y="911727"/>
                </a:cubicBezTo>
                <a:close/>
                <a:moveTo>
                  <a:pt x="2926582" y="894739"/>
                </a:moveTo>
                <a:cubicBezTo>
                  <a:pt x="2925755" y="893011"/>
                  <a:pt x="2924928" y="891283"/>
                  <a:pt x="2924082" y="889555"/>
                </a:cubicBezTo>
                <a:lnTo>
                  <a:pt x="2950170" y="876943"/>
                </a:lnTo>
                <a:cubicBezTo>
                  <a:pt x="2951015" y="878708"/>
                  <a:pt x="2951879" y="880473"/>
                  <a:pt x="2952725" y="882238"/>
                </a:cubicBezTo>
                <a:lnTo>
                  <a:pt x="2926601" y="894758"/>
                </a:lnTo>
                <a:close/>
                <a:moveTo>
                  <a:pt x="179194" y="893544"/>
                </a:moveTo>
                <a:lnTo>
                  <a:pt x="153070" y="881024"/>
                </a:lnTo>
                <a:cubicBezTo>
                  <a:pt x="153916" y="879259"/>
                  <a:pt x="154761" y="877513"/>
                  <a:pt x="155607" y="875748"/>
                </a:cubicBezTo>
                <a:lnTo>
                  <a:pt x="181695" y="888360"/>
                </a:lnTo>
                <a:cubicBezTo>
                  <a:pt x="180867" y="890088"/>
                  <a:pt x="180040" y="891816"/>
                  <a:pt x="179213" y="893526"/>
                </a:cubicBezTo>
                <a:close/>
                <a:moveTo>
                  <a:pt x="2917739" y="876612"/>
                </a:moveTo>
                <a:lnTo>
                  <a:pt x="2915147" y="871409"/>
                </a:lnTo>
                <a:lnTo>
                  <a:pt x="2941088" y="858503"/>
                </a:lnTo>
                <a:lnTo>
                  <a:pt x="2943680" y="863724"/>
                </a:lnTo>
                <a:lnTo>
                  <a:pt x="2917721" y="876612"/>
                </a:lnTo>
                <a:close/>
                <a:moveTo>
                  <a:pt x="188000" y="875491"/>
                </a:moveTo>
                <a:lnTo>
                  <a:pt x="162041" y="862640"/>
                </a:lnTo>
                <a:cubicBezTo>
                  <a:pt x="162906" y="860893"/>
                  <a:pt x="163770" y="859147"/>
                  <a:pt x="164652" y="857400"/>
                </a:cubicBezTo>
                <a:lnTo>
                  <a:pt x="190574" y="870361"/>
                </a:lnTo>
                <a:cubicBezTo>
                  <a:pt x="189710" y="872071"/>
                  <a:pt x="188865" y="873781"/>
                  <a:pt x="188019" y="875509"/>
                </a:cubicBezTo>
                <a:close/>
                <a:moveTo>
                  <a:pt x="2908694" y="858632"/>
                </a:moveTo>
                <a:cubicBezTo>
                  <a:pt x="2907830" y="856922"/>
                  <a:pt x="2906948" y="855231"/>
                  <a:pt x="2906065" y="853521"/>
                </a:cubicBezTo>
                <a:lnTo>
                  <a:pt x="2931803" y="840229"/>
                </a:lnTo>
                <a:cubicBezTo>
                  <a:pt x="2932704" y="841957"/>
                  <a:pt x="2933587" y="843685"/>
                  <a:pt x="2934469" y="845432"/>
                </a:cubicBezTo>
                <a:lnTo>
                  <a:pt x="2908676" y="858632"/>
                </a:lnTo>
                <a:close/>
                <a:moveTo>
                  <a:pt x="197027" y="857547"/>
                </a:moveTo>
                <a:lnTo>
                  <a:pt x="171234" y="844347"/>
                </a:lnTo>
                <a:cubicBezTo>
                  <a:pt x="172116" y="842619"/>
                  <a:pt x="173017" y="840872"/>
                  <a:pt x="173900" y="839144"/>
                </a:cubicBezTo>
                <a:lnTo>
                  <a:pt x="199638" y="852436"/>
                </a:lnTo>
                <a:cubicBezTo>
                  <a:pt x="198755" y="854146"/>
                  <a:pt x="197891" y="855837"/>
                  <a:pt x="197009" y="857547"/>
                </a:cubicBezTo>
                <a:close/>
                <a:moveTo>
                  <a:pt x="2899428" y="840799"/>
                </a:moveTo>
                <a:cubicBezTo>
                  <a:pt x="2898546" y="839108"/>
                  <a:pt x="2897645" y="837435"/>
                  <a:pt x="2896744" y="835743"/>
                </a:cubicBezTo>
                <a:lnTo>
                  <a:pt x="2922317" y="822120"/>
                </a:lnTo>
                <a:cubicBezTo>
                  <a:pt x="2923236" y="823848"/>
                  <a:pt x="2924156" y="825558"/>
                  <a:pt x="2925056" y="827286"/>
                </a:cubicBezTo>
                <a:lnTo>
                  <a:pt x="2899428" y="840799"/>
                </a:lnTo>
                <a:close/>
                <a:moveTo>
                  <a:pt x="206293" y="839714"/>
                </a:moveTo>
                <a:lnTo>
                  <a:pt x="180683" y="826183"/>
                </a:lnTo>
                <a:cubicBezTo>
                  <a:pt x="181584" y="824455"/>
                  <a:pt x="182503" y="822745"/>
                  <a:pt x="183423" y="821017"/>
                </a:cubicBezTo>
                <a:lnTo>
                  <a:pt x="208996" y="834658"/>
                </a:lnTo>
                <a:cubicBezTo>
                  <a:pt x="208095" y="836350"/>
                  <a:pt x="207194" y="838041"/>
                  <a:pt x="206312" y="839733"/>
                </a:cubicBezTo>
                <a:close/>
                <a:moveTo>
                  <a:pt x="2889960" y="823131"/>
                </a:moveTo>
                <a:cubicBezTo>
                  <a:pt x="2889041" y="821458"/>
                  <a:pt x="2888122" y="819785"/>
                  <a:pt x="2887203" y="818094"/>
                </a:cubicBezTo>
                <a:lnTo>
                  <a:pt x="2912592" y="804140"/>
                </a:lnTo>
                <a:cubicBezTo>
                  <a:pt x="2913529" y="805832"/>
                  <a:pt x="2914449" y="807541"/>
                  <a:pt x="2915386" y="809251"/>
                </a:cubicBezTo>
                <a:lnTo>
                  <a:pt x="2889942" y="823113"/>
                </a:lnTo>
                <a:close/>
                <a:moveTo>
                  <a:pt x="215798" y="822028"/>
                </a:moveTo>
                <a:lnTo>
                  <a:pt x="190354" y="808148"/>
                </a:lnTo>
                <a:cubicBezTo>
                  <a:pt x="191291" y="806438"/>
                  <a:pt x="192229" y="804728"/>
                  <a:pt x="193167" y="803019"/>
                </a:cubicBezTo>
                <a:lnTo>
                  <a:pt x="218556" y="816991"/>
                </a:lnTo>
                <a:cubicBezTo>
                  <a:pt x="217636" y="818664"/>
                  <a:pt x="216717" y="820337"/>
                  <a:pt x="215798" y="822028"/>
                </a:cubicBezTo>
                <a:close/>
                <a:moveTo>
                  <a:pt x="2880235" y="805556"/>
                </a:moveTo>
                <a:cubicBezTo>
                  <a:pt x="2879297" y="803883"/>
                  <a:pt x="2878360" y="802210"/>
                  <a:pt x="2877404" y="800537"/>
                </a:cubicBezTo>
                <a:lnTo>
                  <a:pt x="2902609" y="786252"/>
                </a:lnTo>
                <a:cubicBezTo>
                  <a:pt x="2903565" y="787943"/>
                  <a:pt x="2904521" y="789635"/>
                  <a:pt x="2905477" y="791344"/>
                </a:cubicBezTo>
                <a:lnTo>
                  <a:pt x="2880217" y="805537"/>
                </a:lnTo>
                <a:close/>
                <a:moveTo>
                  <a:pt x="225523" y="804453"/>
                </a:moveTo>
                <a:lnTo>
                  <a:pt x="200263" y="790241"/>
                </a:lnTo>
                <a:cubicBezTo>
                  <a:pt x="201219" y="788550"/>
                  <a:pt x="202175" y="786840"/>
                  <a:pt x="203131" y="785149"/>
                </a:cubicBezTo>
                <a:lnTo>
                  <a:pt x="228336" y="799452"/>
                </a:lnTo>
                <a:cubicBezTo>
                  <a:pt x="227399" y="801125"/>
                  <a:pt x="226443" y="802780"/>
                  <a:pt x="225505" y="804453"/>
                </a:cubicBezTo>
                <a:close/>
                <a:moveTo>
                  <a:pt x="2870270" y="788090"/>
                </a:moveTo>
                <a:cubicBezTo>
                  <a:pt x="2869314" y="786436"/>
                  <a:pt x="2868340" y="784781"/>
                  <a:pt x="2867384" y="783127"/>
                </a:cubicBezTo>
                <a:lnTo>
                  <a:pt x="2892405" y="768511"/>
                </a:lnTo>
                <a:cubicBezTo>
                  <a:pt x="2893398" y="770202"/>
                  <a:pt x="2894373" y="771875"/>
                  <a:pt x="2895347" y="773567"/>
                </a:cubicBezTo>
                <a:lnTo>
                  <a:pt x="2870270" y="788090"/>
                </a:lnTo>
                <a:close/>
                <a:moveTo>
                  <a:pt x="235488" y="787006"/>
                </a:moveTo>
                <a:lnTo>
                  <a:pt x="210430" y="772464"/>
                </a:lnTo>
                <a:cubicBezTo>
                  <a:pt x="211404" y="770772"/>
                  <a:pt x="212397" y="769099"/>
                  <a:pt x="213371" y="767408"/>
                </a:cubicBezTo>
                <a:lnTo>
                  <a:pt x="238374" y="782042"/>
                </a:lnTo>
                <a:cubicBezTo>
                  <a:pt x="237400" y="783697"/>
                  <a:pt x="236444" y="785351"/>
                  <a:pt x="235488" y="787006"/>
                </a:cubicBezTo>
                <a:close/>
                <a:moveTo>
                  <a:pt x="2860067" y="770754"/>
                </a:moveTo>
                <a:cubicBezTo>
                  <a:pt x="2859093" y="769099"/>
                  <a:pt x="2858100" y="767463"/>
                  <a:pt x="2857107" y="765827"/>
                </a:cubicBezTo>
                <a:lnTo>
                  <a:pt x="2881945" y="750898"/>
                </a:lnTo>
                <a:cubicBezTo>
                  <a:pt x="2882956" y="752571"/>
                  <a:pt x="2883948" y="754244"/>
                  <a:pt x="2884941" y="755917"/>
                </a:cubicBezTo>
                <a:lnTo>
                  <a:pt x="2860067" y="770772"/>
                </a:lnTo>
                <a:close/>
                <a:moveTo>
                  <a:pt x="245673" y="769706"/>
                </a:moveTo>
                <a:lnTo>
                  <a:pt x="220798" y="754833"/>
                </a:lnTo>
                <a:cubicBezTo>
                  <a:pt x="221791" y="753160"/>
                  <a:pt x="222802" y="751487"/>
                  <a:pt x="223814" y="749814"/>
                </a:cubicBezTo>
                <a:lnTo>
                  <a:pt x="248614" y="764779"/>
                </a:lnTo>
                <a:cubicBezTo>
                  <a:pt x="247622" y="766415"/>
                  <a:pt x="246647" y="768051"/>
                  <a:pt x="245673" y="769687"/>
                </a:cubicBezTo>
                <a:close/>
                <a:moveTo>
                  <a:pt x="2849661" y="753546"/>
                </a:moveTo>
                <a:cubicBezTo>
                  <a:pt x="2848669" y="751910"/>
                  <a:pt x="2847657" y="750292"/>
                  <a:pt x="2846646" y="748674"/>
                </a:cubicBezTo>
                <a:lnTo>
                  <a:pt x="2871263" y="733396"/>
                </a:lnTo>
                <a:cubicBezTo>
                  <a:pt x="2872293" y="735051"/>
                  <a:pt x="2873322" y="736724"/>
                  <a:pt x="2874352" y="738397"/>
                </a:cubicBezTo>
                <a:lnTo>
                  <a:pt x="2849661" y="753546"/>
                </a:lnTo>
                <a:close/>
                <a:moveTo>
                  <a:pt x="256097" y="752553"/>
                </a:moveTo>
                <a:lnTo>
                  <a:pt x="231425" y="737349"/>
                </a:lnTo>
                <a:cubicBezTo>
                  <a:pt x="232436" y="735694"/>
                  <a:pt x="233465" y="734040"/>
                  <a:pt x="234495" y="732385"/>
                </a:cubicBezTo>
                <a:lnTo>
                  <a:pt x="259112" y="747663"/>
                </a:lnTo>
                <a:cubicBezTo>
                  <a:pt x="258101" y="749281"/>
                  <a:pt x="257090" y="750917"/>
                  <a:pt x="256097" y="752553"/>
                </a:cubicBezTo>
                <a:close/>
                <a:moveTo>
                  <a:pt x="2839017" y="736485"/>
                </a:moveTo>
                <a:cubicBezTo>
                  <a:pt x="2837987" y="734867"/>
                  <a:pt x="2836958" y="733249"/>
                  <a:pt x="2835928" y="731631"/>
                </a:cubicBezTo>
                <a:lnTo>
                  <a:pt x="2860361" y="716041"/>
                </a:lnTo>
                <a:cubicBezTo>
                  <a:pt x="2861409" y="717678"/>
                  <a:pt x="2862457" y="719332"/>
                  <a:pt x="2863505" y="720987"/>
                </a:cubicBezTo>
                <a:lnTo>
                  <a:pt x="2839017" y="736485"/>
                </a:lnTo>
                <a:close/>
                <a:moveTo>
                  <a:pt x="266742" y="735511"/>
                </a:moveTo>
                <a:lnTo>
                  <a:pt x="242272" y="719994"/>
                </a:lnTo>
                <a:cubicBezTo>
                  <a:pt x="243320" y="718358"/>
                  <a:pt x="244368" y="716703"/>
                  <a:pt x="245415" y="715067"/>
                </a:cubicBezTo>
                <a:lnTo>
                  <a:pt x="269830" y="730675"/>
                </a:lnTo>
                <a:cubicBezTo>
                  <a:pt x="268801" y="732293"/>
                  <a:pt x="267771" y="733893"/>
                  <a:pt x="266742" y="735511"/>
                </a:cubicBezTo>
                <a:close/>
                <a:moveTo>
                  <a:pt x="2828151" y="719553"/>
                </a:moveTo>
                <a:cubicBezTo>
                  <a:pt x="2827104" y="717953"/>
                  <a:pt x="2826055" y="716354"/>
                  <a:pt x="2825008" y="714736"/>
                </a:cubicBezTo>
                <a:lnTo>
                  <a:pt x="2849220" y="698833"/>
                </a:lnTo>
                <a:cubicBezTo>
                  <a:pt x="2850286" y="700470"/>
                  <a:pt x="2851353" y="702106"/>
                  <a:pt x="2852419" y="703742"/>
                </a:cubicBezTo>
                <a:lnTo>
                  <a:pt x="2828133" y="719553"/>
                </a:lnTo>
                <a:close/>
                <a:moveTo>
                  <a:pt x="277588" y="718634"/>
                </a:moveTo>
                <a:lnTo>
                  <a:pt x="253321" y="702786"/>
                </a:lnTo>
                <a:cubicBezTo>
                  <a:pt x="254387" y="701150"/>
                  <a:pt x="255453" y="699532"/>
                  <a:pt x="256520" y="697896"/>
                </a:cubicBezTo>
                <a:lnTo>
                  <a:pt x="280714" y="713835"/>
                </a:lnTo>
                <a:cubicBezTo>
                  <a:pt x="279666" y="715435"/>
                  <a:pt x="278618" y="717034"/>
                  <a:pt x="277570" y="718634"/>
                </a:cubicBezTo>
                <a:close/>
                <a:moveTo>
                  <a:pt x="2817066" y="702786"/>
                </a:moveTo>
                <a:cubicBezTo>
                  <a:pt x="2815999" y="701205"/>
                  <a:pt x="2814933" y="699606"/>
                  <a:pt x="2813848" y="698025"/>
                </a:cubicBezTo>
                <a:lnTo>
                  <a:pt x="2837858" y="681809"/>
                </a:lnTo>
                <a:cubicBezTo>
                  <a:pt x="2838961" y="683427"/>
                  <a:pt x="2840046" y="685045"/>
                  <a:pt x="2841131" y="686663"/>
                </a:cubicBezTo>
                <a:lnTo>
                  <a:pt x="2817066" y="702786"/>
                </a:lnTo>
                <a:close/>
                <a:moveTo>
                  <a:pt x="288674" y="701904"/>
                </a:moveTo>
                <a:lnTo>
                  <a:pt x="264627" y="685744"/>
                </a:lnTo>
                <a:cubicBezTo>
                  <a:pt x="265712" y="684126"/>
                  <a:pt x="266797" y="682508"/>
                  <a:pt x="267900" y="680908"/>
                </a:cubicBezTo>
                <a:lnTo>
                  <a:pt x="291892" y="697142"/>
                </a:lnTo>
                <a:cubicBezTo>
                  <a:pt x="290825" y="698723"/>
                  <a:pt x="289759" y="700304"/>
                  <a:pt x="288693" y="701904"/>
                </a:cubicBezTo>
                <a:close/>
                <a:moveTo>
                  <a:pt x="2805759" y="686148"/>
                </a:moveTo>
                <a:cubicBezTo>
                  <a:pt x="2804674" y="684567"/>
                  <a:pt x="2803590" y="683004"/>
                  <a:pt x="2802487" y="681423"/>
                </a:cubicBezTo>
                <a:lnTo>
                  <a:pt x="2826276" y="664877"/>
                </a:lnTo>
                <a:cubicBezTo>
                  <a:pt x="2827398" y="666477"/>
                  <a:pt x="2828501" y="668076"/>
                  <a:pt x="2829604" y="669694"/>
                </a:cubicBezTo>
                <a:lnTo>
                  <a:pt x="2805759" y="686148"/>
                </a:lnTo>
                <a:close/>
                <a:moveTo>
                  <a:pt x="299981" y="685321"/>
                </a:moveTo>
                <a:lnTo>
                  <a:pt x="276136" y="668848"/>
                </a:lnTo>
                <a:cubicBezTo>
                  <a:pt x="277239" y="667249"/>
                  <a:pt x="278361" y="665649"/>
                  <a:pt x="279464" y="664050"/>
                </a:cubicBezTo>
                <a:lnTo>
                  <a:pt x="303235" y="680614"/>
                </a:lnTo>
                <a:cubicBezTo>
                  <a:pt x="302150" y="682177"/>
                  <a:pt x="301047" y="683758"/>
                  <a:pt x="299962" y="685321"/>
                </a:cubicBezTo>
                <a:close/>
                <a:moveTo>
                  <a:pt x="2794232" y="669676"/>
                </a:moveTo>
                <a:cubicBezTo>
                  <a:pt x="2793129" y="668113"/>
                  <a:pt x="2792026" y="666550"/>
                  <a:pt x="2790904" y="665006"/>
                </a:cubicBezTo>
                <a:lnTo>
                  <a:pt x="2814473" y="648147"/>
                </a:lnTo>
                <a:cubicBezTo>
                  <a:pt x="2815613" y="649728"/>
                  <a:pt x="2816753" y="651328"/>
                  <a:pt x="2817874" y="652927"/>
                </a:cubicBezTo>
                <a:lnTo>
                  <a:pt x="2794232" y="669676"/>
                </a:lnTo>
                <a:close/>
                <a:moveTo>
                  <a:pt x="311490" y="668885"/>
                </a:moveTo>
                <a:lnTo>
                  <a:pt x="287865" y="652100"/>
                </a:lnTo>
                <a:cubicBezTo>
                  <a:pt x="288987" y="650519"/>
                  <a:pt x="290127" y="648938"/>
                  <a:pt x="291248" y="647338"/>
                </a:cubicBezTo>
                <a:lnTo>
                  <a:pt x="314799" y="664215"/>
                </a:lnTo>
                <a:cubicBezTo>
                  <a:pt x="313677" y="665778"/>
                  <a:pt x="312574" y="667322"/>
                  <a:pt x="311471" y="668885"/>
                </a:cubicBezTo>
                <a:close/>
                <a:moveTo>
                  <a:pt x="2782503" y="653350"/>
                </a:moveTo>
                <a:cubicBezTo>
                  <a:pt x="2781381" y="651806"/>
                  <a:pt x="2780241" y="650261"/>
                  <a:pt x="2779101" y="648717"/>
                </a:cubicBezTo>
                <a:lnTo>
                  <a:pt x="2802450" y="631564"/>
                </a:lnTo>
                <a:cubicBezTo>
                  <a:pt x="2803608" y="633127"/>
                  <a:pt x="2804748" y="634708"/>
                  <a:pt x="2805906" y="636289"/>
                </a:cubicBezTo>
                <a:lnTo>
                  <a:pt x="2782503" y="653368"/>
                </a:lnTo>
                <a:close/>
                <a:moveTo>
                  <a:pt x="323237" y="652615"/>
                </a:moveTo>
                <a:lnTo>
                  <a:pt x="299852" y="635517"/>
                </a:lnTo>
                <a:cubicBezTo>
                  <a:pt x="300992" y="633954"/>
                  <a:pt x="302150" y="632373"/>
                  <a:pt x="303308" y="630811"/>
                </a:cubicBezTo>
                <a:lnTo>
                  <a:pt x="326638" y="647982"/>
                </a:lnTo>
                <a:cubicBezTo>
                  <a:pt x="325499" y="649526"/>
                  <a:pt x="324377" y="651070"/>
                  <a:pt x="323237" y="652615"/>
                </a:cubicBezTo>
                <a:close/>
                <a:moveTo>
                  <a:pt x="2770534" y="637190"/>
                </a:moveTo>
                <a:cubicBezTo>
                  <a:pt x="2769376" y="635664"/>
                  <a:pt x="2768236" y="634120"/>
                  <a:pt x="2767078" y="632594"/>
                </a:cubicBezTo>
                <a:lnTo>
                  <a:pt x="2790187" y="615129"/>
                </a:lnTo>
                <a:cubicBezTo>
                  <a:pt x="2791364" y="616691"/>
                  <a:pt x="2792540" y="618236"/>
                  <a:pt x="2793699" y="619798"/>
                </a:cubicBezTo>
                <a:lnTo>
                  <a:pt x="2770516" y="637190"/>
                </a:lnTo>
                <a:close/>
                <a:moveTo>
                  <a:pt x="335169" y="636473"/>
                </a:moveTo>
                <a:lnTo>
                  <a:pt x="312004" y="619081"/>
                </a:lnTo>
                <a:cubicBezTo>
                  <a:pt x="313181" y="617519"/>
                  <a:pt x="314339" y="615974"/>
                  <a:pt x="315516" y="614412"/>
                </a:cubicBezTo>
                <a:lnTo>
                  <a:pt x="338607" y="631895"/>
                </a:lnTo>
                <a:cubicBezTo>
                  <a:pt x="337449" y="633421"/>
                  <a:pt x="336309" y="634947"/>
                  <a:pt x="335150" y="636473"/>
                </a:cubicBezTo>
                <a:close/>
                <a:moveTo>
                  <a:pt x="2758382" y="621196"/>
                </a:moveTo>
                <a:cubicBezTo>
                  <a:pt x="2757205" y="619670"/>
                  <a:pt x="2756029" y="618162"/>
                  <a:pt x="2754852" y="616636"/>
                </a:cubicBezTo>
                <a:lnTo>
                  <a:pt x="2777741" y="598858"/>
                </a:lnTo>
                <a:cubicBezTo>
                  <a:pt x="2778936" y="600403"/>
                  <a:pt x="2780131" y="601928"/>
                  <a:pt x="2781326" y="603473"/>
                </a:cubicBezTo>
                <a:lnTo>
                  <a:pt x="2758400" y="621177"/>
                </a:lnTo>
                <a:close/>
                <a:moveTo>
                  <a:pt x="347321" y="620534"/>
                </a:moveTo>
                <a:lnTo>
                  <a:pt x="324395" y="602829"/>
                </a:lnTo>
                <a:cubicBezTo>
                  <a:pt x="325590" y="601285"/>
                  <a:pt x="326786" y="599741"/>
                  <a:pt x="327980" y="598215"/>
                </a:cubicBezTo>
                <a:lnTo>
                  <a:pt x="350832" y="616011"/>
                </a:lnTo>
                <a:cubicBezTo>
                  <a:pt x="349656" y="617519"/>
                  <a:pt x="348498" y="619026"/>
                  <a:pt x="347321" y="620534"/>
                </a:cubicBezTo>
                <a:close/>
                <a:moveTo>
                  <a:pt x="2745991" y="605330"/>
                </a:moveTo>
                <a:cubicBezTo>
                  <a:pt x="2744796" y="603822"/>
                  <a:pt x="2743601" y="602333"/>
                  <a:pt x="2742406" y="600825"/>
                </a:cubicBezTo>
                <a:lnTo>
                  <a:pt x="2765056" y="582753"/>
                </a:lnTo>
                <a:cubicBezTo>
                  <a:pt x="2766269" y="584279"/>
                  <a:pt x="2767482" y="585805"/>
                  <a:pt x="2768696" y="587331"/>
                </a:cubicBezTo>
                <a:lnTo>
                  <a:pt x="2745991" y="605330"/>
                </a:lnTo>
                <a:close/>
                <a:moveTo>
                  <a:pt x="359694" y="604723"/>
                </a:moveTo>
                <a:lnTo>
                  <a:pt x="336989" y="586706"/>
                </a:lnTo>
                <a:cubicBezTo>
                  <a:pt x="338202" y="585180"/>
                  <a:pt x="339416" y="583654"/>
                  <a:pt x="340629" y="582128"/>
                </a:cubicBezTo>
                <a:lnTo>
                  <a:pt x="363260" y="600219"/>
                </a:lnTo>
                <a:cubicBezTo>
                  <a:pt x="362065" y="601708"/>
                  <a:pt x="360870" y="603197"/>
                  <a:pt x="359694" y="604705"/>
                </a:cubicBezTo>
                <a:close/>
                <a:moveTo>
                  <a:pt x="2733397" y="589666"/>
                </a:moveTo>
                <a:cubicBezTo>
                  <a:pt x="2732184" y="588177"/>
                  <a:pt x="2730971" y="586706"/>
                  <a:pt x="2729757" y="585217"/>
                </a:cubicBezTo>
                <a:lnTo>
                  <a:pt x="2752150" y="566832"/>
                </a:lnTo>
                <a:cubicBezTo>
                  <a:pt x="2753381" y="568340"/>
                  <a:pt x="2754632" y="569847"/>
                  <a:pt x="2755863" y="571373"/>
                </a:cubicBezTo>
                <a:lnTo>
                  <a:pt x="2733397" y="589666"/>
                </a:lnTo>
                <a:close/>
                <a:moveTo>
                  <a:pt x="372269" y="589096"/>
                </a:moveTo>
                <a:lnTo>
                  <a:pt x="349821" y="570785"/>
                </a:lnTo>
                <a:cubicBezTo>
                  <a:pt x="351053" y="569278"/>
                  <a:pt x="352285" y="567770"/>
                  <a:pt x="353517" y="566262"/>
                </a:cubicBezTo>
                <a:lnTo>
                  <a:pt x="375909" y="584665"/>
                </a:lnTo>
                <a:cubicBezTo>
                  <a:pt x="374696" y="586136"/>
                  <a:pt x="373482" y="587625"/>
                  <a:pt x="372287" y="589096"/>
                </a:cubicBezTo>
                <a:close/>
                <a:moveTo>
                  <a:pt x="2720602" y="574149"/>
                </a:moveTo>
                <a:cubicBezTo>
                  <a:pt x="2719370" y="572679"/>
                  <a:pt x="2718138" y="571208"/>
                  <a:pt x="2716906" y="569756"/>
                </a:cubicBezTo>
                <a:lnTo>
                  <a:pt x="2739060" y="551095"/>
                </a:lnTo>
                <a:cubicBezTo>
                  <a:pt x="2740310" y="552584"/>
                  <a:pt x="2741579" y="554074"/>
                  <a:pt x="2742829" y="555581"/>
                </a:cubicBezTo>
                <a:lnTo>
                  <a:pt x="2720602" y="574168"/>
                </a:lnTo>
                <a:close/>
                <a:moveTo>
                  <a:pt x="385046" y="573635"/>
                </a:moveTo>
                <a:lnTo>
                  <a:pt x="362838" y="555029"/>
                </a:lnTo>
                <a:cubicBezTo>
                  <a:pt x="364088" y="553540"/>
                  <a:pt x="365338" y="552051"/>
                  <a:pt x="366606" y="550562"/>
                </a:cubicBezTo>
                <a:lnTo>
                  <a:pt x="388741" y="569259"/>
                </a:lnTo>
                <a:cubicBezTo>
                  <a:pt x="387510" y="570712"/>
                  <a:pt x="386278" y="572182"/>
                  <a:pt x="385065" y="573635"/>
                </a:cubicBezTo>
                <a:close/>
                <a:moveTo>
                  <a:pt x="2707604" y="558817"/>
                </a:moveTo>
                <a:cubicBezTo>
                  <a:pt x="2706354" y="557364"/>
                  <a:pt x="2705104" y="555912"/>
                  <a:pt x="2703853" y="554460"/>
                </a:cubicBezTo>
                <a:lnTo>
                  <a:pt x="2725768" y="535505"/>
                </a:lnTo>
                <a:cubicBezTo>
                  <a:pt x="2727036" y="536976"/>
                  <a:pt x="2728323" y="538447"/>
                  <a:pt x="2729592" y="539936"/>
                </a:cubicBezTo>
                <a:lnTo>
                  <a:pt x="2707622" y="558817"/>
                </a:lnTo>
                <a:close/>
                <a:moveTo>
                  <a:pt x="398007" y="558357"/>
                </a:moveTo>
                <a:lnTo>
                  <a:pt x="376038" y="539458"/>
                </a:lnTo>
                <a:cubicBezTo>
                  <a:pt x="377306" y="537987"/>
                  <a:pt x="378575" y="536516"/>
                  <a:pt x="379862" y="535046"/>
                </a:cubicBezTo>
                <a:lnTo>
                  <a:pt x="401758" y="554018"/>
                </a:lnTo>
                <a:cubicBezTo>
                  <a:pt x="400508" y="555452"/>
                  <a:pt x="399257" y="556905"/>
                  <a:pt x="398007" y="558357"/>
                </a:cubicBezTo>
                <a:close/>
                <a:moveTo>
                  <a:pt x="2694385" y="543649"/>
                </a:moveTo>
                <a:cubicBezTo>
                  <a:pt x="2693117" y="542215"/>
                  <a:pt x="2691867" y="540800"/>
                  <a:pt x="2690598" y="539384"/>
                </a:cubicBezTo>
                <a:lnTo>
                  <a:pt x="2712237" y="520117"/>
                </a:lnTo>
                <a:cubicBezTo>
                  <a:pt x="2713524" y="521570"/>
                  <a:pt x="2714829" y="523022"/>
                  <a:pt x="2716116" y="524493"/>
                </a:cubicBezTo>
                <a:lnTo>
                  <a:pt x="2694385" y="543649"/>
                </a:lnTo>
                <a:close/>
                <a:moveTo>
                  <a:pt x="411189" y="543245"/>
                </a:moveTo>
                <a:lnTo>
                  <a:pt x="389477" y="524052"/>
                </a:lnTo>
                <a:cubicBezTo>
                  <a:pt x="390764" y="522599"/>
                  <a:pt x="392051" y="521147"/>
                  <a:pt x="393338" y="519694"/>
                </a:cubicBezTo>
                <a:lnTo>
                  <a:pt x="414976" y="538961"/>
                </a:lnTo>
                <a:cubicBezTo>
                  <a:pt x="413708" y="540395"/>
                  <a:pt x="412439" y="541811"/>
                  <a:pt x="411171" y="543245"/>
                </a:cubicBezTo>
                <a:close/>
                <a:moveTo>
                  <a:pt x="2681038" y="528721"/>
                </a:moveTo>
                <a:cubicBezTo>
                  <a:pt x="2679751" y="527306"/>
                  <a:pt x="2678464" y="525890"/>
                  <a:pt x="2677177" y="524493"/>
                </a:cubicBezTo>
                <a:lnTo>
                  <a:pt x="2698577" y="504950"/>
                </a:lnTo>
                <a:cubicBezTo>
                  <a:pt x="2699882" y="506384"/>
                  <a:pt x="2701188" y="507818"/>
                  <a:pt x="2702493" y="509252"/>
                </a:cubicBezTo>
                <a:lnTo>
                  <a:pt x="2681020" y="528721"/>
                </a:lnTo>
                <a:close/>
                <a:moveTo>
                  <a:pt x="424573" y="528317"/>
                </a:moveTo>
                <a:lnTo>
                  <a:pt x="403118" y="508848"/>
                </a:lnTo>
                <a:cubicBezTo>
                  <a:pt x="404423" y="507414"/>
                  <a:pt x="405729" y="505961"/>
                  <a:pt x="407052" y="504527"/>
                </a:cubicBezTo>
                <a:lnTo>
                  <a:pt x="428434" y="524088"/>
                </a:lnTo>
                <a:cubicBezTo>
                  <a:pt x="427147" y="525504"/>
                  <a:pt x="425860" y="526901"/>
                  <a:pt x="424591" y="528317"/>
                </a:cubicBezTo>
                <a:close/>
                <a:moveTo>
                  <a:pt x="2667489" y="513977"/>
                </a:moveTo>
                <a:cubicBezTo>
                  <a:pt x="2666202" y="512580"/>
                  <a:pt x="2664897" y="511201"/>
                  <a:pt x="2663591" y="509803"/>
                </a:cubicBezTo>
                <a:lnTo>
                  <a:pt x="2684715" y="489985"/>
                </a:lnTo>
                <a:cubicBezTo>
                  <a:pt x="2686039" y="491401"/>
                  <a:pt x="2687381" y="492835"/>
                  <a:pt x="2688705" y="494250"/>
                </a:cubicBezTo>
                <a:lnTo>
                  <a:pt x="2667489" y="513977"/>
                </a:lnTo>
                <a:close/>
                <a:moveTo>
                  <a:pt x="438122" y="513572"/>
                </a:moveTo>
                <a:lnTo>
                  <a:pt x="416925" y="493809"/>
                </a:lnTo>
                <a:cubicBezTo>
                  <a:pt x="418249" y="492393"/>
                  <a:pt x="419572" y="490959"/>
                  <a:pt x="420914" y="489544"/>
                </a:cubicBezTo>
                <a:lnTo>
                  <a:pt x="442038" y="509381"/>
                </a:lnTo>
                <a:cubicBezTo>
                  <a:pt x="440733" y="510778"/>
                  <a:pt x="439428" y="512175"/>
                  <a:pt x="438122" y="513572"/>
                </a:cubicBezTo>
                <a:close/>
                <a:moveTo>
                  <a:pt x="2653755" y="499416"/>
                </a:moveTo>
                <a:cubicBezTo>
                  <a:pt x="2652432" y="498037"/>
                  <a:pt x="2651127" y="496659"/>
                  <a:pt x="2649784" y="495280"/>
                </a:cubicBezTo>
                <a:lnTo>
                  <a:pt x="2670651" y="475185"/>
                </a:lnTo>
                <a:cubicBezTo>
                  <a:pt x="2671993" y="476583"/>
                  <a:pt x="2673335" y="477980"/>
                  <a:pt x="2674696" y="479395"/>
                </a:cubicBezTo>
                <a:lnTo>
                  <a:pt x="2653755" y="499416"/>
                </a:lnTo>
                <a:close/>
                <a:moveTo>
                  <a:pt x="451892" y="498993"/>
                </a:moveTo>
                <a:lnTo>
                  <a:pt x="430971" y="478954"/>
                </a:lnTo>
                <a:cubicBezTo>
                  <a:pt x="432313" y="477557"/>
                  <a:pt x="433655" y="476141"/>
                  <a:pt x="435015" y="474744"/>
                </a:cubicBezTo>
                <a:lnTo>
                  <a:pt x="455863" y="494857"/>
                </a:lnTo>
                <a:cubicBezTo>
                  <a:pt x="454540" y="496236"/>
                  <a:pt x="453216" y="497615"/>
                  <a:pt x="451892" y="498993"/>
                </a:cubicBezTo>
                <a:close/>
                <a:moveTo>
                  <a:pt x="2639820" y="485021"/>
                </a:moveTo>
                <a:cubicBezTo>
                  <a:pt x="2638478" y="483661"/>
                  <a:pt x="2637136" y="482300"/>
                  <a:pt x="2635794" y="480940"/>
                </a:cubicBezTo>
                <a:lnTo>
                  <a:pt x="2656385" y="460570"/>
                </a:lnTo>
                <a:cubicBezTo>
                  <a:pt x="2657745" y="461949"/>
                  <a:pt x="2659124" y="463327"/>
                  <a:pt x="2660484" y="464725"/>
                </a:cubicBezTo>
                <a:lnTo>
                  <a:pt x="2639820" y="485021"/>
                </a:lnTo>
                <a:close/>
                <a:moveTo>
                  <a:pt x="465846" y="484617"/>
                </a:moveTo>
                <a:lnTo>
                  <a:pt x="445182" y="464302"/>
                </a:lnTo>
                <a:cubicBezTo>
                  <a:pt x="446542" y="462923"/>
                  <a:pt x="447903" y="461526"/>
                  <a:pt x="449282" y="460147"/>
                </a:cubicBezTo>
                <a:lnTo>
                  <a:pt x="469872" y="480535"/>
                </a:lnTo>
                <a:cubicBezTo>
                  <a:pt x="468530" y="481896"/>
                  <a:pt x="467188" y="483256"/>
                  <a:pt x="465846" y="484617"/>
                </a:cubicBezTo>
                <a:close/>
                <a:moveTo>
                  <a:pt x="2625701" y="470828"/>
                </a:moveTo>
                <a:cubicBezTo>
                  <a:pt x="2624340" y="469486"/>
                  <a:pt x="2622980" y="468144"/>
                  <a:pt x="2621619" y="466802"/>
                </a:cubicBezTo>
                <a:lnTo>
                  <a:pt x="2641953" y="446156"/>
                </a:lnTo>
                <a:cubicBezTo>
                  <a:pt x="2643332" y="447517"/>
                  <a:pt x="2644710" y="448877"/>
                  <a:pt x="2646107" y="450256"/>
                </a:cubicBezTo>
                <a:lnTo>
                  <a:pt x="2625701" y="470828"/>
                </a:lnTo>
                <a:close/>
                <a:moveTo>
                  <a:pt x="479984" y="470424"/>
                </a:moveTo>
                <a:lnTo>
                  <a:pt x="459596" y="449852"/>
                </a:lnTo>
                <a:cubicBezTo>
                  <a:pt x="460974" y="448473"/>
                  <a:pt x="462353" y="447112"/>
                  <a:pt x="463750" y="445752"/>
                </a:cubicBezTo>
                <a:lnTo>
                  <a:pt x="484065" y="466416"/>
                </a:lnTo>
                <a:cubicBezTo>
                  <a:pt x="482705" y="467758"/>
                  <a:pt x="481344" y="469082"/>
                  <a:pt x="480002" y="470424"/>
                </a:cubicBezTo>
                <a:close/>
                <a:moveTo>
                  <a:pt x="2611361" y="456801"/>
                </a:moveTo>
                <a:cubicBezTo>
                  <a:pt x="2609982" y="455477"/>
                  <a:pt x="2608622" y="454153"/>
                  <a:pt x="2607243" y="452830"/>
                </a:cubicBezTo>
                <a:lnTo>
                  <a:pt x="2627282" y="431908"/>
                </a:lnTo>
                <a:cubicBezTo>
                  <a:pt x="2628679" y="433250"/>
                  <a:pt x="2630095" y="434611"/>
                  <a:pt x="2631492" y="435953"/>
                </a:cubicBezTo>
                <a:lnTo>
                  <a:pt x="2611361" y="456782"/>
                </a:lnTo>
                <a:close/>
                <a:moveTo>
                  <a:pt x="494306" y="456415"/>
                </a:moveTo>
                <a:lnTo>
                  <a:pt x="474174" y="435567"/>
                </a:lnTo>
                <a:cubicBezTo>
                  <a:pt x="475572" y="434225"/>
                  <a:pt x="476969" y="432864"/>
                  <a:pt x="478385" y="431522"/>
                </a:cubicBezTo>
                <a:lnTo>
                  <a:pt x="498424" y="452444"/>
                </a:lnTo>
                <a:cubicBezTo>
                  <a:pt x="497045" y="453767"/>
                  <a:pt x="495666" y="455073"/>
                  <a:pt x="494306" y="456396"/>
                </a:cubicBezTo>
                <a:close/>
                <a:moveTo>
                  <a:pt x="2596855" y="442976"/>
                </a:moveTo>
                <a:cubicBezTo>
                  <a:pt x="2595477" y="441670"/>
                  <a:pt x="2594079" y="440365"/>
                  <a:pt x="2592682" y="439060"/>
                </a:cubicBezTo>
                <a:lnTo>
                  <a:pt x="2612464" y="417881"/>
                </a:lnTo>
                <a:cubicBezTo>
                  <a:pt x="2613879" y="419204"/>
                  <a:pt x="2615313" y="420547"/>
                  <a:pt x="2616729" y="421870"/>
                </a:cubicBezTo>
                <a:lnTo>
                  <a:pt x="2596855" y="442957"/>
                </a:lnTo>
                <a:close/>
                <a:moveTo>
                  <a:pt x="508811" y="442608"/>
                </a:moveTo>
                <a:lnTo>
                  <a:pt x="488974" y="421484"/>
                </a:lnTo>
                <a:cubicBezTo>
                  <a:pt x="490390" y="420160"/>
                  <a:pt x="491805" y="418818"/>
                  <a:pt x="493221" y="417495"/>
                </a:cubicBezTo>
                <a:lnTo>
                  <a:pt x="512984" y="438692"/>
                </a:lnTo>
                <a:cubicBezTo>
                  <a:pt x="511587" y="439997"/>
                  <a:pt x="510190" y="441303"/>
                  <a:pt x="508811" y="442608"/>
                </a:cubicBezTo>
                <a:close/>
                <a:moveTo>
                  <a:pt x="2582185" y="429334"/>
                </a:moveTo>
                <a:cubicBezTo>
                  <a:pt x="2580787" y="428047"/>
                  <a:pt x="2579372" y="426761"/>
                  <a:pt x="2577956" y="425474"/>
                </a:cubicBezTo>
                <a:lnTo>
                  <a:pt x="2597444" y="404037"/>
                </a:lnTo>
                <a:cubicBezTo>
                  <a:pt x="2598878" y="405343"/>
                  <a:pt x="2600330" y="406666"/>
                  <a:pt x="2601764" y="407972"/>
                </a:cubicBezTo>
                <a:lnTo>
                  <a:pt x="2582185" y="429334"/>
                </a:lnTo>
                <a:close/>
                <a:moveTo>
                  <a:pt x="523482" y="428985"/>
                </a:moveTo>
                <a:lnTo>
                  <a:pt x="503921" y="407604"/>
                </a:lnTo>
                <a:cubicBezTo>
                  <a:pt x="505355" y="406299"/>
                  <a:pt x="506789" y="404993"/>
                  <a:pt x="508223" y="403670"/>
                </a:cubicBezTo>
                <a:lnTo>
                  <a:pt x="527710" y="425124"/>
                </a:lnTo>
                <a:cubicBezTo>
                  <a:pt x="526295" y="426411"/>
                  <a:pt x="524879" y="427698"/>
                  <a:pt x="523482" y="428985"/>
                </a:cubicBezTo>
                <a:close/>
                <a:moveTo>
                  <a:pt x="2567311" y="415895"/>
                </a:moveTo>
                <a:cubicBezTo>
                  <a:pt x="2565896" y="414627"/>
                  <a:pt x="2564462" y="413358"/>
                  <a:pt x="2563028" y="412090"/>
                </a:cubicBezTo>
                <a:lnTo>
                  <a:pt x="2582221" y="390396"/>
                </a:lnTo>
                <a:cubicBezTo>
                  <a:pt x="2583674" y="391683"/>
                  <a:pt x="2585126" y="392988"/>
                  <a:pt x="2586578" y="394275"/>
                </a:cubicBezTo>
                <a:lnTo>
                  <a:pt x="2567293" y="415895"/>
                </a:lnTo>
                <a:close/>
                <a:moveTo>
                  <a:pt x="538355" y="415564"/>
                </a:moveTo>
                <a:lnTo>
                  <a:pt x="519088" y="393926"/>
                </a:lnTo>
                <a:cubicBezTo>
                  <a:pt x="520540" y="392639"/>
                  <a:pt x="521993" y="391352"/>
                  <a:pt x="523445" y="390065"/>
                </a:cubicBezTo>
                <a:lnTo>
                  <a:pt x="542639" y="411759"/>
                </a:lnTo>
                <a:cubicBezTo>
                  <a:pt x="541205" y="413027"/>
                  <a:pt x="539789" y="414296"/>
                  <a:pt x="538355" y="415564"/>
                </a:cubicBezTo>
                <a:close/>
                <a:moveTo>
                  <a:pt x="2552254" y="402640"/>
                </a:moveTo>
                <a:cubicBezTo>
                  <a:pt x="2550820" y="401390"/>
                  <a:pt x="2549368" y="400140"/>
                  <a:pt x="2547934" y="398890"/>
                </a:cubicBezTo>
                <a:lnTo>
                  <a:pt x="2566852" y="376938"/>
                </a:lnTo>
                <a:cubicBezTo>
                  <a:pt x="2568322" y="378207"/>
                  <a:pt x="2569793" y="379475"/>
                  <a:pt x="2571264" y="380762"/>
                </a:cubicBezTo>
                <a:lnTo>
                  <a:pt x="2552254" y="402622"/>
                </a:lnTo>
                <a:close/>
                <a:moveTo>
                  <a:pt x="553394" y="402346"/>
                </a:moveTo>
                <a:lnTo>
                  <a:pt x="534402" y="380468"/>
                </a:lnTo>
                <a:cubicBezTo>
                  <a:pt x="535873" y="379181"/>
                  <a:pt x="537362" y="377913"/>
                  <a:pt x="538833" y="376644"/>
                </a:cubicBezTo>
                <a:lnTo>
                  <a:pt x="557732" y="398614"/>
                </a:lnTo>
                <a:cubicBezTo>
                  <a:pt x="556280" y="399864"/>
                  <a:pt x="554828" y="401114"/>
                  <a:pt x="553394" y="402364"/>
                </a:cubicBezTo>
                <a:close/>
                <a:moveTo>
                  <a:pt x="2537050" y="389605"/>
                </a:moveTo>
                <a:cubicBezTo>
                  <a:pt x="2535598" y="388374"/>
                  <a:pt x="2534127" y="387142"/>
                  <a:pt x="2532675" y="385910"/>
                </a:cubicBezTo>
                <a:lnTo>
                  <a:pt x="2551298" y="363702"/>
                </a:lnTo>
                <a:cubicBezTo>
                  <a:pt x="2552788" y="364952"/>
                  <a:pt x="2554277" y="366202"/>
                  <a:pt x="2555766" y="367470"/>
                </a:cubicBezTo>
                <a:lnTo>
                  <a:pt x="2537069" y="389605"/>
                </a:lnTo>
                <a:close/>
                <a:moveTo>
                  <a:pt x="568671" y="389274"/>
                </a:moveTo>
                <a:lnTo>
                  <a:pt x="549974" y="367139"/>
                </a:lnTo>
                <a:cubicBezTo>
                  <a:pt x="551463" y="365871"/>
                  <a:pt x="552952" y="364621"/>
                  <a:pt x="554460" y="363371"/>
                </a:cubicBezTo>
                <a:lnTo>
                  <a:pt x="573065" y="385579"/>
                </a:lnTo>
                <a:cubicBezTo>
                  <a:pt x="571594" y="386811"/>
                  <a:pt x="570142" y="388043"/>
                  <a:pt x="568671" y="389274"/>
                </a:cubicBezTo>
                <a:close/>
                <a:moveTo>
                  <a:pt x="2521644" y="376755"/>
                </a:moveTo>
                <a:cubicBezTo>
                  <a:pt x="2520173" y="375541"/>
                  <a:pt x="2518684" y="374328"/>
                  <a:pt x="2517213" y="373114"/>
                </a:cubicBezTo>
                <a:lnTo>
                  <a:pt x="2535543" y="350685"/>
                </a:lnTo>
                <a:cubicBezTo>
                  <a:pt x="2537050" y="351917"/>
                  <a:pt x="2538558" y="353149"/>
                  <a:pt x="2540047" y="354381"/>
                </a:cubicBezTo>
                <a:lnTo>
                  <a:pt x="2521644" y="376755"/>
                </a:lnTo>
                <a:close/>
                <a:moveTo>
                  <a:pt x="584114" y="376405"/>
                </a:moveTo>
                <a:lnTo>
                  <a:pt x="565711" y="354013"/>
                </a:lnTo>
                <a:cubicBezTo>
                  <a:pt x="567219" y="352781"/>
                  <a:pt x="568726" y="351531"/>
                  <a:pt x="570252" y="350299"/>
                </a:cubicBezTo>
                <a:lnTo>
                  <a:pt x="588563" y="372765"/>
                </a:lnTo>
                <a:cubicBezTo>
                  <a:pt x="587074" y="373978"/>
                  <a:pt x="585603" y="375192"/>
                  <a:pt x="584114" y="376405"/>
                </a:cubicBezTo>
                <a:close/>
                <a:moveTo>
                  <a:pt x="2506072" y="364124"/>
                </a:moveTo>
                <a:cubicBezTo>
                  <a:pt x="2504583" y="362929"/>
                  <a:pt x="2503094" y="361734"/>
                  <a:pt x="2501605" y="360558"/>
                </a:cubicBezTo>
                <a:lnTo>
                  <a:pt x="2519640" y="337871"/>
                </a:lnTo>
                <a:cubicBezTo>
                  <a:pt x="2521166" y="339085"/>
                  <a:pt x="2522692" y="340298"/>
                  <a:pt x="2524200" y="341511"/>
                </a:cubicBezTo>
                <a:lnTo>
                  <a:pt x="2506091" y="364124"/>
                </a:lnTo>
                <a:close/>
                <a:moveTo>
                  <a:pt x="599723" y="363738"/>
                </a:moveTo>
                <a:lnTo>
                  <a:pt x="581632" y="341107"/>
                </a:lnTo>
                <a:cubicBezTo>
                  <a:pt x="583158" y="339894"/>
                  <a:pt x="584684" y="338680"/>
                  <a:pt x="586210" y="337467"/>
                </a:cubicBezTo>
                <a:lnTo>
                  <a:pt x="604227" y="360153"/>
                </a:lnTo>
                <a:cubicBezTo>
                  <a:pt x="602719" y="361348"/>
                  <a:pt x="601230" y="362543"/>
                  <a:pt x="599741" y="363738"/>
                </a:cubicBezTo>
                <a:close/>
                <a:moveTo>
                  <a:pt x="2490335" y="351678"/>
                </a:moveTo>
                <a:cubicBezTo>
                  <a:pt x="2488828" y="350501"/>
                  <a:pt x="2487320" y="349325"/>
                  <a:pt x="2485813" y="348167"/>
                </a:cubicBezTo>
                <a:lnTo>
                  <a:pt x="2503535" y="325259"/>
                </a:lnTo>
                <a:cubicBezTo>
                  <a:pt x="2505080" y="326454"/>
                  <a:pt x="2506605" y="327649"/>
                  <a:pt x="2508150" y="328844"/>
                </a:cubicBezTo>
                <a:lnTo>
                  <a:pt x="2490335" y="351696"/>
                </a:lnTo>
                <a:close/>
                <a:moveTo>
                  <a:pt x="615515" y="351292"/>
                </a:moveTo>
                <a:lnTo>
                  <a:pt x="597719" y="328422"/>
                </a:lnTo>
                <a:cubicBezTo>
                  <a:pt x="599263" y="327227"/>
                  <a:pt x="600807" y="326032"/>
                  <a:pt x="602352" y="324837"/>
                </a:cubicBezTo>
                <a:lnTo>
                  <a:pt x="620056" y="347762"/>
                </a:lnTo>
                <a:cubicBezTo>
                  <a:pt x="618530" y="348939"/>
                  <a:pt x="617022" y="350115"/>
                  <a:pt x="615515" y="351274"/>
                </a:cubicBezTo>
                <a:close/>
                <a:moveTo>
                  <a:pt x="2474432" y="339452"/>
                </a:moveTo>
                <a:cubicBezTo>
                  <a:pt x="2472907" y="338294"/>
                  <a:pt x="2471381" y="337154"/>
                  <a:pt x="2469855" y="335996"/>
                </a:cubicBezTo>
                <a:lnTo>
                  <a:pt x="2487283" y="312850"/>
                </a:lnTo>
                <a:cubicBezTo>
                  <a:pt x="2488846" y="314026"/>
                  <a:pt x="2490390" y="315203"/>
                  <a:pt x="2491953" y="316380"/>
                </a:cubicBezTo>
                <a:lnTo>
                  <a:pt x="2474432" y="339471"/>
                </a:lnTo>
                <a:close/>
                <a:moveTo>
                  <a:pt x="631473" y="339048"/>
                </a:moveTo>
                <a:lnTo>
                  <a:pt x="613989" y="315957"/>
                </a:lnTo>
                <a:cubicBezTo>
                  <a:pt x="615552" y="314780"/>
                  <a:pt x="617096" y="313604"/>
                  <a:pt x="618659" y="312427"/>
                </a:cubicBezTo>
                <a:lnTo>
                  <a:pt x="636069" y="335592"/>
                </a:lnTo>
                <a:cubicBezTo>
                  <a:pt x="634543" y="336750"/>
                  <a:pt x="633017" y="337890"/>
                  <a:pt x="631491" y="339048"/>
                </a:cubicBezTo>
                <a:close/>
                <a:moveTo>
                  <a:pt x="2458383" y="327429"/>
                </a:moveTo>
                <a:cubicBezTo>
                  <a:pt x="2456839" y="326289"/>
                  <a:pt x="2455294" y="325167"/>
                  <a:pt x="2453750" y="324028"/>
                </a:cubicBezTo>
                <a:lnTo>
                  <a:pt x="2470866" y="300643"/>
                </a:lnTo>
                <a:cubicBezTo>
                  <a:pt x="2472429" y="301782"/>
                  <a:pt x="2474010" y="302941"/>
                  <a:pt x="2475573" y="304099"/>
                </a:cubicBezTo>
                <a:lnTo>
                  <a:pt x="2458383" y="327410"/>
                </a:lnTo>
                <a:close/>
                <a:moveTo>
                  <a:pt x="647578" y="327006"/>
                </a:moveTo>
                <a:lnTo>
                  <a:pt x="630388" y="303676"/>
                </a:lnTo>
                <a:cubicBezTo>
                  <a:pt x="631951" y="302518"/>
                  <a:pt x="633532" y="301360"/>
                  <a:pt x="635113" y="300220"/>
                </a:cubicBezTo>
                <a:lnTo>
                  <a:pt x="652211" y="323605"/>
                </a:lnTo>
                <a:cubicBezTo>
                  <a:pt x="650666" y="324726"/>
                  <a:pt x="649122" y="325866"/>
                  <a:pt x="647578" y="327006"/>
                </a:cubicBezTo>
                <a:close/>
                <a:moveTo>
                  <a:pt x="2442149" y="315626"/>
                </a:moveTo>
                <a:cubicBezTo>
                  <a:pt x="2440605" y="314504"/>
                  <a:pt x="2439042" y="313401"/>
                  <a:pt x="2437480" y="312298"/>
                </a:cubicBezTo>
                <a:lnTo>
                  <a:pt x="2454283" y="288693"/>
                </a:lnTo>
                <a:cubicBezTo>
                  <a:pt x="2455864" y="289814"/>
                  <a:pt x="2457445" y="290954"/>
                  <a:pt x="2459026" y="292094"/>
                </a:cubicBezTo>
                <a:lnTo>
                  <a:pt x="2442131" y="315626"/>
                </a:lnTo>
                <a:close/>
                <a:moveTo>
                  <a:pt x="663848" y="315185"/>
                </a:moveTo>
                <a:lnTo>
                  <a:pt x="646971" y="291634"/>
                </a:lnTo>
                <a:cubicBezTo>
                  <a:pt x="648552" y="290494"/>
                  <a:pt x="650133" y="289373"/>
                  <a:pt x="651733" y="288233"/>
                </a:cubicBezTo>
                <a:lnTo>
                  <a:pt x="668536" y="311839"/>
                </a:lnTo>
                <a:cubicBezTo>
                  <a:pt x="666973" y="312942"/>
                  <a:pt x="665411" y="314063"/>
                  <a:pt x="663848" y="315185"/>
                </a:cubicBezTo>
                <a:close/>
                <a:moveTo>
                  <a:pt x="2425769" y="304025"/>
                </a:moveTo>
                <a:cubicBezTo>
                  <a:pt x="2424206" y="302941"/>
                  <a:pt x="2422625" y="301837"/>
                  <a:pt x="2421062" y="300753"/>
                </a:cubicBezTo>
                <a:lnTo>
                  <a:pt x="2437553" y="276926"/>
                </a:lnTo>
                <a:cubicBezTo>
                  <a:pt x="2439153" y="278030"/>
                  <a:pt x="2440752" y="279151"/>
                  <a:pt x="2442351" y="280254"/>
                </a:cubicBezTo>
                <a:lnTo>
                  <a:pt x="2425769" y="304007"/>
                </a:lnTo>
                <a:close/>
                <a:moveTo>
                  <a:pt x="680265" y="303584"/>
                </a:moveTo>
                <a:lnTo>
                  <a:pt x="663701" y="279813"/>
                </a:lnTo>
                <a:cubicBezTo>
                  <a:pt x="665300" y="278691"/>
                  <a:pt x="666900" y="277588"/>
                  <a:pt x="668518" y="276467"/>
                </a:cubicBezTo>
                <a:lnTo>
                  <a:pt x="684990" y="300312"/>
                </a:lnTo>
                <a:cubicBezTo>
                  <a:pt x="683409" y="301396"/>
                  <a:pt x="681846" y="302499"/>
                  <a:pt x="680265" y="303584"/>
                </a:cubicBezTo>
                <a:close/>
                <a:moveTo>
                  <a:pt x="2409241" y="292645"/>
                </a:moveTo>
                <a:cubicBezTo>
                  <a:pt x="2407660" y="291579"/>
                  <a:pt x="2406079" y="290494"/>
                  <a:pt x="2404479" y="289428"/>
                </a:cubicBezTo>
                <a:lnTo>
                  <a:pt x="2420658" y="265399"/>
                </a:lnTo>
                <a:cubicBezTo>
                  <a:pt x="2422275" y="266484"/>
                  <a:pt x="2423875" y="267569"/>
                  <a:pt x="2425493" y="268672"/>
                </a:cubicBezTo>
                <a:lnTo>
                  <a:pt x="2409222" y="292645"/>
                </a:lnTo>
                <a:close/>
                <a:moveTo>
                  <a:pt x="696848" y="292204"/>
                </a:moveTo>
                <a:lnTo>
                  <a:pt x="680596" y="268212"/>
                </a:lnTo>
                <a:cubicBezTo>
                  <a:pt x="682214" y="267127"/>
                  <a:pt x="683832" y="266024"/>
                  <a:pt x="685450" y="264940"/>
                </a:cubicBezTo>
                <a:lnTo>
                  <a:pt x="701610" y="288987"/>
                </a:lnTo>
                <a:cubicBezTo>
                  <a:pt x="700029" y="290053"/>
                  <a:pt x="698429" y="291119"/>
                  <a:pt x="696848" y="292204"/>
                </a:cubicBezTo>
                <a:close/>
                <a:moveTo>
                  <a:pt x="2392566" y="281486"/>
                </a:moveTo>
                <a:cubicBezTo>
                  <a:pt x="2390967" y="280438"/>
                  <a:pt x="2389367" y="279390"/>
                  <a:pt x="2387768" y="278342"/>
                </a:cubicBezTo>
                <a:lnTo>
                  <a:pt x="2403634" y="254093"/>
                </a:lnTo>
                <a:cubicBezTo>
                  <a:pt x="2405270" y="255159"/>
                  <a:pt x="2406888" y="256225"/>
                  <a:pt x="2408524" y="257292"/>
                </a:cubicBezTo>
                <a:lnTo>
                  <a:pt x="2392566" y="281486"/>
                </a:lnTo>
                <a:close/>
                <a:moveTo>
                  <a:pt x="713578" y="281045"/>
                </a:moveTo>
                <a:lnTo>
                  <a:pt x="697657" y="256851"/>
                </a:lnTo>
                <a:cubicBezTo>
                  <a:pt x="699293" y="255784"/>
                  <a:pt x="700911" y="254718"/>
                  <a:pt x="702547" y="253633"/>
                </a:cubicBezTo>
                <a:lnTo>
                  <a:pt x="718395" y="277901"/>
                </a:lnTo>
                <a:cubicBezTo>
                  <a:pt x="716796" y="278949"/>
                  <a:pt x="715196" y="279997"/>
                  <a:pt x="713596" y="281045"/>
                </a:cubicBezTo>
                <a:close/>
                <a:moveTo>
                  <a:pt x="2375726" y="270547"/>
                </a:moveTo>
                <a:cubicBezTo>
                  <a:pt x="2374108" y="269517"/>
                  <a:pt x="2372509" y="268488"/>
                  <a:pt x="2370891" y="267458"/>
                </a:cubicBezTo>
                <a:lnTo>
                  <a:pt x="2386426" y="243007"/>
                </a:lnTo>
                <a:cubicBezTo>
                  <a:pt x="2388062" y="244055"/>
                  <a:pt x="2389716" y="245103"/>
                  <a:pt x="2391353" y="246151"/>
                </a:cubicBezTo>
                <a:lnTo>
                  <a:pt x="2375726" y="270547"/>
                </a:lnTo>
                <a:close/>
                <a:moveTo>
                  <a:pt x="730437" y="270106"/>
                </a:moveTo>
                <a:lnTo>
                  <a:pt x="714828" y="245691"/>
                </a:lnTo>
                <a:cubicBezTo>
                  <a:pt x="716464" y="244643"/>
                  <a:pt x="718119" y="243595"/>
                  <a:pt x="719774" y="242547"/>
                </a:cubicBezTo>
                <a:lnTo>
                  <a:pt x="735290" y="267017"/>
                </a:lnTo>
                <a:cubicBezTo>
                  <a:pt x="733673" y="268047"/>
                  <a:pt x="732055" y="269076"/>
                  <a:pt x="730437" y="270106"/>
                </a:cubicBezTo>
                <a:close/>
                <a:moveTo>
                  <a:pt x="2358757" y="259829"/>
                </a:moveTo>
                <a:cubicBezTo>
                  <a:pt x="2357139" y="258818"/>
                  <a:pt x="2355503" y="257807"/>
                  <a:pt x="2353885" y="256814"/>
                </a:cubicBezTo>
                <a:lnTo>
                  <a:pt x="2369107" y="232160"/>
                </a:lnTo>
                <a:cubicBezTo>
                  <a:pt x="2370762" y="233190"/>
                  <a:pt x="2372417" y="234201"/>
                  <a:pt x="2374071" y="235230"/>
                </a:cubicBezTo>
                <a:lnTo>
                  <a:pt x="2358757" y="259829"/>
                </a:lnTo>
                <a:close/>
                <a:moveTo>
                  <a:pt x="747461" y="259388"/>
                </a:moveTo>
                <a:lnTo>
                  <a:pt x="732183" y="234771"/>
                </a:lnTo>
                <a:cubicBezTo>
                  <a:pt x="733838" y="233741"/>
                  <a:pt x="735493" y="232712"/>
                  <a:pt x="737166" y="231700"/>
                </a:cubicBezTo>
                <a:lnTo>
                  <a:pt x="752370" y="256373"/>
                </a:lnTo>
                <a:cubicBezTo>
                  <a:pt x="750733" y="257384"/>
                  <a:pt x="749115" y="258395"/>
                  <a:pt x="747479" y="259406"/>
                </a:cubicBezTo>
                <a:close/>
                <a:moveTo>
                  <a:pt x="2341641" y="249331"/>
                </a:moveTo>
                <a:cubicBezTo>
                  <a:pt x="2340005" y="248338"/>
                  <a:pt x="2338369" y="247364"/>
                  <a:pt x="2336732" y="246371"/>
                </a:cubicBezTo>
                <a:lnTo>
                  <a:pt x="2351624" y="221515"/>
                </a:lnTo>
                <a:cubicBezTo>
                  <a:pt x="2353297" y="222508"/>
                  <a:pt x="2354970" y="223519"/>
                  <a:pt x="2356624" y="224530"/>
                </a:cubicBezTo>
                <a:lnTo>
                  <a:pt x="2341641" y="249331"/>
                </a:lnTo>
                <a:close/>
                <a:moveTo>
                  <a:pt x="764614" y="248890"/>
                </a:moveTo>
                <a:lnTo>
                  <a:pt x="749649" y="224071"/>
                </a:lnTo>
                <a:cubicBezTo>
                  <a:pt x="751322" y="223060"/>
                  <a:pt x="752995" y="222049"/>
                  <a:pt x="754668" y="221056"/>
                </a:cubicBezTo>
                <a:lnTo>
                  <a:pt x="769522" y="245930"/>
                </a:lnTo>
                <a:cubicBezTo>
                  <a:pt x="767886" y="246904"/>
                  <a:pt x="766231" y="247897"/>
                  <a:pt x="764595" y="248890"/>
                </a:cubicBezTo>
                <a:close/>
                <a:moveTo>
                  <a:pt x="2324378" y="239073"/>
                </a:moveTo>
                <a:cubicBezTo>
                  <a:pt x="2322723" y="238098"/>
                  <a:pt x="2321087" y="237142"/>
                  <a:pt x="2319432" y="236186"/>
                </a:cubicBezTo>
                <a:lnTo>
                  <a:pt x="2333993" y="211128"/>
                </a:lnTo>
                <a:cubicBezTo>
                  <a:pt x="2335684" y="212103"/>
                  <a:pt x="2337357" y="213095"/>
                  <a:pt x="2339049" y="214088"/>
                </a:cubicBezTo>
                <a:lnTo>
                  <a:pt x="2324396" y="239073"/>
                </a:lnTo>
                <a:close/>
                <a:moveTo>
                  <a:pt x="781895" y="238613"/>
                </a:moveTo>
                <a:lnTo>
                  <a:pt x="767261" y="213610"/>
                </a:lnTo>
                <a:cubicBezTo>
                  <a:pt x="768952" y="212617"/>
                  <a:pt x="770625" y="211643"/>
                  <a:pt x="772317" y="210669"/>
                </a:cubicBezTo>
                <a:lnTo>
                  <a:pt x="786859" y="235727"/>
                </a:lnTo>
                <a:cubicBezTo>
                  <a:pt x="785204" y="236683"/>
                  <a:pt x="783550" y="237657"/>
                  <a:pt x="781895" y="238613"/>
                </a:cubicBezTo>
                <a:close/>
                <a:moveTo>
                  <a:pt x="2306986" y="229016"/>
                </a:moveTo>
                <a:cubicBezTo>
                  <a:pt x="2305331" y="228079"/>
                  <a:pt x="2303659" y="227141"/>
                  <a:pt x="2302004" y="226203"/>
                </a:cubicBezTo>
                <a:lnTo>
                  <a:pt x="2316233" y="200961"/>
                </a:lnTo>
                <a:cubicBezTo>
                  <a:pt x="2317943" y="201917"/>
                  <a:pt x="2319635" y="202892"/>
                  <a:pt x="2321326" y="203848"/>
                </a:cubicBezTo>
                <a:lnTo>
                  <a:pt x="2306986" y="229016"/>
                </a:lnTo>
                <a:close/>
                <a:moveTo>
                  <a:pt x="799324" y="228575"/>
                </a:moveTo>
                <a:lnTo>
                  <a:pt x="785021" y="203370"/>
                </a:lnTo>
                <a:cubicBezTo>
                  <a:pt x="786712" y="202414"/>
                  <a:pt x="788422" y="201439"/>
                  <a:pt x="790113" y="200483"/>
                </a:cubicBezTo>
                <a:lnTo>
                  <a:pt x="804324" y="225725"/>
                </a:lnTo>
                <a:cubicBezTo>
                  <a:pt x="802651" y="226663"/>
                  <a:pt x="800978" y="227601"/>
                  <a:pt x="799324" y="228557"/>
                </a:cubicBezTo>
                <a:close/>
                <a:moveTo>
                  <a:pt x="2289465" y="219217"/>
                </a:moveTo>
                <a:cubicBezTo>
                  <a:pt x="2287793" y="218298"/>
                  <a:pt x="2286120" y="217379"/>
                  <a:pt x="2284428" y="216460"/>
                </a:cubicBezTo>
                <a:lnTo>
                  <a:pt x="2298327" y="191034"/>
                </a:lnTo>
                <a:cubicBezTo>
                  <a:pt x="2300037" y="191971"/>
                  <a:pt x="2301746" y="192909"/>
                  <a:pt x="2303456" y="193847"/>
                </a:cubicBezTo>
                <a:lnTo>
                  <a:pt x="2289465" y="219217"/>
                </a:lnTo>
                <a:close/>
                <a:moveTo>
                  <a:pt x="816881" y="218758"/>
                </a:moveTo>
                <a:lnTo>
                  <a:pt x="802890" y="193387"/>
                </a:lnTo>
                <a:cubicBezTo>
                  <a:pt x="804600" y="192449"/>
                  <a:pt x="806292" y="191512"/>
                  <a:pt x="808001" y="190574"/>
                </a:cubicBezTo>
                <a:lnTo>
                  <a:pt x="821882" y="216000"/>
                </a:lnTo>
                <a:cubicBezTo>
                  <a:pt x="820209" y="216919"/>
                  <a:pt x="818536" y="217820"/>
                  <a:pt x="816863" y="218739"/>
                </a:cubicBezTo>
                <a:close/>
                <a:moveTo>
                  <a:pt x="2271816" y="209639"/>
                </a:moveTo>
                <a:cubicBezTo>
                  <a:pt x="2270125" y="208738"/>
                  <a:pt x="2268434" y="207837"/>
                  <a:pt x="2266761" y="206936"/>
                </a:cubicBezTo>
                <a:lnTo>
                  <a:pt x="2280310" y="181327"/>
                </a:lnTo>
                <a:cubicBezTo>
                  <a:pt x="2282038" y="182246"/>
                  <a:pt x="2283748" y="183147"/>
                  <a:pt x="2285476" y="184066"/>
                </a:cubicBezTo>
                <a:lnTo>
                  <a:pt x="2271816" y="209621"/>
                </a:lnTo>
                <a:close/>
                <a:moveTo>
                  <a:pt x="834493" y="209198"/>
                </a:moveTo>
                <a:lnTo>
                  <a:pt x="820852" y="183643"/>
                </a:lnTo>
                <a:cubicBezTo>
                  <a:pt x="822562" y="182724"/>
                  <a:pt x="824290" y="181823"/>
                  <a:pt x="826000" y="180904"/>
                </a:cubicBezTo>
                <a:lnTo>
                  <a:pt x="839549" y="206514"/>
                </a:lnTo>
                <a:cubicBezTo>
                  <a:pt x="837858" y="207414"/>
                  <a:pt x="836166" y="208297"/>
                  <a:pt x="834493" y="209198"/>
                </a:cubicBezTo>
                <a:close/>
                <a:moveTo>
                  <a:pt x="2254039" y="200281"/>
                </a:moveTo>
                <a:cubicBezTo>
                  <a:pt x="2252347" y="199399"/>
                  <a:pt x="2250637" y="198535"/>
                  <a:pt x="2248928" y="197652"/>
                </a:cubicBezTo>
                <a:lnTo>
                  <a:pt x="2262146" y="171877"/>
                </a:lnTo>
                <a:cubicBezTo>
                  <a:pt x="2263874" y="172760"/>
                  <a:pt x="2265621" y="173660"/>
                  <a:pt x="2267349" y="174561"/>
                </a:cubicBezTo>
                <a:lnTo>
                  <a:pt x="2254039" y="200300"/>
                </a:lnTo>
                <a:close/>
                <a:moveTo>
                  <a:pt x="852253" y="199858"/>
                </a:moveTo>
                <a:lnTo>
                  <a:pt x="838942" y="174120"/>
                </a:lnTo>
                <a:cubicBezTo>
                  <a:pt x="840671" y="173219"/>
                  <a:pt x="842399" y="172337"/>
                  <a:pt x="844145" y="171436"/>
                </a:cubicBezTo>
                <a:lnTo>
                  <a:pt x="857364" y="197211"/>
                </a:lnTo>
                <a:cubicBezTo>
                  <a:pt x="855654" y="198094"/>
                  <a:pt x="853963" y="198958"/>
                  <a:pt x="852253" y="199840"/>
                </a:cubicBezTo>
                <a:close/>
                <a:moveTo>
                  <a:pt x="2236132" y="191163"/>
                </a:moveTo>
                <a:cubicBezTo>
                  <a:pt x="2234422" y="190298"/>
                  <a:pt x="2232712" y="189453"/>
                  <a:pt x="2231003" y="188607"/>
                </a:cubicBezTo>
                <a:lnTo>
                  <a:pt x="2243890" y="162648"/>
                </a:lnTo>
                <a:cubicBezTo>
                  <a:pt x="2245637" y="163512"/>
                  <a:pt x="2247383" y="164395"/>
                  <a:pt x="2249130" y="165259"/>
                </a:cubicBezTo>
                <a:lnTo>
                  <a:pt x="2236150" y="191163"/>
                </a:lnTo>
                <a:close/>
                <a:moveTo>
                  <a:pt x="870178" y="190740"/>
                </a:moveTo>
                <a:lnTo>
                  <a:pt x="857198" y="164836"/>
                </a:lnTo>
                <a:lnTo>
                  <a:pt x="858871" y="163990"/>
                </a:lnTo>
                <a:cubicBezTo>
                  <a:pt x="860618" y="163108"/>
                  <a:pt x="862383" y="162244"/>
                  <a:pt x="864129" y="161380"/>
                </a:cubicBezTo>
                <a:lnTo>
                  <a:pt x="876980" y="187357"/>
                </a:lnTo>
                <a:cubicBezTo>
                  <a:pt x="875252" y="188203"/>
                  <a:pt x="873542" y="189067"/>
                  <a:pt x="871832" y="189912"/>
                </a:cubicBezTo>
                <a:lnTo>
                  <a:pt x="870178" y="190740"/>
                </a:lnTo>
                <a:close/>
                <a:moveTo>
                  <a:pt x="2218115" y="182283"/>
                </a:moveTo>
                <a:cubicBezTo>
                  <a:pt x="2216387" y="181455"/>
                  <a:pt x="2214677" y="180610"/>
                  <a:pt x="2212949" y="179782"/>
                </a:cubicBezTo>
                <a:lnTo>
                  <a:pt x="2225487" y="153658"/>
                </a:lnTo>
                <a:cubicBezTo>
                  <a:pt x="2227252" y="154504"/>
                  <a:pt x="2228999" y="155349"/>
                  <a:pt x="2230764" y="156195"/>
                </a:cubicBezTo>
                <a:lnTo>
                  <a:pt x="2218115" y="182264"/>
                </a:lnTo>
                <a:close/>
                <a:moveTo>
                  <a:pt x="889923" y="181014"/>
                </a:moveTo>
                <a:lnTo>
                  <a:pt x="877311" y="154927"/>
                </a:lnTo>
                <a:cubicBezTo>
                  <a:pt x="879076" y="154081"/>
                  <a:pt x="880841" y="153217"/>
                  <a:pt x="882606" y="152371"/>
                </a:cubicBezTo>
                <a:lnTo>
                  <a:pt x="895126" y="178514"/>
                </a:lnTo>
                <a:cubicBezTo>
                  <a:pt x="893398" y="179341"/>
                  <a:pt x="891669" y="180169"/>
                  <a:pt x="889941" y="181014"/>
                </a:cubicBezTo>
                <a:close/>
                <a:moveTo>
                  <a:pt x="2199970" y="173642"/>
                </a:moveTo>
                <a:cubicBezTo>
                  <a:pt x="2198241" y="172833"/>
                  <a:pt x="2196495" y="172024"/>
                  <a:pt x="2194767" y="171215"/>
                </a:cubicBezTo>
                <a:lnTo>
                  <a:pt x="2206956" y="144925"/>
                </a:lnTo>
                <a:cubicBezTo>
                  <a:pt x="2208721" y="145753"/>
                  <a:pt x="2210485" y="146562"/>
                  <a:pt x="2212250" y="147389"/>
                </a:cubicBezTo>
                <a:lnTo>
                  <a:pt x="2199951" y="173624"/>
                </a:lnTo>
                <a:close/>
                <a:moveTo>
                  <a:pt x="908123" y="172355"/>
                </a:moveTo>
                <a:lnTo>
                  <a:pt x="895861" y="146102"/>
                </a:lnTo>
                <a:cubicBezTo>
                  <a:pt x="897626" y="145275"/>
                  <a:pt x="899409" y="144447"/>
                  <a:pt x="901174" y="143620"/>
                </a:cubicBezTo>
                <a:lnTo>
                  <a:pt x="913363" y="169910"/>
                </a:lnTo>
                <a:cubicBezTo>
                  <a:pt x="911617" y="170719"/>
                  <a:pt x="909870" y="171528"/>
                  <a:pt x="908142" y="172337"/>
                </a:cubicBezTo>
                <a:close/>
                <a:moveTo>
                  <a:pt x="2181732" y="165222"/>
                </a:moveTo>
                <a:cubicBezTo>
                  <a:pt x="2179986" y="164431"/>
                  <a:pt x="2178239" y="163641"/>
                  <a:pt x="2176492" y="162869"/>
                </a:cubicBezTo>
                <a:lnTo>
                  <a:pt x="2188350" y="136432"/>
                </a:lnTo>
                <a:cubicBezTo>
                  <a:pt x="2190134" y="137222"/>
                  <a:pt x="2191899" y="138031"/>
                  <a:pt x="2193682" y="138840"/>
                </a:cubicBezTo>
                <a:lnTo>
                  <a:pt x="2181732" y="165240"/>
                </a:lnTo>
                <a:close/>
                <a:moveTo>
                  <a:pt x="926453" y="163935"/>
                </a:moveTo>
                <a:lnTo>
                  <a:pt x="914521" y="137535"/>
                </a:lnTo>
                <a:cubicBezTo>
                  <a:pt x="916305" y="136726"/>
                  <a:pt x="918088" y="135917"/>
                  <a:pt x="919871" y="135126"/>
                </a:cubicBezTo>
                <a:lnTo>
                  <a:pt x="931692" y="161582"/>
                </a:lnTo>
                <a:cubicBezTo>
                  <a:pt x="929946" y="162372"/>
                  <a:pt x="928181" y="163144"/>
                  <a:pt x="926435" y="163935"/>
                </a:cubicBezTo>
                <a:close/>
                <a:moveTo>
                  <a:pt x="2163366" y="157059"/>
                </a:moveTo>
                <a:cubicBezTo>
                  <a:pt x="2161619" y="156287"/>
                  <a:pt x="2159854" y="155533"/>
                  <a:pt x="2158108" y="154761"/>
                </a:cubicBezTo>
                <a:lnTo>
                  <a:pt x="2169617" y="128177"/>
                </a:lnTo>
                <a:cubicBezTo>
                  <a:pt x="2171400" y="128949"/>
                  <a:pt x="2173202" y="129721"/>
                  <a:pt x="2174985" y="130512"/>
                </a:cubicBezTo>
                <a:lnTo>
                  <a:pt x="2163384" y="157059"/>
                </a:lnTo>
                <a:close/>
                <a:moveTo>
                  <a:pt x="944874" y="155754"/>
                </a:moveTo>
                <a:lnTo>
                  <a:pt x="933292" y="129188"/>
                </a:lnTo>
                <a:cubicBezTo>
                  <a:pt x="935094" y="128398"/>
                  <a:pt x="936877" y="127626"/>
                  <a:pt x="938679" y="126853"/>
                </a:cubicBezTo>
                <a:lnTo>
                  <a:pt x="950169" y="153456"/>
                </a:lnTo>
                <a:cubicBezTo>
                  <a:pt x="948404" y="154210"/>
                  <a:pt x="946639" y="154982"/>
                  <a:pt x="944874" y="155754"/>
                </a:cubicBezTo>
                <a:close/>
                <a:moveTo>
                  <a:pt x="2144889" y="149135"/>
                </a:moveTo>
                <a:cubicBezTo>
                  <a:pt x="2143124" y="148400"/>
                  <a:pt x="2141360" y="147646"/>
                  <a:pt x="2139595" y="146911"/>
                </a:cubicBezTo>
                <a:lnTo>
                  <a:pt x="2150754" y="120161"/>
                </a:lnTo>
                <a:cubicBezTo>
                  <a:pt x="2152556" y="120915"/>
                  <a:pt x="2154357" y="121669"/>
                  <a:pt x="2156159" y="122423"/>
                </a:cubicBezTo>
                <a:lnTo>
                  <a:pt x="2144908" y="149117"/>
                </a:lnTo>
                <a:close/>
                <a:moveTo>
                  <a:pt x="963406" y="147812"/>
                </a:moveTo>
                <a:lnTo>
                  <a:pt x="952173" y="121099"/>
                </a:lnTo>
                <a:cubicBezTo>
                  <a:pt x="953975" y="120345"/>
                  <a:pt x="955776" y="119591"/>
                  <a:pt x="957596" y="118838"/>
                </a:cubicBezTo>
                <a:lnTo>
                  <a:pt x="968737" y="145587"/>
                </a:lnTo>
                <a:cubicBezTo>
                  <a:pt x="966972" y="146323"/>
                  <a:pt x="965189" y="147058"/>
                  <a:pt x="963424" y="147812"/>
                </a:cubicBezTo>
                <a:close/>
                <a:moveTo>
                  <a:pt x="2126321" y="141451"/>
                </a:moveTo>
                <a:cubicBezTo>
                  <a:pt x="2124538" y="140734"/>
                  <a:pt x="2122773" y="140017"/>
                  <a:pt x="2120989" y="139300"/>
                </a:cubicBezTo>
                <a:lnTo>
                  <a:pt x="2131781" y="112422"/>
                </a:lnTo>
                <a:cubicBezTo>
                  <a:pt x="2133583" y="113157"/>
                  <a:pt x="2135403" y="113874"/>
                  <a:pt x="2137205" y="114609"/>
                </a:cubicBezTo>
                <a:lnTo>
                  <a:pt x="2126303" y="141451"/>
                </a:lnTo>
                <a:close/>
                <a:moveTo>
                  <a:pt x="982029" y="140127"/>
                </a:moveTo>
                <a:lnTo>
                  <a:pt x="971146" y="113267"/>
                </a:lnTo>
                <a:cubicBezTo>
                  <a:pt x="972966" y="112532"/>
                  <a:pt x="974767" y="111796"/>
                  <a:pt x="976588" y="111079"/>
                </a:cubicBezTo>
                <a:lnTo>
                  <a:pt x="987379" y="137976"/>
                </a:lnTo>
                <a:cubicBezTo>
                  <a:pt x="985596" y="138693"/>
                  <a:pt x="983813" y="139410"/>
                  <a:pt x="982029" y="140127"/>
                </a:cubicBezTo>
                <a:close/>
                <a:moveTo>
                  <a:pt x="2107642" y="134005"/>
                </a:moveTo>
                <a:cubicBezTo>
                  <a:pt x="2105859" y="133306"/>
                  <a:pt x="2104076" y="132608"/>
                  <a:pt x="2102292" y="131928"/>
                </a:cubicBezTo>
                <a:lnTo>
                  <a:pt x="2112735" y="104902"/>
                </a:lnTo>
                <a:cubicBezTo>
                  <a:pt x="2114555" y="105601"/>
                  <a:pt x="2116375" y="106318"/>
                  <a:pt x="2118195" y="107016"/>
                </a:cubicBezTo>
                <a:lnTo>
                  <a:pt x="2107642" y="134005"/>
                </a:lnTo>
                <a:close/>
                <a:moveTo>
                  <a:pt x="1000763" y="132681"/>
                </a:moveTo>
                <a:lnTo>
                  <a:pt x="990229" y="105693"/>
                </a:lnTo>
                <a:cubicBezTo>
                  <a:pt x="992049" y="104976"/>
                  <a:pt x="993869" y="104277"/>
                  <a:pt x="995708" y="103579"/>
                </a:cubicBezTo>
                <a:lnTo>
                  <a:pt x="1006132" y="130604"/>
                </a:lnTo>
                <a:cubicBezTo>
                  <a:pt x="1004348" y="131302"/>
                  <a:pt x="1002547" y="131983"/>
                  <a:pt x="1000763" y="132681"/>
                </a:cubicBezTo>
                <a:close/>
                <a:moveTo>
                  <a:pt x="2088872" y="126817"/>
                </a:moveTo>
                <a:cubicBezTo>
                  <a:pt x="2087088" y="126136"/>
                  <a:pt x="2085287" y="125475"/>
                  <a:pt x="2083485" y="124813"/>
                </a:cubicBezTo>
                <a:lnTo>
                  <a:pt x="2093578" y="97659"/>
                </a:lnTo>
                <a:cubicBezTo>
                  <a:pt x="2095398" y="98339"/>
                  <a:pt x="2097237" y="99019"/>
                  <a:pt x="2099057" y="99699"/>
                </a:cubicBezTo>
                <a:lnTo>
                  <a:pt x="2088853" y="126817"/>
                </a:lnTo>
                <a:close/>
                <a:moveTo>
                  <a:pt x="1019571" y="125493"/>
                </a:moveTo>
                <a:lnTo>
                  <a:pt x="1009404" y="98357"/>
                </a:lnTo>
                <a:cubicBezTo>
                  <a:pt x="1011242" y="97677"/>
                  <a:pt x="1013063" y="96978"/>
                  <a:pt x="1014901" y="96298"/>
                </a:cubicBezTo>
                <a:lnTo>
                  <a:pt x="1024957" y="123471"/>
                </a:lnTo>
                <a:cubicBezTo>
                  <a:pt x="1023156" y="124132"/>
                  <a:pt x="1021354" y="124813"/>
                  <a:pt x="1019571" y="125475"/>
                </a:cubicBezTo>
                <a:close/>
                <a:moveTo>
                  <a:pt x="2070009" y="119867"/>
                </a:moveTo>
                <a:cubicBezTo>
                  <a:pt x="2068207" y="119224"/>
                  <a:pt x="2066406" y="118580"/>
                  <a:pt x="2064604" y="117937"/>
                </a:cubicBezTo>
                <a:lnTo>
                  <a:pt x="2074330" y="90654"/>
                </a:lnTo>
                <a:cubicBezTo>
                  <a:pt x="2076168" y="91316"/>
                  <a:pt x="2078006" y="91960"/>
                  <a:pt x="2079845" y="92621"/>
                </a:cubicBezTo>
                <a:lnTo>
                  <a:pt x="2070009" y="119867"/>
                </a:lnTo>
                <a:close/>
                <a:moveTo>
                  <a:pt x="1038488" y="118544"/>
                </a:moveTo>
                <a:lnTo>
                  <a:pt x="1028671" y="91279"/>
                </a:lnTo>
                <a:cubicBezTo>
                  <a:pt x="1030509" y="90617"/>
                  <a:pt x="1032348" y="89956"/>
                  <a:pt x="1034205" y="89294"/>
                </a:cubicBezTo>
                <a:lnTo>
                  <a:pt x="1043912" y="116595"/>
                </a:lnTo>
                <a:cubicBezTo>
                  <a:pt x="1042110" y="117238"/>
                  <a:pt x="1040308" y="117882"/>
                  <a:pt x="1038488" y="118525"/>
                </a:cubicBezTo>
                <a:close/>
                <a:moveTo>
                  <a:pt x="2051055" y="113157"/>
                </a:moveTo>
                <a:cubicBezTo>
                  <a:pt x="2049253" y="112532"/>
                  <a:pt x="2047433" y="111907"/>
                  <a:pt x="2045631" y="111282"/>
                </a:cubicBezTo>
                <a:lnTo>
                  <a:pt x="2055007" y="83870"/>
                </a:lnTo>
                <a:cubicBezTo>
                  <a:pt x="2056864" y="84495"/>
                  <a:pt x="2058703" y="85139"/>
                  <a:pt x="2060559" y="85782"/>
                </a:cubicBezTo>
                <a:lnTo>
                  <a:pt x="2051073" y="113157"/>
                </a:lnTo>
                <a:close/>
                <a:moveTo>
                  <a:pt x="1057498" y="111833"/>
                </a:moveTo>
                <a:lnTo>
                  <a:pt x="1048048" y="84440"/>
                </a:lnTo>
                <a:cubicBezTo>
                  <a:pt x="1049905" y="83797"/>
                  <a:pt x="1051744" y="83172"/>
                  <a:pt x="1053600" y="82528"/>
                </a:cubicBezTo>
                <a:lnTo>
                  <a:pt x="1062940" y="109958"/>
                </a:lnTo>
                <a:cubicBezTo>
                  <a:pt x="1061120" y="110583"/>
                  <a:pt x="1059318" y="111208"/>
                  <a:pt x="1057498" y="111833"/>
                </a:cubicBezTo>
                <a:close/>
                <a:moveTo>
                  <a:pt x="2032008" y="106704"/>
                </a:moveTo>
                <a:cubicBezTo>
                  <a:pt x="2030188" y="106097"/>
                  <a:pt x="2028368" y="105509"/>
                  <a:pt x="2026566" y="104902"/>
                </a:cubicBezTo>
                <a:lnTo>
                  <a:pt x="2035575" y="77362"/>
                </a:lnTo>
                <a:cubicBezTo>
                  <a:pt x="2037432" y="77969"/>
                  <a:pt x="2039288" y="78576"/>
                  <a:pt x="2041145" y="79201"/>
                </a:cubicBezTo>
                <a:lnTo>
                  <a:pt x="2032008" y="106704"/>
                </a:lnTo>
                <a:close/>
                <a:moveTo>
                  <a:pt x="1076581" y="105399"/>
                </a:moveTo>
                <a:lnTo>
                  <a:pt x="1067499" y="77877"/>
                </a:lnTo>
                <a:cubicBezTo>
                  <a:pt x="1069356" y="77270"/>
                  <a:pt x="1071213" y="76664"/>
                  <a:pt x="1073070" y="76057"/>
                </a:cubicBezTo>
                <a:lnTo>
                  <a:pt x="1082060" y="103597"/>
                </a:lnTo>
                <a:cubicBezTo>
                  <a:pt x="1080240" y="104185"/>
                  <a:pt x="1078401" y="104792"/>
                  <a:pt x="1076581" y="105399"/>
                </a:cubicBezTo>
                <a:close/>
                <a:moveTo>
                  <a:pt x="2012888" y="100508"/>
                </a:moveTo>
                <a:cubicBezTo>
                  <a:pt x="2011068" y="99920"/>
                  <a:pt x="2009248" y="99350"/>
                  <a:pt x="2007410" y="98780"/>
                </a:cubicBezTo>
                <a:lnTo>
                  <a:pt x="2016069" y="71130"/>
                </a:lnTo>
                <a:cubicBezTo>
                  <a:pt x="2017926" y="71718"/>
                  <a:pt x="2019801" y="72306"/>
                  <a:pt x="2021658" y="72895"/>
                </a:cubicBezTo>
                <a:lnTo>
                  <a:pt x="2012888" y="100508"/>
                </a:lnTo>
                <a:close/>
                <a:moveTo>
                  <a:pt x="1095738" y="99203"/>
                </a:moveTo>
                <a:lnTo>
                  <a:pt x="1087024" y="71571"/>
                </a:lnTo>
                <a:cubicBezTo>
                  <a:pt x="1088899" y="70983"/>
                  <a:pt x="1090756" y="70394"/>
                  <a:pt x="1092631" y="69806"/>
                </a:cubicBezTo>
                <a:lnTo>
                  <a:pt x="1101235" y="97475"/>
                </a:lnTo>
                <a:cubicBezTo>
                  <a:pt x="1099415" y="98045"/>
                  <a:pt x="1097576" y="98615"/>
                  <a:pt x="1095756" y="99185"/>
                </a:cubicBezTo>
                <a:close/>
                <a:moveTo>
                  <a:pt x="1993676" y="94552"/>
                </a:moveTo>
                <a:cubicBezTo>
                  <a:pt x="1991838" y="94000"/>
                  <a:pt x="1989999" y="93449"/>
                  <a:pt x="1988179" y="92897"/>
                </a:cubicBezTo>
                <a:lnTo>
                  <a:pt x="1996471" y="65136"/>
                </a:lnTo>
                <a:cubicBezTo>
                  <a:pt x="1998346" y="65688"/>
                  <a:pt x="2000203" y="66258"/>
                  <a:pt x="2002078" y="66828"/>
                </a:cubicBezTo>
                <a:lnTo>
                  <a:pt x="1993676" y="94552"/>
                </a:lnTo>
                <a:close/>
                <a:moveTo>
                  <a:pt x="1114987" y="93265"/>
                </a:moveTo>
                <a:lnTo>
                  <a:pt x="1106622" y="65523"/>
                </a:lnTo>
                <a:cubicBezTo>
                  <a:pt x="1108497" y="64953"/>
                  <a:pt x="1110372" y="64401"/>
                  <a:pt x="1112247" y="63850"/>
                </a:cubicBezTo>
                <a:lnTo>
                  <a:pt x="1120484" y="91629"/>
                </a:lnTo>
                <a:cubicBezTo>
                  <a:pt x="1118645" y="92180"/>
                  <a:pt x="1116807" y="92732"/>
                  <a:pt x="1114968" y="93283"/>
                </a:cubicBezTo>
                <a:close/>
                <a:moveTo>
                  <a:pt x="1974391" y="88853"/>
                </a:moveTo>
                <a:cubicBezTo>
                  <a:pt x="1972552" y="88319"/>
                  <a:pt x="1970714" y="87786"/>
                  <a:pt x="1968857" y="87271"/>
                </a:cubicBezTo>
                <a:lnTo>
                  <a:pt x="1976781" y="59400"/>
                </a:lnTo>
                <a:cubicBezTo>
                  <a:pt x="1978656" y="59934"/>
                  <a:pt x="1980531" y="60467"/>
                  <a:pt x="1982407" y="61018"/>
                </a:cubicBezTo>
                <a:lnTo>
                  <a:pt x="1974391" y="88853"/>
                </a:lnTo>
                <a:close/>
                <a:moveTo>
                  <a:pt x="1134309" y="87584"/>
                </a:moveTo>
                <a:lnTo>
                  <a:pt x="1126330" y="59731"/>
                </a:lnTo>
                <a:cubicBezTo>
                  <a:pt x="1128205" y="59198"/>
                  <a:pt x="1130099" y="58647"/>
                  <a:pt x="1131974" y="58132"/>
                </a:cubicBezTo>
                <a:lnTo>
                  <a:pt x="1139843" y="86021"/>
                </a:lnTo>
                <a:cubicBezTo>
                  <a:pt x="1138004" y="86536"/>
                  <a:pt x="1136147" y="87069"/>
                  <a:pt x="1134309" y="87602"/>
                </a:cubicBezTo>
                <a:close/>
                <a:moveTo>
                  <a:pt x="1955032" y="83411"/>
                </a:moveTo>
                <a:cubicBezTo>
                  <a:pt x="1953194" y="82914"/>
                  <a:pt x="1951337" y="82400"/>
                  <a:pt x="1949480" y="81903"/>
                </a:cubicBezTo>
                <a:lnTo>
                  <a:pt x="1957036" y="53922"/>
                </a:lnTo>
                <a:cubicBezTo>
                  <a:pt x="1958930" y="54437"/>
                  <a:pt x="1960805" y="54951"/>
                  <a:pt x="1962698" y="55466"/>
                </a:cubicBezTo>
                <a:lnTo>
                  <a:pt x="1955032" y="83411"/>
                </a:lnTo>
                <a:close/>
                <a:moveTo>
                  <a:pt x="1153723" y="82161"/>
                </a:moveTo>
                <a:lnTo>
                  <a:pt x="1146112" y="54198"/>
                </a:lnTo>
                <a:cubicBezTo>
                  <a:pt x="1148005" y="53683"/>
                  <a:pt x="1149880" y="53168"/>
                  <a:pt x="1151774" y="52672"/>
                </a:cubicBezTo>
                <a:lnTo>
                  <a:pt x="1159275" y="80653"/>
                </a:lnTo>
                <a:cubicBezTo>
                  <a:pt x="1157418" y="81149"/>
                  <a:pt x="1155580" y="81646"/>
                  <a:pt x="1153723" y="82161"/>
                </a:cubicBezTo>
                <a:close/>
                <a:moveTo>
                  <a:pt x="1935600" y="78208"/>
                </a:moveTo>
                <a:cubicBezTo>
                  <a:pt x="1933743" y="77730"/>
                  <a:pt x="1931886" y="77252"/>
                  <a:pt x="1930029" y="76774"/>
                </a:cubicBezTo>
                <a:lnTo>
                  <a:pt x="1937217" y="48701"/>
                </a:lnTo>
                <a:cubicBezTo>
                  <a:pt x="1939111" y="49179"/>
                  <a:pt x="1941005" y="49675"/>
                  <a:pt x="1942898" y="50171"/>
                </a:cubicBezTo>
                <a:lnTo>
                  <a:pt x="1935600" y="78208"/>
                </a:lnTo>
                <a:close/>
                <a:moveTo>
                  <a:pt x="1173174" y="76994"/>
                </a:moveTo>
                <a:lnTo>
                  <a:pt x="1165930" y="48940"/>
                </a:lnTo>
                <a:cubicBezTo>
                  <a:pt x="1167824" y="48443"/>
                  <a:pt x="1169717" y="47965"/>
                  <a:pt x="1171629" y="47487"/>
                </a:cubicBezTo>
                <a:lnTo>
                  <a:pt x="1178744" y="75579"/>
                </a:lnTo>
                <a:cubicBezTo>
                  <a:pt x="1176887" y="76057"/>
                  <a:pt x="1175031" y="76516"/>
                  <a:pt x="1173174" y="77013"/>
                </a:cubicBezTo>
                <a:close/>
                <a:moveTo>
                  <a:pt x="1916094" y="73281"/>
                </a:moveTo>
                <a:cubicBezTo>
                  <a:pt x="1914237" y="72821"/>
                  <a:pt x="1912380" y="72362"/>
                  <a:pt x="1910505" y="71920"/>
                </a:cubicBezTo>
                <a:lnTo>
                  <a:pt x="1917325" y="43755"/>
                </a:lnTo>
                <a:cubicBezTo>
                  <a:pt x="1919219" y="44215"/>
                  <a:pt x="1921112" y="44674"/>
                  <a:pt x="1923006" y="45152"/>
                </a:cubicBezTo>
                <a:lnTo>
                  <a:pt x="1916075" y="73281"/>
                </a:lnTo>
                <a:close/>
                <a:moveTo>
                  <a:pt x="1192717" y="72086"/>
                </a:moveTo>
                <a:lnTo>
                  <a:pt x="1185859" y="43939"/>
                </a:lnTo>
                <a:cubicBezTo>
                  <a:pt x="1187753" y="43479"/>
                  <a:pt x="1189665" y="43020"/>
                  <a:pt x="1191558" y="42560"/>
                </a:cubicBezTo>
                <a:lnTo>
                  <a:pt x="1198324" y="70725"/>
                </a:lnTo>
                <a:cubicBezTo>
                  <a:pt x="1196467" y="71167"/>
                  <a:pt x="1194592" y="71626"/>
                  <a:pt x="1192735" y="72086"/>
                </a:cubicBezTo>
                <a:close/>
                <a:moveTo>
                  <a:pt x="1896532" y="68593"/>
                </a:moveTo>
                <a:cubicBezTo>
                  <a:pt x="1894657" y="68152"/>
                  <a:pt x="1892800" y="67729"/>
                  <a:pt x="1890925" y="67306"/>
                </a:cubicBezTo>
                <a:lnTo>
                  <a:pt x="1897378" y="39067"/>
                </a:lnTo>
                <a:cubicBezTo>
                  <a:pt x="1899290" y="39508"/>
                  <a:pt x="1901184" y="39931"/>
                  <a:pt x="1903077" y="40372"/>
                </a:cubicBezTo>
                <a:lnTo>
                  <a:pt x="1896532" y="68593"/>
                </a:lnTo>
                <a:close/>
                <a:moveTo>
                  <a:pt x="1212314" y="67453"/>
                </a:moveTo>
                <a:lnTo>
                  <a:pt x="1205825" y="39214"/>
                </a:lnTo>
                <a:cubicBezTo>
                  <a:pt x="1207737" y="38773"/>
                  <a:pt x="1209649" y="38332"/>
                  <a:pt x="1211542" y="37909"/>
                </a:cubicBezTo>
                <a:lnTo>
                  <a:pt x="1217922" y="66166"/>
                </a:lnTo>
                <a:cubicBezTo>
                  <a:pt x="1216047" y="66589"/>
                  <a:pt x="1214190" y="67012"/>
                  <a:pt x="1212314" y="67435"/>
                </a:cubicBezTo>
                <a:close/>
                <a:moveTo>
                  <a:pt x="1876916" y="64180"/>
                </a:moveTo>
                <a:cubicBezTo>
                  <a:pt x="1875041" y="63776"/>
                  <a:pt x="1873166" y="63372"/>
                  <a:pt x="1871290" y="62967"/>
                </a:cubicBezTo>
                <a:lnTo>
                  <a:pt x="1877376" y="34636"/>
                </a:lnTo>
                <a:cubicBezTo>
                  <a:pt x="1879288" y="35041"/>
                  <a:pt x="1881181" y="35464"/>
                  <a:pt x="1883093" y="35868"/>
                </a:cubicBezTo>
                <a:lnTo>
                  <a:pt x="1876916" y="64180"/>
                </a:lnTo>
                <a:close/>
                <a:moveTo>
                  <a:pt x="1231949" y="63059"/>
                </a:moveTo>
                <a:lnTo>
                  <a:pt x="1225827" y="34728"/>
                </a:lnTo>
                <a:cubicBezTo>
                  <a:pt x="1227739" y="34324"/>
                  <a:pt x="1229651" y="33901"/>
                  <a:pt x="1231563" y="33497"/>
                </a:cubicBezTo>
                <a:lnTo>
                  <a:pt x="1237575" y="61846"/>
                </a:lnTo>
                <a:cubicBezTo>
                  <a:pt x="1235700" y="62250"/>
                  <a:pt x="1233824" y="62655"/>
                  <a:pt x="1231949" y="63059"/>
                </a:cubicBezTo>
                <a:close/>
                <a:moveTo>
                  <a:pt x="1857226" y="60007"/>
                </a:moveTo>
                <a:cubicBezTo>
                  <a:pt x="1855351" y="59621"/>
                  <a:pt x="1853476" y="59235"/>
                  <a:pt x="1851582" y="58867"/>
                </a:cubicBezTo>
                <a:lnTo>
                  <a:pt x="1857300" y="30463"/>
                </a:lnTo>
                <a:cubicBezTo>
                  <a:pt x="1859212" y="30849"/>
                  <a:pt x="1861124" y="31235"/>
                  <a:pt x="1863036" y="31621"/>
                </a:cubicBezTo>
                <a:lnTo>
                  <a:pt x="1857226" y="60007"/>
                </a:lnTo>
                <a:close/>
                <a:moveTo>
                  <a:pt x="1251657" y="58941"/>
                </a:moveTo>
                <a:lnTo>
                  <a:pt x="1245921" y="30537"/>
                </a:lnTo>
                <a:cubicBezTo>
                  <a:pt x="1247833" y="30151"/>
                  <a:pt x="1249745" y="29765"/>
                  <a:pt x="1251676" y="29379"/>
                </a:cubicBezTo>
                <a:lnTo>
                  <a:pt x="1257301" y="57801"/>
                </a:lnTo>
                <a:cubicBezTo>
                  <a:pt x="1255426" y="58169"/>
                  <a:pt x="1253533" y="58555"/>
                  <a:pt x="1251657" y="58922"/>
                </a:cubicBezTo>
                <a:close/>
                <a:moveTo>
                  <a:pt x="1837481" y="56110"/>
                </a:moveTo>
                <a:cubicBezTo>
                  <a:pt x="1835606" y="55742"/>
                  <a:pt x="1833712" y="55393"/>
                  <a:pt x="1831837" y="55043"/>
                </a:cubicBezTo>
                <a:lnTo>
                  <a:pt x="1837169" y="26566"/>
                </a:lnTo>
                <a:cubicBezTo>
                  <a:pt x="1839099" y="26933"/>
                  <a:pt x="1841011" y="27283"/>
                  <a:pt x="1842923" y="27650"/>
                </a:cubicBezTo>
                <a:lnTo>
                  <a:pt x="1837481" y="56110"/>
                </a:lnTo>
                <a:close/>
                <a:moveTo>
                  <a:pt x="1271439" y="55080"/>
                </a:moveTo>
                <a:lnTo>
                  <a:pt x="1266071" y="26602"/>
                </a:lnTo>
                <a:cubicBezTo>
                  <a:pt x="1268001" y="26235"/>
                  <a:pt x="1269913" y="25885"/>
                  <a:pt x="1271844" y="25536"/>
                </a:cubicBezTo>
                <a:lnTo>
                  <a:pt x="1277102" y="54032"/>
                </a:lnTo>
                <a:cubicBezTo>
                  <a:pt x="1275208" y="54381"/>
                  <a:pt x="1273333" y="54731"/>
                  <a:pt x="1271439" y="55080"/>
                </a:cubicBezTo>
                <a:close/>
                <a:moveTo>
                  <a:pt x="1817699" y="52451"/>
                </a:moveTo>
                <a:cubicBezTo>
                  <a:pt x="1815806" y="52120"/>
                  <a:pt x="1813931" y="51789"/>
                  <a:pt x="1812037" y="51458"/>
                </a:cubicBezTo>
                <a:lnTo>
                  <a:pt x="1816982" y="22907"/>
                </a:lnTo>
                <a:cubicBezTo>
                  <a:pt x="1818913" y="23238"/>
                  <a:pt x="1820825" y="23587"/>
                  <a:pt x="1822755" y="23918"/>
                </a:cubicBezTo>
                <a:lnTo>
                  <a:pt x="1817699" y="52451"/>
                </a:lnTo>
                <a:close/>
                <a:moveTo>
                  <a:pt x="1291239" y="51495"/>
                </a:moveTo>
                <a:lnTo>
                  <a:pt x="1286257" y="22962"/>
                </a:lnTo>
                <a:cubicBezTo>
                  <a:pt x="1288187" y="22631"/>
                  <a:pt x="1290118" y="22300"/>
                  <a:pt x="1292030" y="21970"/>
                </a:cubicBezTo>
                <a:lnTo>
                  <a:pt x="1296902" y="50539"/>
                </a:lnTo>
                <a:cubicBezTo>
                  <a:pt x="1295008" y="50870"/>
                  <a:pt x="1293115" y="51183"/>
                  <a:pt x="1291239" y="51514"/>
                </a:cubicBezTo>
                <a:close/>
                <a:moveTo>
                  <a:pt x="1797863" y="49068"/>
                </a:moveTo>
                <a:cubicBezTo>
                  <a:pt x="1795969" y="48756"/>
                  <a:pt x="1794075" y="48443"/>
                  <a:pt x="1792182" y="48149"/>
                </a:cubicBezTo>
                <a:lnTo>
                  <a:pt x="1796759" y="19543"/>
                </a:lnTo>
                <a:cubicBezTo>
                  <a:pt x="1798690" y="19855"/>
                  <a:pt x="1800620" y="20168"/>
                  <a:pt x="1802551" y="20480"/>
                </a:cubicBezTo>
                <a:lnTo>
                  <a:pt x="1797863" y="49068"/>
                </a:lnTo>
                <a:close/>
                <a:moveTo>
                  <a:pt x="1311095" y="48168"/>
                </a:moveTo>
                <a:lnTo>
                  <a:pt x="1306498" y="19561"/>
                </a:lnTo>
                <a:cubicBezTo>
                  <a:pt x="1308429" y="19249"/>
                  <a:pt x="1310359" y="18936"/>
                  <a:pt x="1312290" y="18642"/>
                </a:cubicBezTo>
                <a:lnTo>
                  <a:pt x="1316775" y="47267"/>
                </a:lnTo>
                <a:cubicBezTo>
                  <a:pt x="1314882" y="47561"/>
                  <a:pt x="1312988" y="47855"/>
                  <a:pt x="1311095" y="48168"/>
                </a:cubicBezTo>
                <a:close/>
                <a:moveTo>
                  <a:pt x="1777970" y="45943"/>
                </a:moveTo>
                <a:cubicBezTo>
                  <a:pt x="1776077" y="45649"/>
                  <a:pt x="1774183" y="45373"/>
                  <a:pt x="1772290" y="45097"/>
                </a:cubicBezTo>
                <a:lnTo>
                  <a:pt x="1776500" y="16436"/>
                </a:lnTo>
                <a:cubicBezTo>
                  <a:pt x="1778430" y="16712"/>
                  <a:pt x="1780360" y="17006"/>
                  <a:pt x="1782291" y="17300"/>
                </a:cubicBezTo>
                <a:lnTo>
                  <a:pt x="1777989" y="45943"/>
                </a:lnTo>
                <a:close/>
                <a:moveTo>
                  <a:pt x="1330987" y="45097"/>
                </a:moveTo>
                <a:lnTo>
                  <a:pt x="1326758" y="16436"/>
                </a:lnTo>
                <a:cubicBezTo>
                  <a:pt x="1328689" y="16142"/>
                  <a:pt x="1330637" y="15866"/>
                  <a:pt x="1332568" y="15590"/>
                </a:cubicBezTo>
                <a:lnTo>
                  <a:pt x="1336668" y="44270"/>
                </a:lnTo>
                <a:cubicBezTo>
                  <a:pt x="1334774" y="44546"/>
                  <a:pt x="1332880" y="44822"/>
                  <a:pt x="1330968" y="45097"/>
                </a:cubicBezTo>
                <a:close/>
                <a:moveTo>
                  <a:pt x="1758042" y="43075"/>
                </a:moveTo>
                <a:cubicBezTo>
                  <a:pt x="1756148" y="42818"/>
                  <a:pt x="1754254" y="42560"/>
                  <a:pt x="1752342" y="42303"/>
                </a:cubicBezTo>
                <a:lnTo>
                  <a:pt x="1756166" y="13586"/>
                </a:lnTo>
                <a:cubicBezTo>
                  <a:pt x="1758097" y="13844"/>
                  <a:pt x="1760045" y="14101"/>
                  <a:pt x="1761976" y="14377"/>
                </a:cubicBezTo>
                <a:lnTo>
                  <a:pt x="1758042" y="43075"/>
                </a:lnTo>
                <a:close/>
                <a:moveTo>
                  <a:pt x="1350934" y="42303"/>
                </a:moveTo>
                <a:lnTo>
                  <a:pt x="1347092" y="13586"/>
                </a:lnTo>
                <a:cubicBezTo>
                  <a:pt x="1349022" y="13329"/>
                  <a:pt x="1350971" y="13071"/>
                  <a:pt x="1352901" y="12814"/>
                </a:cubicBezTo>
                <a:lnTo>
                  <a:pt x="1356633" y="41549"/>
                </a:lnTo>
                <a:cubicBezTo>
                  <a:pt x="1354740" y="41788"/>
                  <a:pt x="1352828" y="42045"/>
                  <a:pt x="1350934" y="42303"/>
                </a:cubicBezTo>
                <a:close/>
                <a:moveTo>
                  <a:pt x="1738094" y="40483"/>
                </a:moveTo>
                <a:cubicBezTo>
                  <a:pt x="1736182" y="40244"/>
                  <a:pt x="1734289" y="40023"/>
                  <a:pt x="1732377" y="39784"/>
                </a:cubicBezTo>
                <a:lnTo>
                  <a:pt x="1735815" y="11012"/>
                </a:lnTo>
                <a:cubicBezTo>
                  <a:pt x="1737745" y="11251"/>
                  <a:pt x="1739694" y="11472"/>
                  <a:pt x="1741624" y="11711"/>
                </a:cubicBezTo>
                <a:lnTo>
                  <a:pt x="1738076" y="40464"/>
                </a:lnTo>
                <a:close/>
                <a:moveTo>
                  <a:pt x="1370900" y="39766"/>
                </a:moveTo>
                <a:lnTo>
                  <a:pt x="1367443" y="10994"/>
                </a:lnTo>
                <a:cubicBezTo>
                  <a:pt x="1369392" y="10755"/>
                  <a:pt x="1371322" y="10534"/>
                  <a:pt x="1373271" y="10314"/>
                </a:cubicBezTo>
                <a:lnTo>
                  <a:pt x="1376617" y="39086"/>
                </a:lnTo>
                <a:cubicBezTo>
                  <a:pt x="1374705" y="39306"/>
                  <a:pt x="1372812" y="39527"/>
                  <a:pt x="1370900" y="39766"/>
                </a:cubicBezTo>
                <a:close/>
                <a:moveTo>
                  <a:pt x="1718110" y="38148"/>
                </a:moveTo>
                <a:cubicBezTo>
                  <a:pt x="1716198" y="37946"/>
                  <a:pt x="1714286" y="37725"/>
                  <a:pt x="1712393" y="37523"/>
                </a:cubicBezTo>
                <a:lnTo>
                  <a:pt x="1715463" y="8714"/>
                </a:lnTo>
                <a:cubicBezTo>
                  <a:pt x="1717412" y="8917"/>
                  <a:pt x="1719342" y="9137"/>
                  <a:pt x="1721291" y="9339"/>
                </a:cubicBezTo>
                <a:lnTo>
                  <a:pt x="1718129" y="38148"/>
                </a:lnTo>
                <a:close/>
                <a:moveTo>
                  <a:pt x="1390884" y="37504"/>
                </a:moveTo>
                <a:lnTo>
                  <a:pt x="1387813" y="8696"/>
                </a:lnTo>
                <a:cubicBezTo>
                  <a:pt x="1389762" y="8494"/>
                  <a:pt x="1391693" y="8291"/>
                  <a:pt x="1393641" y="8089"/>
                </a:cubicBezTo>
                <a:lnTo>
                  <a:pt x="1396601" y="36916"/>
                </a:lnTo>
                <a:cubicBezTo>
                  <a:pt x="1394689" y="37118"/>
                  <a:pt x="1392796" y="37302"/>
                  <a:pt x="1390884" y="37523"/>
                </a:cubicBezTo>
                <a:close/>
                <a:moveTo>
                  <a:pt x="1698090" y="36070"/>
                </a:moveTo>
                <a:cubicBezTo>
                  <a:pt x="1696177" y="35887"/>
                  <a:pt x="1694265" y="35703"/>
                  <a:pt x="1692354" y="35519"/>
                </a:cubicBezTo>
                <a:lnTo>
                  <a:pt x="1695038" y="6674"/>
                </a:lnTo>
                <a:cubicBezTo>
                  <a:pt x="1696987" y="6857"/>
                  <a:pt x="1698917" y="7041"/>
                  <a:pt x="1700866" y="7225"/>
                </a:cubicBezTo>
                <a:lnTo>
                  <a:pt x="1698090" y="36070"/>
                </a:lnTo>
                <a:close/>
                <a:moveTo>
                  <a:pt x="1410923" y="35501"/>
                </a:moveTo>
                <a:lnTo>
                  <a:pt x="1408239" y="6655"/>
                </a:lnTo>
                <a:cubicBezTo>
                  <a:pt x="1410187" y="6471"/>
                  <a:pt x="1412136" y="6306"/>
                  <a:pt x="1414085" y="6122"/>
                </a:cubicBezTo>
                <a:lnTo>
                  <a:pt x="1416659" y="34986"/>
                </a:lnTo>
                <a:cubicBezTo>
                  <a:pt x="1414747" y="35151"/>
                  <a:pt x="1412835" y="35335"/>
                  <a:pt x="1410941" y="35501"/>
                </a:cubicBezTo>
                <a:close/>
                <a:moveTo>
                  <a:pt x="1678032" y="34250"/>
                </a:moveTo>
                <a:cubicBezTo>
                  <a:pt x="1676120" y="34085"/>
                  <a:pt x="1674208" y="33938"/>
                  <a:pt x="1672296" y="33772"/>
                </a:cubicBezTo>
                <a:lnTo>
                  <a:pt x="1674612" y="4890"/>
                </a:lnTo>
                <a:cubicBezTo>
                  <a:pt x="1676561" y="5037"/>
                  <a:pt x="1678510" y="5203"/>
                  <a:pt x="1680440" y="5368"/>
                </a:cubicBezTo>
                <a:lnTo>
                  <a:pt x="1678032" y="34250"/>
                </a:lnTo>
                <a:close/>
                <a:moveTo>
                  <a:pt x="1430980" y="33772"/>
                </a:moveTo>
                <a:lnTo>
                  <a:pt x="1428664" y="4890"/>
                </a:lnTo>
                <a:cubicBezTo>
                  <a:pt x="1430613" y="4743"/>
                  <a:pt x="1432561" y="4578"/>
                  <a:pt x="1434510" y="4431"/>
                </a:cubicBezTo>
                <a:lnTo>
                  <a:pt x="1436698" y="33313"/>
                </a:lnTo>
                <a:cubicBezTo>
                  <a:pt x="1434786" y="33460"/>
                  <a:pt x="1432874" y="33607"/>
                  <a:pt x="1430962" y="33754"/>
                </a:cubicBezTo>
                <a:close/>
                <a:moveTo>
                  <a:pt x="1657956" y="32706"/>
                </a:moveTo>
                <a:cubicBezTo>
                  <a:pt x="1656044" y="32577"/>
                  <a:pt x="1654132" y="32449"/>
                  <a:pt x="1652202" y="32320"/>
                </a:cubicBezTo>
                <a:lnTo>
                  <a:pt x="1654132" y="3420"/>
                </a:lnTo>
                <a:cubicBezTo>
                  <a:pt x="1656081" y="3548"/>
                  <a:pt x="1658030" y="3677"/>
                  <a:pt x="1659978" y="3824"/>
                </a:cubicBezTo>
                <a:lnTo>
                  <a:pt x="1657956" y="32724"/>
                </a:lnTo>
                <a:close/>
                <a:moveTo>
                  <a:pt x="1451038" y="32302"/>
                </a:moveTo>
                <a:lnTo>
                  <a:pt x="1449126" y="3383"/>
                </a:lnTo>
                <a:cubicBezTo>
                  <a:pt x="1451075" y="3254"/>
                  <a:pt x="1453023" y="3125"/>
                  <a:pt x="1454972" y="3015"/>
                </a:cubicBezTo>
                <a:lnTo>
                  <a:pt x="1456792" y="31934"/>
                </a:lnTo>
                <a:cubicBezTo>
                  <a:pt x="1454880" y="32063"/>
                  <a:pt x="1452968" y="32173"/>
                  <a:pt x="1451056" y="32302"/>
                </a:cubicBezTo>
                <a:close/>
                <a:moveTo>
                  <a:pt x="1637862" y="31438"/>
                </a:moveTo>
                <a:cubicBezTo>
                  <a:pt x="1635950" y="31327"/>
                  <a:pt x="1634038" y="31217"/>
                  <a:pt x="1632107" y="31125"/>
                </a:cubicBezTo>
                <a:lnTo>
                  <a:pt x="1633633" y="2188"/>
                </a:lnTo>
                <a:cubicBezTo>
                  <a:pt x="1635582" y="2298"/>
                  <a:pt x="1637531" y="2390"/>
                  <a:pt x="1639480" y="2519"/>
                </a:cubicBezTo>
                <a:lnTo>
                  <a:pt x="1637843" y="31438"/>
                </a:lnTo>
                <a:close/>
                <a:moveTo>
                  <a:pt x="1471132" y="31107"/>
                </a:moveTo>
                <a:lnTo>
                  <a:pt x="1469588" y="2169"/>
                </a:lnTo>
                <a:cubicBezTo>
                  <a:pt x="1471537" y="2059"/>
                  <a:pt x="1473485" y="1967"/>
                  <a:pt x="1475453" y="1875"/>
                </a:cubicBezTo>
                <a:lnTo>
                  <a:pt x="1476868" y="30813"/>
                </a:lnTo>
                <a:cubicBezTo>
                  <a:pt x="1474956" y="30904"/>
                  <a:pt x="1473044" y="30996"/>
                  <a:pt x="1471132" y="31107"/>
                </a:cubicBezTo>
                <a:close/>
                <a:moveTo>
                  <a:pt x="1617731" y="30426"/>
                </a:moveTo>
                <a:cubicBezTo>
                  <a:pt x="1615819" y="30335"/>
                  <a:pt x="1613907" y="30261"/>
                  <a:pt x="1611995" y="30187"/>
                </a:cubicBezTo>
                <a:lnTo>
                  <a:pt x="1613153" y="1232"/>
                </a:lnTo>
                <a:cubicBezTo>
                  <a:pt x="1615102" y="1305"/>
                  <a:pt x="1617069" y="1397"/>
                  <a:pt x="1619018" y="1471"/>
                </a:cubicBezTo>
                <a:lnTo>
                  <a:pt x="1617731" y="30408"/>
                </a:lnTo>
                <a:close/>
                <a:moveTo>
                  <a:pt x="1491245" y="30169"/>
                </a:moveTo>
                <a:lnTo>
                  <a:pt x="1490087" y="1213"/>
                </a:lnTo>
                <a:cubicBezTo>
                  <a:pt x="1492035" y="1140"/>
                  <a:pt x="1493984" y="1066"/>
                  <a:pt x="1495951" y="993"/>
                </a:cubicBezTo>
                <a:lnTo>
                  <a:pt x="1496981" y="29948"/>
                </a:lnTo>
                <a:cubicBezTo>
                  <a:pt x="1495069" y="30022"/>
                  <a:pt x="1493157" y="30096"/>
                  <a:pt x="1491245" y="30169"/>
                </a:cubicBezTo>
                <a:close/>
                <a:moveTo>
                  <a:pt x="1597600" y="29673"/>
                </a:moveTo>
                <a:cubicBezTo>
                  <a:pt x="1595687" y="29618"/>
                  <a:pt x="1593776" y="29562"/>
                  <a:pt x="1591845" y="29507"/>
                </a:cubicBezTo>
                <a:lnTo>
                  <a:pt x="1592617" y="552"/>
                </a:lnTo>
                <a:cubicBezTo>
                  <a:pt x="1594566" y="607"/>
                  <a:pt x="1596533" y="662"/>
                  <a:pt x="1598482" y="717"/>
                </a:cubicBezTo>
                <a:lnTo>
                  <a:pt x="1597600" y="29673"/>
                </a:lnTo>
                <a:close/>
                <a:moveTo>
                  <a:pt x="1511358" y="29507"/>
                </a:moveTo>
                <a:lnTo>
                  <a:pt x="1510604" y="552"/>
                </a:lnTo>
                <a:cubicBezTo>
                  <a:pt x="1512553" y="496"/>
                  <a:pt x="1514501" y="460"/>
                  <a:pt x="1516468" y="404"/>
                </a:cubicBezTo>
                <a:lnTo>
                  <a:pt x="1517130" y="29379"/>
                </a:lnTo>
                <a:cubicBezTo>
                  <a:pt x="1515218" y="29415"/>
                  <a:pt x="1513288" y="29470"/>
                  <a:pt x="1511376" y="29526"/>
                </a:cubicBezTo>
                <a:close/>
                <a:moveTo>
                  <a:pt x="1577468" y="29195"/>
                </a:moveTo>
                <a:cubicBezTo>
                  <a:pt x="1575556" y="29158"/>
                  <a:pt x="1573626" y="29140"/>
                  <a:pt x="1571714" y="29103"/>
                </a:cubicBezTo>
                <a:lnTo>
                  <a:pt x="1572100" y="129"/>
                </a:lnTo>
                <a:cubicBezTo>
                  <a:pt x="1574049" y="147"/>
                  <a:pt x="1576016" y="184"/>
                  <a:pt x="1577965" y="221"/>
                </a:cubicBezTo>
                <a:lnTo>
                  <a:pt x="1577468" y="29195"/>
                </a:lnTo>
                <a:close/>
                <a:moveTo>
                  <a:pt x="1531470" y="29103"/>
                </a:moveTo>
                <a:lnTo>
                  <a:pt x="1531084" y="129"/>
                </a:lnTo>
                <a:cubicBezTo>
                  <a:pt x="1533033" y="110"/>
                  <a:pt x="1535000" y="74"/>
                  <a:pt x="1536949" y="55"/>
                </a:cubicBezTo>
                <a:lnTo>
                  <a:pt x="1537206" y="29029"/>
                </a:lnTo>
                <a:cubicBezTo>
                  <a:pt x="1535294" y="29029"/>
                  <a:pt x="1533382" y="29066"/>
                  <a:pt x="1531470" y="29103"/>
                </a:cubicBezTo>
                <a:close/>
                <a:moveTo>
                  <a:pt x="1557319" y="28992"/>
                </a:moveTo>
                <a:cubicBezTo>
                  <a:pt x="1555407" y="28992"/>
                  <a:pt x="1553495" y="28992"/>
                  <a:pt x="1551565" y="28992"/>
                </a:cubicBezTo>
                <a:lnTo>
                  <a:pt x="1551565" y="0"/>
                </a:lnTo>
                <a:cubicBezTo>
                  <a:pt x="1553513" y="0"/>
                  <a:pt x="1555481" y="0"/>
                  <a:pt x="1557429" y="0"/>
                </a:cubicBezTo>
                <a:lnTo>
                  <a:pt x="1557301" y="28974"/>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0" name="Freeform: Shape 29">
            <a:extLst>
              <a:ext uri="{FF2B5EF4-FFF2-40B4-BE49-F238E27FC236}">
                <a16:creationId xmlns:a16="http://schemas.microsoft.com/office/drawing/2014/main" id="{2F29DB4F-0817-56C8-57E6-2ADE7CBE006E}"/>
              </a:ext>
            </a:extLst>
          </p:cNvPr>
          <p:cNvSpPr/>
          <p:nvPr/>
        </p:nvSpPr>
        <p:spPr>
          <a:xfrm>
            <a:off x="1296672" y="2858486"/>
            <a:ext cx="2223004" cy="2222994"/>
          </a:xfrm>
          <a:custGeom>
            <a:avLst/>
            <a:gdLst>
              <a:gd name="connsiteX0" fmla="*/ 1111576 w 2223004"/>
              <a:gd name="connsiteY0" fmla="*/ 2222995 h 2222994"/>
              <a:gd name="connsiteX1" fmla="*/ 759732 w 2223004"/>
              <a:gd name="connsiteY1" fmla="*/ 2165580 h 2222994"/>
              <a:gd name="connsiteX2" fmla="*/ 388842 w 2223004"/>
              <a:gd name="connsiteY2" fmla="*/ 1956033 h 2222994"/>
              <a:gd name="connsiteX3" fmla="*/ 117413 w 2223004"/>
              <a:gd name="connsiteY3" fmla="*/ 1608124 h 2222994"/>
              <a:gd name="connsiteX4" fmla="*/ 2233 w 2223004"/>
              <a:gd name="connsiteY4" fmla="*/ 1182154 h 2222994"/>
              <a:gd name="connsiteX5" fmla="*/ 57405 w 2223004"/>
              <a:gd name="connsiteY5" fmla="*/ 759750 h 2222994"/>
              <a:gd name="connsiteX6" fmla="*/ 266953 w 2223004"/>
              <a:gd name="connsiteY6" fmla="*/ 388860 h 2222994"/>
              <a:gd name="connsiteX7" fmla="*/ 614862 w 2223004"/>
              <a:gd name="connsiteY7" fmla="*/ 117431 h 2222994"/>
              <a:gd name="connsiteX8" fmla="*/ 616149 w 2223004"/>
              <a:gd name="connsiteY8" fmla="*/ 120023 h 2222994"/>
              <a:gd name="connsiteX9" fmla="*/ 614862 w 2223004"/>
              <a:gd name="connsiteY9" fmla="*/ 117431 h 2222994"/>
              <a:gd name="connsiteX10" fmla="*/ 1040814 w 2223004"/>
              <a:gd name="connsiteY10" fmla="*/ 2233 h 2222994"/>
              <a:gd name="connsiteX11" fmla="*/ 1463217 w 2223004"/>
              <a:gd name="connsiteY11" fmla="*/ 57405 h 2222994"/>
              <a:gd name="connsiteX12" fmla="*/ 1834126 w 2223004"/>
              <a:gd name="connsiteY12" fmla="*/ 266952 h 2222994"/>
              <a:gd name="connsiteX13" fmla="*/ 2105574 w 2223004"/>
              <a:gd name="connsiteY13" fmla="*/ 614862 h 2222994"/>
              <a:gd name="connsiteX14" fmla="*/ 2220771 w 2223004"/>
              <a:gd name="connsiteY14" fmla="*/ 1040813 h 2222994"/>
              <a:gd name="connsiteX15" fmla="*/ 2165599 w 2223004"/>
              <a:gd name="connsiteY15" fmla="*/ 1463216 h 2222994"/>
              <a:gd name="connsiteX16" fmla="*/ 1956052 w 2223004"/>
              <a:gd name="connsiteY16" fmla="*/ 1834106 h 2222994"/>
              <a:gd name="connsiteX17" fmla="*/ 1608143 w 2223004"/>
              <a:gd name="connsiteY17" fmla="*/ 2105536 h 2222994"/>
              <a:gd name="connsiteX18" fmla="*/ 1182172 w 2223004"/>
              <a:gd name="connsiteY18" fmla="*/ 2220715 h 2222994"/>
              <a:gd name="connsiteX19" fmla="*/ 1111594 w 2223004"/>
              <a:gd name="connsiteY19" fmla="*/ 2222940 h 2222994"/>
              <a:gd name="connsiteX20" fmla="*/ 1110399 w 2223004"/>
              <a:gd name="connsiteY20" fmla="*/ 5524 h 2222994"/>
              <a:gd name="connsiteX21" fmla="*/ 617436 w 2223004"/>
              <a:gd name="connsiteY21" fmla="*/ 122634 h 2222994"/>
              <a:gd name="connsiteX22" fmla="*/ 122579 w 2223004"/>
              <a:gd name="connsiteY22" fmla="*/ 1605568 h 2222994"/>
              <a:gd name="connsiteX23" fmla="*/ 1113267 w 2223004"/>
              <a:gd name="connsiteY23" fmla="*/ 2216836 h 2222994"/>
              <a:gd name="connsiteX24" fmla="*/ 1605514 w 2223004"/>
              <a:gd name="connsiteY24" fmla="*/ 2100407 h 2222994"/>
              <a:gd name="connsiteX25" fmla="*/ 2100352 w 2223004"/>
              <a:gd name="connsiteY25" fmla="*/ 617491 h 2222994"/>
              <a:gd name="connsiteX26" fmla="*/ 1461360 w 2223004"/>
              <a:gd name="connsiteY26" fmla="*/ 62939 h 2222994"/>
              <a:gd name="connsiteX27" fmla="*/ 1110399 w 2223004"/>
              <a:gd name="connsiteY27" fmla="*/ 5543 h 222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004" h="2222994">
                <a:moveTo>
                  <a:pt x="1111576" y="2222995"/>
                </a:moveTo>
                <a:cubicBezTo>
                  <a:pt x="992186" y="2222995"/>
                  <a:pt x="874158" y="2203765"/>
                  <a:pt x="759732" y="2165580"/>
                </a:cubicBezTo>
                <a:cubicBezTo>
                  <a:pt x="622822" y="2119894"/>
                  <a:pt x="498046" y="2049390"/>
                  <a:pt x="388842" y="1956033"/>
                </a:cubicBezTo>
                <a:cubicBezTo>
                  <a:pt x="275777" y="1859385"/>
                  <a:pt x="184461" y="1742331"/>
                  <a:pt x="117413" y="1608124"/>
                </a:cubicBezTo>
                <a:cubicBezTo>
                  <a:pt x="50364" y="1473935"/>
                  <a:pt x="11609" y="1330609"/>
                  <a:pt x="2233" y="1182154"/>
                </a:cubicBezTo>
                <a:cubicBezTo>
                  <a:pt x="-6830" y="1038772"/>
                  <a:pt x="11720" y="896642"/>
                  <a:pt x="57405" y="759750"/>
                </a:cubicBezTo>
                <a:cubicBezTo>
                  <a:pt x="103091" y="622840"/>
                  <a:pt x="173596" y="498065"/>
                  <a:pt x="266953" y="388860"/>
                </a:cubicBezTo>
                <a:cubicBezTo>
                  <a:pt x="363619" y="275795"/>
                  <a:pt x="480673" y="184461"/>
                  <a:pt x="614862" y="117431"/>
                </a:cubicBezTo>
                <a:lnTo>
                  <a:pt x="616149" y="120023"/>
                </a:lnTo>
                <a:lnTo>
                  <a:pt x="614862" y="117431"/>
                </a:lnTo>
                <a:cubicBezTo>
                  <a:pt x="749051" y="50382"/>
                  <a:pt x="892358" y="11628"/>
                  <a:pt x="1040814" y="2233"/>
                </a:cubicBezTo>
                <a:cubicBezTo>
                  <a:pt x="1184195" y="-6830"/>
                  <a:pt x="1326307" y="11720"/>
                  <a:pt x="1463217" y="57405"/>
                </a:cubicBezTo>
                <a:cubicBezTo>
                  <a:pt x="1600127" y="103091"/>
                  <a:pt x="1724903" y="173596"/>
                  <a:pt x="1834126" y="266952"/>
                </a:cubicBezTo>
                <a:cubicBezTo>
                  <a:pt x="1947191" y="363618"/>
                  <a:pt x="2038525" y="480673"/>
                  <a:pt x="2105574" y="614862"/>
                </a:cubicBezTo>
                <a:cubicBezTo>
                  <a:pt x="2172622" y="749050"/>
                  <a:pt x="2211377" y="892358"/>
                  <a:pt x="2220771" y="1040813"/>
                </a:cubicBezTo>
                <a:cubicBezTo>
                  <a:pt x="2229835" y="1184194"/>
                  <a:pt x="2211285" y="1326307"/>
                  <a:pt x="2165599" y="1463216"/>
                </a:cubicBezTo>
                <a:cubicBezTo>
                  <a:pt x="2119913" y="1600126"/>
                  <a:pt x="2049409" y="1724902"/>
                  <a:pt x="1956052" y="1834106"/>
                </a:cubicBezTo>
                <a:cubicBezTo>
                  <a:pt x="1859386" y="1947171"/>
                  <a:pt x="1742350" y="2038506"/>
                  <a:pt x="1608143" y="2105536"/>
                </a:cubicBezTo>
                <a:cubicBezTo>
                  <a:pt x="1473935" y="2172584"/>
                  <a:pt x="1330628" y="2211339"/>
                  <a:pt x="1182172" y="2220715"/>
                </a:cubicBezTo>
                <a:cubicBezTo>
                  <a:pt x="1158604" y="2222204"/>
                  <a:pt x="1135071" y="2222940"/>
                  <a:pt x="1111594" y="2222940"/>
                </a:cubicBezTo>
                <a:close/>
                <a:moveTo>
                  <a:pt x="1110399" y="5524"/>
                </a:moveTo>
                <a:cubicBezTo>
                  <a:pt x="941243" y="5524"/>
                  <a:pt x="773153" y="44830"/>
                  <a:pt x="617436" y="122634"/>
                </a:cubicBezTo>
                <a:cubicBezTo>
                  <a:pt x="72168" y="395056"/>
                  <a:pt x="-149825" y="1060282"/>
                  <a:pt x="122579" y="1605568"/>
                </a:cubicBezTo>
                <a:cubicBezTo>
                  <a:pt x="315966" y="1992636"/>
                  <a:pt x="707410" y="2216799"/>
                  <a:pt x="1113267" y="2216836"/>
                </a:cubicBezTo>
                <a:cubicBezTo>
                  <a:pt x="1279133" y="2216836"/>
                  <a:pt x="1447314" y="2179423"/>
                  <a:pt x="1605514" y="2100407"/>
                </a:cubicBezTo>
                <a:cubicBezTo>
                  <a:pt x="2150781" y="1827966"/>
                  <a:pt x="2372775" y="1162740"/>
                  <a:pt x="2100352" y="617491"/>
                </a:cubicBezTo>
                <a:cubicBezTo>
                  <a:pt x="1968388" y="353341"/>
                  <a:pt x="1741449" y="156406"/>
                  <a:pt x="1461360" y="62939"/>
                </a:cubicBezTo>
                <a:cubicBezTo>
                  <a:pt x="1346402" y="24589"/>
                  <a:pt x="1228134" y="5543"/>
                  <a:pt x="1110399" y="5543"/>
                </a:cubicBezTo>
                <a:close/>
              </a:path>
            </a:pathLst>
          </a:custGeom>
          <a:solidFill>
            <a:srgbClr val="1478A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1" name="Freeform: Shape 30">
            <a:extLst>
              <a:ext uri="{FF2B5EF4-FFF2-40B4-BE49-F238E27FC236}">
                <a16:creationId xmlns:a16="http://schemas.microsoft.com/office/drawing/2014/main" id="{090BEE38-C556-6879-4B5E-8876FBACACC9}"/>
              </a:ext>
            </a:extLst>
          </p:cNvPr>
          <p:cNvSpPr/>
          <p:nvPr/>
        </p:nvSpPr>
        <p:spPr>
          <a:xfrm>
            <a:off x="1285080" y="2846949"/>
            <a:ext cx="2246133" cy="2246095"/>
          </a:xfrm>
          <a:custGeom>
            <a:avLst/>
            <a:gdLst>
              <a:gd name="connsiteX0" fmla="*/ 1123940 w 2246133"/>
              <a:gd name="connsiteY0" fmla="*/ 2246095 h 2246095"/>
              <a:gd name="connsiteX1" fmla="*/ 1066120 w 2246133"/>
              <a:gd name="connsiteY1" fmla="*/ 2244606 h 2246095"/>
              <a:gd name="connsiteX2" fmla="*/ 1067610 w 2246133"/>
              <a:gd name="connsiteY2" fmla="*/ 2215669 h 2246095"/>
              <a:gd name="connsiteX3" fmla="*/ 1139383 w 2246133"/>
              <a:gd name="connsiteY3" fmla="*/ 2217011 h 2246095"/>
              <a:gd name="connsiteX4" fmla="*/ 1139787 w 2246133"/>
              <a:gd name="connsiteY4" fmla="*/ 2245985 h 2246095"/>
              <a:gd name="connsiteX5" fmla="*/ 1123921 w 2246133"/>
              <a:gd name="connsiteY5" fmla="*/ 2246095 h 2246095"/>
              <a:gd name="connsiteX6" fmla="*/ 890989 w 2246133"/>
              <a:gd name="connsiteY6" fmla="*/ 2221644 h 2246095"/>
              <a:gd name="connsiteX7" fmla="*/ 862236 w 2246133"/>
              <a:gd name="connsiteY7" fmla="*/ 2215154 h 2246095"/>
              <a:gd name="connsiteX8" fmla="*/ 868983 w 2246133"/>
              <a:gd name="connsiteY8" fmla="*/ 2186971 h 2246095"/>
              <a:gd name="connsiteX9" fmla="*/ 897001 w 2246133"/>
              <a:gd name="connsiteY9" fmla="*/ 2193295 h 2246095"/>
              <a:gd name="connsiteX10" fmla="*/ 890989 w 2246133"/>
              <a:gd name="connsiteY10" fmla="*/ 2221644 h 2246095"/>
              <a:gd name="connsiteX11" fmla="*/ 1361965 w 2246133"/>
              <a:gd name="connsiteY11" fmla="*/ 2220412 h 2246095"/>
              <a:gd name="connsiteX12" fmla="*/ 1355787 w 2246133"/>
              <a:gd name="connsiteY12" fmla="*/ 2192100 h 2246095"/>
              <a:gd name="connsiteX13" fmla="*/ 1383750 w 2246133"/>
              <a:gd name="connsiteY13" fmla="*/ 2185610 h 2246095"/>
              <a:gd name="connsiteX14" fmla="*/ 1390681 w 2246133"/>
              <a:gd name="connsiteY14" fmla="*/ 2213739 h 2246095"/>
              <a:gd name="connsiteX15" fmla="*/ 1361965 w 2246133"/>
              <a:gd name="connsiteY15" fmla="*/ 2220412 h 2246095"/>
              <a:gd name="connsiteX16" fmla="*/ 1558349 w 2246133"/>
              <a:gd name="connsiteY16" fmla="*/ 2158089 h 2246095"/>
              <a:gd name="connsiteX17" fmla="*/ 1547097 w 2246133"/>
              <a:gd name="connsiteY17" fmla="*/ 2131394 h 2246095"/>
              <a:gd name="connsiteX18" fmla="*/ 1611939 w 2246133"/>
              <a:gd name="connsiteY18" fmla="*/ 2101556 h 2246095"/>
              <a:gd name="connsiteX19" fmla="*/ 1612362 w 2246133"/>
              <a:gd name="connsiteY19" fmla="*/ 2101336 h 2246095"/>
              <a:gd name="connsiteX20" fmla="*/ 1625195 w 2246133"/>
              <a:gd name="connsiteY20" fmla="*/ 2127313 h 2246095"/>
              <a:gd name="connsiteX21" fmla="*/ 1624937 w 2246133"/>
              <a:gd name="connsiteY21" fmla="*/ 2127442 h 2246095"/>
              <a:gd name="connsiteX22" fmla="*/ 1558349 w 2246133"/>
              <a:gd name="connsiteY22" fmla="*/ 2158089 h 2246095"/>
              <a:gd name="connsiteX23" fmla="*/ 650997 w 2246133"/>
              <a:gd name="connsiteY23" fmla="*/ 2141837 h 2246095"/>
              <a:gd name="connsiteX24" fmla="*/ 585199 w 2246133"/>
              <a:gd name="connsiteY24" fmla="*/ 2108744 h 2246095"/>
              <a:gd name="connsiteX25" fmla="*/ 599061 w 2246133"/>
              <a:gd name="connsiteY25" fmla="*/ 2083300 h 2246095"/>
              <a:gd name="connsiteX26" fmla="*/ 663168 w 2246133"/>
              <a:gd name="connsiteY26" fmla="*/ 2115547 h 2246095"/>
              <a:gd name="connsiteX27" fmla="*/ 650997 w 2246133"/>
              <a:gd name="connsiteY27" fmla="*/ 2141837 h 2246095"/>
              <a:gd name="connsiteX28" fmla="*/ 437221 w 2246133"/>
              <a:gd name="connsiteY28" fmla="*/ 2012373 h 2246095"/>
              <a:gd name="connsiteX29" fmla="*/ 414149 w 2246133"/>
              <a:gd name="connsiteY29" fmla="*/ 1994117 h 2246095"/>
              <a:gd name="connsiteX30" fmla="*/ 432423 w 2246133"/>
              <a:gd name="connsiteY30" fmla="*/ 1971632 h 2246095"/>
              <a:gd name="connsiteX31" fmla="*/ 454889 w 2246133"/>
              <a:gd name="connsiteY31" fmla="*/ 1989410 h 2246095"/>
              <a:gd name="connsiteX32" fmla="*/ 437221 w 2246133"/>
              <a:gd name="connsiteY32" fmla="*/ 2012373 h 2246095"/>
              <a:gd name="connsiteX33" fmla="*/ 1814390 w 2246133"/>
              <a:gd name="connsiteY33" fmla="*/ 2008071 h 2246095"/>
              <a:gd name="connsiteX34" fmla="*/ 1796576 w 2246133"/>
              <a:gd name="connsiteY34" fmla="*/ 1985219 h 2246095"/>
              <a:gd name="connsiteX35" fmla="*/ 1818986 w 2246133"/>
              <a:gd name="connsiteY35" fmla="*/ 1967275 h 2246095"/>
              <a:gd name="connsiteX36" fmla="*/ 1837389 w 2246133"/>
              <a:gd name="connsiteY36" fmla="*/ 1989649 h 2246095"/>
              <a:gd name="connsiteX37" fmla="*/ 1814390 w 2246133"/>
              <a:gd name="connsiteY37" fmla="*/ 2008071 h 2246095"/>
              <a:gd name="connsiteX38" fmla="*/ 1964463 w 2246133"/>
              <a:gd name="connsiteY38" fmla="*/ 1866951 h 2246095"/>
              <a:gd name="connsiteX39" fmla="*/ 1942751 w 2246133"/>
              <a:gd name="connsiteY39" fmla="*/ 1847776 h 2246095"/>
              <a:gd name="connsiteX40" fmla="*/ 1988455 w 2246133"/>
              <a:gd name="connsiteY40" fmla="*/ 1792475 h 2246095"/>
              <a:gd name="connsiteX41" fmla="*/ 2011381 w 2246133"/>
              <a:gd name="connsiteY41" fmla="*/ 1810179 h 2246095"/>
              <a:gd name="connsiteX42" fmla="*/ 1964463 w 2246133"/>
              <a:gd name="connsiteY42" fmla="*/ 1866951 h 2246095"/>
              <a:gd name="connsiteX43" fmla="*/ 255692 w 2246133"/>
              <a:gd name="connsiteY43" fmla="*/ 1836432 h 2246095"/>
              <a:gd name="connsiteX44" fmla="*/ 210852 w 2246133"/>
              <a:gd name="connsiteY44" fmla="*/ 1777988 h 2246095"/>
              <a:gd name="connsiteX45" fmla="*/ 234403 w 2246133"/>
              <a:gd name="connsiteY45" fmla="*/ 1761111 h 2246095"/>
              <a:gd name="connsiteX46" fmla="*/ 278085 w 2246133"/>
              <a:gd name="connsiteY46" fmla="*/ 1818030 h 2246095"/>
              <a:gd name="connsiteX47" fmla="*/ 255692 w 2246133"/>
              <a:gd name="connsiteY47" fmla="*/ 1836414 h 2246095"/>
              <a:gd name="connsiteX48" fmla="*/ 119592 w 2246133"/>
              <a:gd name="connsiteY48" fmla="*/ 1626794 h 2246095"/>
              <a:gd name="connsiteX49" fmla="*/ 118636 w 2246133"/>
              <a:gd name="connsiteY49" fmla="*/ 1624881 h 2246095"/>
              <a:gd name="connsiteX50" fmla="*/ 106704 w 2246133"/>
              <a:gd name="connsiteY50" fmla="*/ 1600283 h 2246095"/>
              <a:gd name="connsiteX51" fmla="*/ 132920 w 2246133"/>
              <a:gd name="connsiteY51" fmla="*/ 1587965 h 2246095"/>
              <a:gd name="connsiteX52" fmla="*/ 144539 w 2246133"/>
              <a:gd name="connsiteY52" fmla="*/ 1611920 h 2246095"/>
              <a:gd name="connsiteX53" fmla="*/ 145495 w 2246133"/>
              <a:gd name="connsiteY53" fmla="*/ 1613814 h 2246095"/>
              <a:gd name="connsiteX54" fmla="*/ 119592 w 2246133"/>
              <a:gd name="connsiteY54" fmla="*/ 1626794 h 2246095"/>
              <a:gd name="connsiteX55" fmla="*/ 2129740 w 2246133"/>
              <a:gd name="connsiteY55" fmla="*/ 1620488 h 2246095"/>
              <a:gd name="connsiteX56" fmla="*/ 2103763 w 2246133"/>
              <a:gd name="connsiteY56" fmla="*/ 1607674 h 2246095"/>
              <a:gd name="connsiteX57" fmla="*/ 2116117 w 2246133"/>
              <a:gd name="connsiteY57" fmla="*/ 1581770 h 2246095"/>
              <a:gd name="connsiteX58" fmla="*/ 2142426 w 2246133"/>
              <a:gd name="connsiteY58" fmla="*/ 1593904 h 2246095"/>
              <a:gd name="connsiteX59" fmla="*/ 2129740 w 2246133"/>
              <a:gd name="connsiteY59" fmla="*/ 1620488 h 2246095"/>
              <a:gd name="connsiteX60" fmla="*/ 2203610 w 2246133"/>
              <a:gd name="connsiteY60" fmla="*/ 1428240 h 2246095"/>
              <a:gd name="connsiteX61" fmla="*/ 2175720 w 2246133"/>
              <a:gd name="connsiteY61" fmla="*/ 1420353 h 2246095"/>
              <a:gd name="connsiteX62" fmla="*/ 2192983 w 2246133"/>
              <a:gd name="connsiteY62" fmla="*/ 1350694 h 2246095"/>
              <a:gd name="connsiteX63" fmla="*/ 2221314 w 2246133"/>
              <a:gd name="connsiteY63" fmla="*/ 1356743 h 2246095"/>
              <a:gd name="connsiteX64" fmla="*/ 2203591 w 2246133"/>
              <a:gd name="connsiteY64" fmla="*/ 1428240 h 2246095"/>
              <a:gd name="connsiteX65" fmla="*/ 32081 w 2246133"/>
              <a:gd name="connsiteY65" fmla="*/ 1389486 h 2246095"/>
              <a:gd name="connsiteX66" fmla="*/ 16914 w 2246133"/>
              <a:gd name="connsiteY66" fmla="*/ 1317382 h 2246095"/>
              <a:gd name="connsiteX67" fmla="*/ 45447 w 2246133"/>
              <a:gd name="connsiteY67" fmla="*/ 1312363 h 2246095"/>
              <a:gd name="connsiteX68" fmla="*/ 60228 w 2246133"/>
              <a:gd name="connsiteY68" fmla="*/ 1382592 h 2246095"/>
              <a:gd name="connsiteX69" fmla="*/ 32081 w 2246133"/>
              <a:gd name="connsiteY69" fmla="*/ 1389486 h 2246095"/>
              <a:gd name="connsiteX70" fmla="*/ 147 w 2246133"/>
              <a:gd name="connsiteY70" fmla="*/ 1141515 h 2246095"/>
              <a:gd name="connsiteX71" fmla="*/ 0 w 2246133"/>
              <a:gd name="connsiteY71" fmla="*/ 1123921 h 2246095"/>
              <a:gd name="connsiteX72" fmla="*/ 55 w 2246133"/>
              <a:gd name="connsiteY72" fmla="*/ 1112026 h 2246095"/>
              <a:gd name="connsiteX73" fmla="*/ 29029 w 2246133"/>
              <a:gd name="connsiteY73" fmla="*/ 1112339 h 2246095"/>
              <a:gd name="connsiteX74" fmla="*/ 28974 w 2246133"/>
              <a:gd name="connsiteY74" fmla="*/ 1123921 h 2246095"/>
              <a:gd name="connsiteX75" fmla="*/ 29103 w 2246133"/>
              <a:gd name="connsiteY75" fmla="*/ 1141074 h 2246095"/>
              <a:gd name="connsiteX76" fmla="*/ 129 w 2246133"/>
              <a:gd name="connsiteY76" fmla="*/ 1141533 h 2246095"/>
              <a:gd name="connsiteX77" fmla="*/ 2246060 w 2246133"/>
              <a:gd name="connsiteY77" fmla="*/ 1134511 h 2246095"/>
              <a:gd name="connsiteX78" fmla="*/ 2217086 w 2246133"/>
              <a:gd name="connsiteY78" fmla="*/ 1134198 h 2246095"/>
              <a:gd name="connsiteX79" fmla="*/ 2217159 w 2246133"/>
              <a:gd name="connsiteY79" fmla="*/ 1122174 h 2246095"/>
              <a:gd name="connsiteX80" fmla="*/ 2217030 w 2246133"/>
              <a:gd name="connsiteY80" fmla="*/ 1105463 h 2246095"/>
              <a:gd name="connsiteX81" fmla="*/ 2246004 w 2246133"/>
              <a:gd name="connsiteY81" fmla="*/ 1105022 h 2246095"/>
              <a:gd name="connsiteX82" fmla="*/ 2246133 w 2246133"/>
              <a:gd name="connsiteY82" fmla="*/ 1122174 h 2246095"/>
              <a:gd name="connsiteX83" fmla="*/ 2246060 w 2246133"/>
              <a:gd name="connsiteY83" fmla="*/ 1134511 h 2246095"/>
              <a:gd name="connsiteX84" fmla="*/ 2200760 w 2246133"/>
              <a:gd name="connsiteY84" fmla="*/ 934156 h 2246095"/>
              <a:gd name="connsiteX85" fmla="*/ 2186016 w 2246133"/>
              <a:gd name="connsiteY85" fmla="*/ 863927 h 2246095"/>
              <a:gd name="connsiteX86" fmla="*/ 2214162 w 2246133"/>
              <a:gd name="connsiteY86" fmla="*/ 857033 h 2246095"/>
              <a:gd name="connsiteX87" fmla="*/ 2229311 w 2246133"/>
              <a:gd name="connsiteY87" fmla="*/ 929137 h 2246095"/>
              <a:gd name="connsiteX88" fmla="*/ 2200778 w 2246133"/>
              <a:gd name="connsiteY88" fmla="*/ 934156 h 2246095"/>
              <a:gd name="connsiteX89" fmla="*/ 53039 w 2246133"/>
              <a:gd name="connsiteY89" fmla="*/ 895824 h 2246095"/>
              <a:gd name="connsiteX90" fmla="*/ 24709 w 2246133"/>
              <a:gd name="connsiteY90" fmla="*/ 889794 h 2246095"/>
              <a:gd name="connsiteX91" fmla="*/ 42395 w 2246133"/>
              <a:gd name="connsiteY91" fmla="*/ 818296 h 2246095"/>
              <a:gd name="connsiteX92" fmla="*/ 70284 w 2246133"/>
              <a:gd name="connsiteY92" fmla="*/ 826165 h 2246095"/>
              <a:gd name="connsiteX93" fmla="*/ 53039 w 2246133"/>
              <a:gd name="connsiteY93" fmla="*/ 895824 h 2246095"/>
              <a:gd name="connsiteX94" fmla="*/ 129850 w 2246133"/>
              <a:gd name="connsiteY94" fmla="*/ 664712 h 2246095"/>
              <a:gd name="connsiteX95" fmla="*/ 103542 w 2246133"/>
              <a:gd name="connsiteY95" fmla="*/ 652596 h 2246095"/>
              <a:gd name="connsiteX96" fmla="*/ 116209 w 2246133"/>
              <a:gd name="connsiteY96" fmla="*/ 626012 h 2246095"/>
              <a:gd name="connsiteX97" fmla="*/ 142204 w 2246133"/>
              <a:gd name="connsiteY97" fmla="*/ 638826 h 2246095"/>
              <a:gd name="connsiteX98" fmla="*/ 129850 w 2246133"/>
              <a:gd name="connsiteY98" fmla="*/ 664730 h 2246095"/>
              <a:gd name="connsiteX99" fmla="*/ 2113378 w 2246133"/>
              <a:gd name="connsiteY99" fmla="*/ 658535 h 2246095"/>
              <a:gd name="connsiteX100" fmla="*/ 2101594 w 2246133"/>
              <a:gd name="connsiteY100" fmla="*/ 634193 h 2246095"/>
              <a:gd name="connsiteX101" fmla="*/ 2100840 w 2246133"/>
              <a:gd name="connsiteY101" fmla="*/ 632667 h 2246095"/>
              <a:gd name="connsiteX102" fmla="*/ 2126744 w 2246133"/>
              <a:gd name="connsiteY102" fmla="*/ 619688 h 2246095"/>
              <a:gd name="connsiteX103" fmla="*/ 2127498 w 2246133"/>
              <a:gd name="connsiteY103" fmla="*/ 621195 h 2246095"/>
              <a:gd name="connsiteX104" fmla="*/ 2139613 w 2246133"/>
              <a:gd name="connsiteY104" fmla="*/ 646198 h 2246095"/>
              <a:gd name="connsiteX105" fmla="*/ 2113378 w 2246133"/>
              <a:gd name="connsiteY105" fmla="*/ 658516 h 2246095"/>
              <a:gd name="connsiteX106" fmla="*/ 2011969 w 2246133"/>
              <a:gd name="connsiteY106" fmla="*/ 485334 h 2246095"/>
              <a:gd name="connsiteX107" fmla="*/ 1968324 w 2246133"/>
              <a:gd name="connsiteY107" fmla="*/ 428397 h 2246095"/>
              <a:gd name="connsiteX108" fmla="*/ 1990716 w 2246133"/>
              <a:gd name="connsiteY108" fmla="*/ 410012 h 2246095"/>
              <a:gd name="connsiteX109" fmla="*/ 2035538 w 2246133"/>
              <a:gd name="connsiteY109" fmla="*/ 468475 h 2246095"/>
              <a:gd name="connsiteX110" fmla="*/ 2011969 w 2246133"/>
              <a:gd name="connsiteY110" fmla="*/ 485334 h 2246095"/>
              <a:gd name="connsiteX111" fmla="*/ 257402 w 2246133"/>
              <a:gd name="connsiteY111" fmla="*/ 453951 h 2246095"/>
              <a:gd name="connsiteX112" fmla="*/ 234458 w 2246133"/>
              <a:gd name="connsiteY112" fmla="*/ 436247 h 2246095"/>
              <a:gd name="connsiteX113" fmla="*/ 281357 w 2246133"/>
              <a:gd name="connsiteY113" fmla="*/ 379457 h 2246095"/>
              <a:gd name="connsiteX114" fmla="*/ 303088 w 2246133"/>
              <a:gd name="connsiteY114" fmla="*/ 398632 h 2246095"/>
              <a:gd name="connsiteX115" fmla="*/ 257402 w 2246133"/>
              <a:gd name="connsiteY115" fmla="*/ 453951 h 2246095"/>
              <a:gd name="connsiteX116" fmla="*/ 426816 w 2246133"/>
              <a:gd name="connsiteY116" fmla="*/ 279096 h 2246095"/>
              <a:gd name="connsiteX117" fmla="*/ 408394 w 2246133"/>
              <a:gd name="connsiteY117" fmla="*/ 256722 h 2246095"/>
              <a:gd name="connsiteX118" fmla="*/ 431394 w 2246133"/>
              <a:gd name="connsiteY118" fmla="*/ 238282 h 2246095"/>
              <a:gd name="connsiteX119" fmla="*/ 449208 w 2246133"/>
              <a:gd name="connsiteY119" fmla="*/ 261134 h 2246095"/>
              <a:gd name="connsiteX120" fmla="*/ 426816 w 2246133"/>
              <a:gd name="connsiteY120" fmla="*/ 279077 h 2246095"/>
              <a:gd name="connsiteX121" fmla="*/ 1814022 w 2246133"/>
              <a:gd name="connsiteY121" fmla="*/ 274739 h 2246095"/>
              <a:gd name="connsiteX122" fmla="*/ 1791557 w 2246133"/>
              <a:gd name="connsiteY122" fmla="*/ 256942 h 2246095"/>
              <a:gd name="connsiteX123" fmla="*/ 1809243 w 2246133"/>
              <a:gd name="connsiteY123" fmla="*/ 233999 h 2246095"/>
              <a:gd name="connsiteX124" fmla="*/ 1832315 w 2246133"/>
              <a:gd name="connsiteY124" fmla="*/ 252254 h 2246095"/>
              <a:gd name="connsiteX125" fmla="*/ 1814022 w 2246133"/>
              <a:gd name="connsiteY125" fmla="*/ 274739 h 2246095"/>
              <a:gd name="connsiteX126" fmla="*/ 1647440 w 2246133"/>
              <a:gd name="connsiteY126" fmla="*/ 162997 h 2246095"/>
              <a:gd name="connsiteX127" fmla="*/ 1583333 w 2246133"/>
              <a:gd name="connsiteY127" fmla="*/ 130733 h 2246095"/>
              <a:gd name="connsiteX128" fmla="*/ 1595504 w 2246133"/>
              <a:gd name="connsiteY128" fmla="*/ 104443 h 2246095"/>
              <a:gd name="connsiteX129" fmla="*/ 1661302 w 2246133"/>
              <a:gd name="connsiteY129" fmla="*/ 137553 h 2246095"/>
              <a:gd name="connsiteX130" fmla="*/ 1647440 w 2246133"/>
              <a:gd name="connsiteY130" fmla="*/ 162997 h 2246095"/>
              <a:gd name="connsiteX131" fmla="*/ 633440 w 2246133"/>
              <a:gd name="connsiteY131" fmla="*/ 144907 h 2246095"/>
              <a:gd name="connsiteX132" fmla="*/ 620479 w 2246133"/>
              <a:gd name="connsiteY132" fmla="*/ 118985 h 2246095"/>
              <a:gd name="connsiteX133" fmla="*/ 621269 w 2246133"/>
              <a:gd name="connsiteY133" fmla="*/ 118599 h 2246095"/>
              <a:gd name="connsiteX134" fmla="*/ 688189 w 2246133"/>
              <a:gd name="connsiteY134" fmla="*/ 87823 h 2246095"/>
              <a:gd name="connsiteX135" fmla="*/ 699440 w 2246133"/>
              <a:gd name="connsiteY135" fmla="*/ 114517 h 2246095"/>
              <a:gd name="connsiteX136" fmla="*/ 634212 w 2246133"/>
              <a:gd name="connsiteY136" fmla="*/ 144521 h 2246095"/>
              <a:gd name="connsiteX137" fmla="*/ 633440 w 2246133"/>
              <a:gd name="connsiteY137" fmla="*/ 144907 h 2246095"/>
              <a:gd name="connsiteX138" fmla="*/ 862787 w 2246133"/>
              <a:gd name="connsiteY138" fmla="*/ 60375 h 2246095"/>
              <a:gd name="connsiteX139" fmla="*/ 855875 w 2246133"/>
              <a:gd name="connsiteY139" fmla="*/ 32247 h 2246095"/>
              <a:gd name="connsiteX140" fmla="*/ 884591 w 2246133"/>
              <a:gd name="connsiteY140" fmla="*/ 25591 h 2246095"/>
              <a:gd name="connsiteX141" fmla="*/ 890768 w 2246133"/>
              <a:gd name="connsiteY141" fmla="*/ 53903 h 2246095"/>
              <a:gd name="connsiteX142" fmla="*/ 862806 w 2246133"/>
              <a:gd name="connsiteY142" fmla="*/ 60393 h 2246095"/>
              <a:gd name="connsiteX143" fmla="*/ 1377573 w 2246133"/>
              <a:gd name="connsiteY143" fmla="*/ 59217 h 2246095"/>
              <a:gd name="connsiteX144" fmla="*/ 1349555 w 2246133"/>
              <a:gd name="connsiteY144" fmla="*/ 52892 h 2246095"/>
              <a:gd name="connsiteX145" fmla="*/ 1355567 w 2246133"/>
              <a:gd name="connsiteY145" fmla="*/ 24543 h 2246095"/>
              <a:gd name="connsiteX146" fmla="*/ 1384320 w 2246133"/>
              <a:gd name="connsiteY146" fmla="*/ 31051 h 2246095"/>
              <a:gd name="connsiteX147" fmla="*/ 1377555 w 2246133"/>
              <a:gd name="connsiteY147" fmla="*/ 59235 h 2246095"/>
              <a:gd name="connsiteX148" fmla="*/ 1178928 w 2246133"/>
              <a:gd name="connsiteY148" fmla="*/ 30445 h 2246095"/>
              <a:gd name="connsiteX149" fmla="*/ 1122193 w 2246133"/>
              <a:gd name="connsiteY149" fmla="*/ 28974 h 2246095"/>
              <a:gd name="connsiteX150" fmla="*/ 1107155 w 2246133"/>
              <a:gd name="connsiteY150" fmla="*/ 29084 h 2246095"/>
              <a:gd name="connsiteX151" fmla="*/ 1106750 w 2246133"/>
              <a:gd name="connsiteY151" fmla="*/ 110 h 2246095"/>
              <a:gd name="connsiteX152" fmla="*/ 1122175 w 2246133"/>
              <a:gd name="connsiteY152" fmla="*/ 0 h 2246095"/>
              <a:gd name="connsiteX153" fmla="*/ 1180417 w 2246133"/>
              <a:gd name="connsiteY153" fmla="*/ 1508 h 2246095"/>
              <a:gd name="connsiteX154" fmla="*/ 1178910 w 2246133"/>
              <a:gd name="connsiteY154" fmla="*/ 30445 h 224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246133" h="2246095">
                <a:moveTo>
                  <a:pt x="1123940" y="2246095"/>
                </a:moveTo>
                <a:cubicBezTo>
                  <a:pt x="1104746" y="2246095"/>
                  <a:pt x="1085295" y="2245599"/>
                  <a:pt x="1066120" y="2244606"/>
                </a:cubicBezTo>
                <a:lnTo>
                  <a:pt x="1067610" y="2215669"/>
                </a:lnTo>
                <a:cubicBezTo>
                  <a:pt x="1091436" y="2216901"/>
                  <a:pt x="1115814" y="2217342"/>
                  <a:pt x="1139383" y="2217011"/>
                </a:cubicBezTo>
                <a:lnTo>
                  <a:pt x="1139787" y="2245985"/>
                </a:lnTo>
                <a:cubicBezTo>
                  <a:pt x="1134548" y="2246059"/>
                  <a:pt x="1129216" y="2246095"/>
                  <a:pt x="1123921" y="2246095"/>
                </a:cubicBezTo>
                <a:close/>
                <a:moveTo>
                  <a:pt x="890989" y="2221644"/>
                </a:moveTo>
                <a:cubicBezTo>
                  <a:pt x="881429" y="2219622"/>
                  <a:pt x="871759" y="2217434"/>
                  <a:pt x="862236" y="2215154"/>
                </a:cubicBezTo>
                <a:lnTo>
                  <a:pt x="868983" y="2186971"/>
                </a:lnTo>
                <a:cubicBezTo>
                  <a:pt x="878249" y="2189195"/>
                  <a:pt x="887680" y="2191309"/>
                  <a:pt x="897001" y="2193295"/>
                </a:cubicBezTo>
                <a:lnTo>
                  <a:pt x="890989" y="2221644"/>
                </a:lnTo>
                <a:close/>
                <a:moveTo>
                  <a:pt x="1361965" y="2220412"/>
                </a:moveTo>
                <a:lnTo>
                  <a:pt x="1355787" y="2192100"/>
                </a:lnTo>
                <a:cubicBezTo>
                  <a:pt x="1365108" y="2190059"/>
                  <a:pt x="1374521" y="2187872"/>
                  <a:pt x="1383750" y="2185610"/>
                </a:cubicBezTo>
                <a:lnTo>
                  <a:pt x="1390681" y="2213739"/>
                </a:lnTo>
                <a:cubicBezTo>
                  <a:pt x="1381195" y="2216073"/>
                  <a:pt x="1371525" y="2218316"/>
                  <a:pt x="1361965" y="2220412"/>
                </a:cubicBezTo>
                <a:close/>
                <a:moveTo>
                  <a:pt x="1558349" y="2158089"/>
                </a:moveTo>
                <a:lnTo>
                  <a:pt x="1547097" y="2131394"/>
                </a:lnTo>
                <a:cubicBezTo>
                  <a:pt x="1568883" y="2122202"/>
                  <a:pt x="1590705" y="2112164"/>
                  <a:pt x="1611939" y="2101556"/>
                </a:cubicBezTo>
                <a:lnTo>
                  <a:pt x="1612362" y="2101336"/>
                </a:lnTo>
                <a:lnTo>
                  <a:pt x="1625195" y="2127313"/>
                </a:lnTo>
                <a:lnTo>
                  <a:pt x="1624937" y="2127442"/>
                </a:lnTo>
                <a:cubicBezTo>
                  <a:pt x="1603078" y="2138362"/>
                  <a:pt x="1580704" y="2148657"/>
                  <a:pt x="1558349" y="2158089"/>
                </a:cubicBezTo>
                <a:close/>
                <a:moveTo>
                  <a:pt x="650997" y="2141837"/>
                </a:moveTo>
                <a:cubicBezTo>
                  <a:pt x="628789" y="2131560"/>
                  <a:pt x="606654" y="2120437"/>
                  <a:pt x="585199" y="2108744"/>
                </a:cubicBezTo>
                <a:lnTo>
                  <a:pt x="599061" y="2083300"/>
                </a:lnTo>
                <a:cubicBezTo>
                  <a:pt x="619964" y="2094680"/>
                  <a:pt x="641529" y="2105527"/>
                  <a:pt x="663168" y="2115547"/>
                </a:cubicBezTo>
                <a:lnTo>
                  <a:pt x="650997" y="2141837"/>
                </a:lnTo>
                <a:close/>
                <a:moveTo>
                  <a:pt x="437221" y="2012373"/>
                </a:moveTo>
                <a:cubicBezTo>
                  <a:pt x="429482" y="2006416"/>
                  <a:pt x="421723" y="2000275"/>
                  <a:pt x="414149" y="1994117"/>
                </a:cubicBezTo>
                <a:lnTo>
                  <a:pt x="432423" y="1971632"/>
                </a:lnTo>
                <a:cubicBezTo>
                  <a:pt x="439795" y="1977626"/>
                  <a:pt x="447351" y="1983601"/>
                  <a:pt x="454889" y="1989410"/>
                </a:cubicBezTo>
                <a:lnTo>
                  <a:pt x="437221" y="2012373"/>
                </a:lnTo>
                <a:close/>
                <a:moveTo>
                  <a:pt x="1814390" y="2008071"/>
                </a:moveTo>
                <a:lnTo>
                  <a:pt x="1796576" y="1985219"/>
                </a:lnTo>
                <a:cubicBezTo>
                  <a:pt x="1804076" y="1979372"/>
                  <a:pt x="1811614" y="1973342"/>
                  <a:pt x="1818986" y="1967275"/>
                </a:cubicBezTo>
                <a:lnTo>
                  <a:pt x="1837389" y="1989649"/>
                </a:lnTo>
                <a:cubicBezTo>
                  <a:pt x="1829815" y="1995882"/>
                  <a:pt x="1822075" y="2002077"/>
                  <a:pt x="1814390" y="2008071"/>
                </a:cubicBezTo>
                <a:close/>
                <a:moveTo>
                  <a:pt x="1964463" y="1866951"/>
                </a:moveTo>
                <a:lnTo>
                  <a:pt x="1942751" y="1847776"/>
                </a:lnTo>
                <a:cubicBezTo>
                  <a:pt x="1958507" y="1829943"/>
                  <a:pt x="1973894" y="1811338"/>
                  <a:pt x="1988455" y="1792475"/>
                </a:cubicBezTo>
                <a:lnTo>
                  <a:pt x="2011381" y="1810179"/>
                </a:lnTo>
                <a:cubicBezTo>
                  <a:pt x="1996434" y="1829538"/>
                  <a:pt x="1980642" y="1848640"/>
                  <a:pt x="1964463" y="1866951"/>
                </a:cubicBezTo>
                <a:close/>
                <a:moveTo>
                  <a:pt x="255692" y="1836432"/>
                </a:moveTo>
                <a:cubicBezTo>
                  <a:pt x="240176" y="1817533"/>
                  <a:pt x="225100" y="1797880"/>
                  <a:pt x="210852" y="1777988"/>
                </a:cubicBezTo>
                <a:lnTo>
                  <a:pt x="234403" y="1761111"/>
                </a:lnTo>
                <a:cubicBezTo>
                  <a:pt x="248265" y="1780470"/>
                  <a:pt x="262973" y="1799627"/>
                  <a:pt x="278085" y="1818030"/>
                </a:cubicBezTo>
                <a:lnTo>
                  <a:pt x="255692" y="1836414"/>
                </a:lnTo>
                <a:close/>
                <a:moveTo>
                  <a:pt x="119592" y="1626794"/>
                </a:moveTo>
                <a:lnTo>
                  <a:pt x="118636" y="1624881"/>
                </a:lnTo>
                <a:cubicBezTo>
                  <a:pt x="114573" y="1616755"/>
                  <a:pt x="110565" y="1608482"/>
                  <a:pt x="106704" y="1600283"/>
                </a:cubicBezTo>
                <a:lnTo>
                  <a:pt x="132920" y="1587965"/>
                </a:lnTo>
                <a:cubicBezTo>
                  <a:pt x="136671" y="1595944"/>
                  <a:pt x="140587" y="1604015"/>
                  <a:pt x="144539" y="1611920"/>
                </a:cubicBezTo>
                <a:lnTo>
                  <a:pt x="145495" y="1613814"/>
                </a:lnTo>
                <a:lnTo>
                  <a:pt x="119592" y="1626794"/>
                </a:lnTo>
                <a:close/>
                <a:moveTo>
                  <a:pt x="2129740" y="1620488"/>
                </a:moveTo>
                <a:lnTo>
                  <a:pt x="2103763" y="1607674"/>
                </a:lnTo>
                <a:cubicBezTo>
                  <a:pt x="2107992" y="1599125"/>
                  <a:pt x="2112147" y="1590410"/>
                  <a:pt x="2116117" y="1581770"/>
                </a:cubicBezTo>
                <a:lnTo>
                  <a:pt x="2142426" y="1593904"/>
                </a:lnTo>
                <a:cubicBezTo>
                  <a:pt x="2138345" y="1602765"/>
                  <a:pt x="2134079" y="1611700"/>
                  <a:pt x="2129740" y="1620488"/>
                </a:cubicBezTo>
                <a:close/>
                <a:moveTo>
                  <a:pt x="2203610" y="1428240"/>
                </a:moveTo>
                <a:lnTo>
                  <a:pt x="2175720" y="1420353"/>
                </a:lnTo>
                <a:cubicBezTo>
                  <a:pt x="2182210" y="1397428"/>
                  <a:pt x="2188020" y="1373988"/>
                  <a:pt x="2192983" y="1350694"/>
                </a:cubicBezTo>
                <a:lnTo>
                  <a:pt x="2221314" y="1356743"/>
                </a:lnTo>
                <a:cubicBezTo>
                  <a:pt x="2216203" y="1380661"/>
                  <a:pt x="2210247" y="1404708"/>
                  <a:pt x="2203591" y="1428240"/>
                </a:cubicBezTo>
                <a:close/>
                <a:moveTo>
                  <a:pt x="32081" y="1389486"/>
                </a:moveTo>
                <a:cubicBezTo>
                  <a:pt x="26253" y="1365733"/>
                  <a:pt x="21142" y="1341465"/>
                  <a:pt x="16914" y="1317382"/>
                </a:cubicBezTo>
                <a:lnTo>
                  <a:pt x="45447" y="1312363"/>
                </a:lnTo>
                <a:cubicBezTo>
                  <a:pt x="49583" y="1335821"/>
                  <a:pt x="54547" y="1359445"/>
                  <a:pt x="60228" y="1382592"/>
                </a:cubicBezTo>
                <a:lnTo>
                  <a:pt x="32081" y="1389486"/>
                </a:lnTo>
                <a:close/>
                <a:moveTo>
                  <a:pt x="147" y="1141515"/>
                </a:moveTo>
                <a:cubicBezTo>
                  <a:pt x="55" y="1135687"/>
                  <a:pt x="0" y="1129767"/>
                  <a:pt x="0" y="1123921"/>
                </a:cubicBezTo>
                <a:cubicBezTo>
                  <a:pt x="0" y="1119950"/>
                  <a:pt x="18" y="1115997"/>
                  <a:pt x="55" y="1112026"/>
                </a:cubicBezTo>
                <a:lnTo>
                  <a:pt x="29029" y="1112339"/>
                </a:lnTo>
                <a:cubicBezTo>
                  <a:pt x="28992" y="1116199"/>
                  <a:pt x="28974" y="1120060"/>
                  <a:pt x="28974" y="1123921"/>
                </a:cubicBezTo>
                <a:cubicBezTo>
                  <a:pt x="28974" y="1129620"/>
                  <a:pt x="29029" y="1135393"/>
                  <a:pt x="29103" y="1141074"/>
                </a:cubicBezTo>
                <a:lnTo>
                  <a:pt x="129" y="1141533"/>
                </a:lnTo>
                <a:close/>
                <a:moveTo>
                  <a:pt x="2246060" y="1134511"/>
                </a:moveTo>
                <a:lnTo>
                  <a:pt x="2217086" y="1134198"/>
                </a:lnTo>
                <a:cubicBezTo>
                  <a:pt x="2217122" y="1130190"/>
                  <a:pt x="2217159" y="1126182"/>
                  <a:pt x="2217159" y="1122174"/>
                </a:cubicBezTo>
                <a:cubicBezTo>
                  <a:pt x="2217159" y="1116659"/>
                  <a:pt x="2217122" y="1111033"/>
                  <a:pt x="2217030" y="1105463"/>
                </a:cubicBezTo>
                <a:lnTo>
                  <a:pt x="2246004" y="1105022"/>
                </a:lnTo>
                <a:cubicBezTo>
                  <a:pt x="2246096" y="1110739"/>
                  <a:pt x="2246133" y="1116512"/>
                  <a:pt x="2246133" y="1122174"/>
                </a:cubicBezTo>
                <a:cubicBezTo>
                  <a:pt x="2246133" y="1126293"/>
                  <a:pt x="2246115" y="1130392"/>
                  <a:pt x="2246060" y="1134511"/>
                </a:cubicBezTo>
                <a:close/>
                <a:moveTo>
                  <a:pt x="2200760" y="934156"/>
                </a:moveTo>
                <a:cubicBezTo>
                  <a:pt x="2196642" y="910697"/>
                  <a:pt x="2191678" y="887073"/>
                  <a:pt x="2186016" y="863927"/>
                </a:cubicBezTo>
                <a:lnTo>
                  <a:pt x="2214162" y="857033"/>
                </a:lnTo>
                <a:cubicBezTo>
                  <a:pt x="2219972" y="880804"/>
                  <a:pt x="2225083" y="905053"/>
                  <a:pt x="2229311" y="929137"/>
                </a:cubicBezTo>
                <a:lnTo>
                  <a:pt x="2200778" y="934156"/>
                </a:lnTo>
                <a:close/>
                <a:moveTo>
                  <a:pt x="53039" y="895824"/>
                </a:moveTo>
                <a:lnTo>
                  <a:pt x="24709" y="889794"/>
                </a:lnTo>
                <a:cubicBezTo>
                  <a:pt x="29801" y="865875"/>
                  <a:pt x="35758" y="841828"/>
                  <a:pt x="42395" y="818296"/>
                </a:cubicBezTo>
                <a:lnTo>
                  <a:pt x="70284" y="826165"/>
                </a:lnTo>
                <a:cubicBezTo>
                  <a:pt x="63813" y="849090"/>
                  <a:pt x="58003" y="872531"/>
                  <a:pt x="53039" y="895824"/>
                </a:cubicBezTo>
                <a:close/>
                <a:moveTo>
                  <a:pt x="129850" y="664712"/>
                </a:moveTo>
                <a:lnTo>
                  <a:pt x="103542" y="652596"/>
                </a:lnTo>
                <a:cubicBezTo>
                  <a:pt x="107623" y="643717"/>
                  <a:pt x="111888" y="634782"/>
                  <a:pt x="116209" y="626012"/>
                </a:cubicBezTo>
                <a:lnTo>
                  <a:pt x="142204" y="638826"/>
                </a:lnTo>
                <a:cubicBezTo>
                  <a:pt x="137994" y="647375"/>
                  <a:pt x="133840" y="656089"/>
                  <a:pt x="129850" y="664730"/>
                </a:cubicBezTo>
                <a:close/>
                <a:moveTo>
                  <a:pt x="2113378" y="658535"/>
                </a:moveTo>
                <a:cubicBezTo>
                  <a:pt x="2109573" y="650427"/>
                  <a:pt x="2105602" y="642246"/>
                  <a:pt x="2101594" y="634193"/>
                </a:cubicBezTo>
                <a:lnTo>
                  <a:pt x="2100840" y="632667"/>
                </a:lnTo>
                <a:lnTo>
                  <a:pt x="2126744" y="619688"/>
                </a:lnTo>
                <a:lnTo>
                  <a:pt x="2127498" y="621195"/>
                </a:lnTo>
                <a:cubicBezTo>
                  <a:pt x="2131634" y="629487"/>
                  <a:pt x="2135715" y="637889"/>
                  <a:pt x="2139613" y="646198"/>
                </a:cubicBezTo>
                <a:lnTo>
                  <a:pt x="2113378" y="658516"/>
                </a:lnTo>
                <a:close/>
                <a:moveTo>
                  <a:pt x="2011969" y="485334"/>
                </a:moveTo>
                <a:cubicBezTo>
                  <a:pt x="1998107" y="465956"/>
                  <a:pt x="1983418" y="446800"/>
                  <a:pt x="1968324" y="428397"/>
                </a:cubicBezTo>
                <a:lnTo>
                  <a:pt x="1990716" y="410012"/>
                </a:lnTo>
                <a:cubicBezTo>
                  <a:pt x="2006215" y="428912"/>
                  <a:pt x="2021290" y="448565"/>
                  <a:pt x="2035538" y="468475"/>
                </a:cubicBezTo>
                <a:lnTo>
                  <a:pt x="2011969" y="485334"/>
                </a:lnTo>
                <a:close/>
                <a:moveTo>
                  <a:pt x="257402" y="453951"/>
                </a:moveTo>
                <a:lnTo>
                  <a:pt x="234458" y="436247"/>
                </a:lnTo>
                <a:cubicBezTo>
                  <a:pt x="249405" y="416888"/>
                  <a:pt x="265179" y="397768"/>
                  <a:pt x="281357" y="379457"/>
                </a:cubicBezTo>
                <a:lnTo>
                  <a:pt x="303088" y="398632"/>
                </a:lnTo>
                <a:cubicBezTo>
                  <a:pt x="287332" y="416484"/>
                  <a:pt x="271963" y="435089"/>
                  <a:pt x="257402" y="453951"/>
                </a:cubicBezTo>
                <a:close/>
                <a:moveTo>
                  <a:pt x="426816" y="279096"/>
                </a:moveTo>
                <a:lnTo>
                  <a:pt x="408394" y="256722"/>
                </a:lnTo>
                <a:cubicBezTo>
                  <a:pt x="415951" y="250489"/>
                  <a:pt x="423690" y="244294"/>
                  <a:pt x="431394" y="238282"/>
                </a:cubicBezTo>
                <a:lnTo>
                  <a:pt x="449208" y="261134"/>
                </a:lnTo>
                <a:cubicBezTo>
                  <a:pt x="441707" y="266980"/>
                  <a:pt x="434170" y="273029"/>
                  <a:pt x="426816" y="279077"/>
                </a:cubicBezTo>
                <a:close/>
                <a:moveTo>
                  <a:pt x="1814022" y="274739"/>
                </a:moveTo>
                <a:cubicBezTo>
                  <a:pt x="1806650" y="268727"/>
                  <a:pt x="1799076" y="262752"/>
                  <a:pt x="1791557" y="256942"/>
                </a:cubicBezTo>
                <a:lnTo>
                  <a:pt x="1809243" y="233999"/>
                </a:lnTo>
                <a:cubicBezTo>
                  <a:pt x="1816964" y="239955"/>
                  <a:pt x="1824722" y="246096"/>
                  <a:pt x="1832315" y="252254"/>
                </a:cubicBezTo>
                <a:lnTo>
                  <a:pt x="1814022" y="274739"/>
                </a:lnTo>
                <a:close/>
                <a:moveTo>
                  <a:pt x="1647440" y="162997"/>
                </a:moveTo>
                <a:cubicBezTo>
                  <a:pt x="1626537" y="151599"/>
                  <a:pt x="1604972" y="140752"/>
                  <a:pt x="1583333" y="130733"/>
                </a:cubicBezTo>
                <a:lnTo>
                  <a:pt x="1595504" y="104443"/>
                </a:lnTo>
                <a:cubicBezTo>
                  <a:pt x="1617694" y="114720"/>
                  <a:pt x="1639829" y="125861"/>
                  <a:pt x="1661302" y="137553"/>
                </a:cubicBezTo>
                <a:lnTo>
                  <a:pt x="1647440" y="162997"/>
                </a:lnTo>
                <a:close/>
                <a:moveTo>
                  <a:pt x="633440" y="144907"/>
                </a:moveTo>
                <a:lnTo>
                  <a:pt x="620479" y="118985"/>
                </a:lnTo>
                <a:lnTo>
                  <a:pt x="621269" y="118599"/>
                </a:lnTo>
                <a:cubicBezTo>
                  <a:pt x="643184" y="107660"/>
                  <a:pt x="665705" y="97291"/>
                  <a:pt x="688189" y="87823"/>
                </a:cubicBezTo>
                <a:lnTo>
                  <a:pt x="699440" y="114517"/>
                </a:lnTo>
                <a:cubicBezTo>
                  <a:pt x="677526" y="123746"/>
                  <a:pt x="655575" y="133840"/>
                  <a:pt x="634212" y="144521"/>
                </a:cubicBezTo>
                <a:lnTo>
                  <a:pt x="633440" y="144907"/>
                </a:lnTo>
                <a:close/>
                <a:moveTo>
                  <a:pt x="862787" y="60375"/>
                </a:moveTo>
                <a:lnTo>
                  <a:pt x="855875" y="32247"/>
                </a:lnTo>
                <a:cubicBezTo>
                  <a:pt x="865361" y="29912"/>
                  <a:pt x="875031" y="27669"/>
                  <a:pt x="884591" y="25591"/>
                </a:cubicBezTo>
                <a:lnTo>
                  <a:pt x="890768" y="53903"/>
                </a:lnTo>
                <a:cubicBezTo>
                  <a:pt x="881447" y="55926"/>
                  <a:pt x="872035" y="58114"/>
                  <a:pt x="862806" y="60393"/>
                </a:cubicBezTo>
                <a:close/>
                <a:moveTo>
                  <a:pt x="1377573" y="59217"/>
                </a:moveTo>
                <a:cubicBezTo>
                  <a:pt x="1368326" y="56992"/>
                  <a:pt x="1358894" y="54860"/>
                  <a:pt x="1349555" y="52892"/>
                </a:cubicBezTo>
                <a:lnTo>
                  <a:pt x="1355567" y="24543"/>
                </a:lnTo>
                <a:cubicBezTo>
                  <a:pt x="1365145" y="26584"/>
                  <a:pt x="1374834" y="28772"/>
                  <a:pt x="1384320" y="31051"/>
                </a:cubicBezTo>
                <a:lnTo>
                  <a:pt x="1377555" y="59235"/>
                </a:lnTo>
                <a:close/>
                <a:moveTo>
                  <a:pt x="1178928" y="30445"/>
                </a:moveTo>
                <a:cubicBezTo>
                  <a:pt x="1160121" y="29470"/>
                  <a:pt x="1141019" y="28974"/>
                  <a:pt x="1122193" y="28974"/>
                </a:cubicBezTo>
                <a:cubicBezTo>
                  <a:pt x="1117174" y="28974"/>
                  <a:pt x="1112119" y="29011"/>
                  <a:pt x="1107155" y="29084"/>
                </a:cubicBezTo>
                <a:lnTo>
                  <a:pt x="1106750" y="110"/>
                </a:lnTo>
                <a:cubicBezTo>
                  <a:pt x="1111843" y="37"/>
                  <a:pt x="1117027" y="0"/>
                  <a:pt x="1122175" y="0"/>
                </a:cubicBezTo>
                <a:cubicBezTo>
                  <a:pt x="1141515" y="0"/>
                  <a:pt x="1161113" y="515"/>
                  <a:pt x="1180417" y="1508"/>
                </a:cubicBezTo>
                <a:lnTo>
                  <a:pt x="1178910" y="30445"/>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2" name="Freeform: Shape 31">
            <a:extLst>
              <a:ext uri="{FF2B5EF4-FFF2-40B4-BE49-F238E27FC236}">
                <a16:creationId xmlns:a16="http://schemas.microsoft.com/office/drawing/2014/main" id="{DFC0397A-6128-B96C-3A1F-6F9783966BA1}"/>
              </a:ext>
            </a:extLst>
          </p:cNvPr>
          <p:cNvSpPr/>
          <p:nvPr/>
        </p:nvSpPr>
        <p:spPr>
          <a:xfrm>
            <a:off x="2607886" y="5310644"/>
            <a:ext cx="118249" cy="73887"/>
          </a:xfrm>
          <a:custGeom>
            <a:avLst/>
            <a:gdLst>
              <a:gd name="connsiteX0" fmla="*/ 7942 w 118249"/>
              <a:gd name="connsiteY0" fmla="*/ 73887 h 73887"/>
              <a:gd name="connsiteX1" fmla="*/ 0 w 118249"/>
              <a:gd name="connsiteY1" fmla="*/ 19892 h 73887"/>
              <a:gd name="connsiteX2" fmla="*/ 106116 w 118249"/>
              <a:gd name="connsiteY2" fmla="*/ 0 h 73887"/>
              <a:gd name="connsiteX3" fmla="*/ 118250 w 118249"/>
              <a:gd name="connsiteY3" fmla="*/ 53205 h 73887"/>
              <a:gd name="connsiteX4" fmla="*/ 7942 w 118249"/>
              <a:gd name="connsiteY4" fmla="*/ 73869 h 73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87">
                <a:moveTo>
                  <a:pt x="7942" y="73887"/>
                </a:moveTo>
                <a:lnTo>
                  <a:pt x="0" y="19892"/>
                </a:lnTo>
                <a:cubicBezTo>
                  <a:pt x="35445" y="14671"/>
                  <a:pt x="71148" y="7979"/>
                  <a:pt x="106116" y="0"/>
                </a:cubicBezTo>
                <a:lnTo>
                  <a:pt x="118250" y="53205"/>
                </a:lnTo>
                <a:cubicBezTo>
                  <a:pt x="81903" y="61496"/>
                  <a:pt x="44785" y="68446"/>
                  <a:pt x="7942" y="7386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3" name="Freeform: Shape 32">
            <a:extLst>
              <a:ext uri="{FF2B5EF4-FFF2-40B4-BE49-F238E27FC236}">
                <a16:creationId xmlns:a16="http://schemas.microsoft.com/office/drawing/2014/main" id="{4A3EC7C4-77A1-CA25-5D4A-6470B37A626E}"/>
              </a:ext>
            </a:extLst>
          </p:cNvPr>
          <p:cNvSpPr/>
          <p:nvPr/>
        </p:nvSpPr>
        <p:spPr>
          <a:xfrm>
            <a:off x="2818279" y="5246372"/>
            <a:ext cx="121999" cy="88264"/>
          </a:xfrm>
          <a:custGeom>
            <a:avLst/>
            <a:gdLst>
              <a:gd name="connsiteX0" fmla="*/ 16252 w 121999"/>
              <a:gd name="connsiteY0" fmla="*/ 88264 h 88264"/>
              <a:gd name="connsiteX1" fmla="*/ 0 w 121999"/>
              <a:gd name="connsiteY1" fmla="*/ 36162 h 88264"/>
              <a:gd name="connsiteX2" fmla="*/ 101740 w 121999"/>
              <a:gd name="connsiteY2" fmla="*/ 0 h 88264"/>
              <a:gd name="connsiteX3" fmla="*/ 122000 w 121999"/>
              <a:gd name="connsiteY3" fmla="*/ 50668 h 88264"/>
              <a:gd name="connsiteX4" fmla="*/ 16233 w 121999"/>
              <a:gd name="connsiteY4" fmla="*/ 88246 h 88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9" h="88264">
                <a:moveTo>
                  <a:pt x="16252" y="88264"/>
                </a:moveTo>
                <a:lnTo>
                  <a:pt x="0" y="36162"/>
                </a:lnTo>
                <a:cubicBezTo>
                  <a:pt x="34214" y="25499"/>
                  <a:pt x="68446" y="13329"/>
                  <a:pt x="101740" y="0"/>
                </a:cubicBezTo>
                <a:lnTo>
                  <a:pt x="122000" y="50668"/>
                </a:lnTo>
                <a:cubicBezTo>
                  <a:pt x="87382" y="64511"/>
                  <a:pt x="51789" y="77160"/>
                  <a:pt x="16233" y="8824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4" name="Freeform: Shape 33">
            <a:extLst>
              <a:ext uri="{FF2B5EF4-FFF2-40B4-BE49-F238E27FC236}">
                <a16:creationId xmlns:a16="http://schemas.microsoft.com/office/drawing/2014/main" id="{1CE134DD-EF99-7428-6A96-3146284309F3}"/>
              </a:ext>
            </a:extLst>
          </p:cNvPr>
          <p:cNvSpPr/>
          <p:nvPr/>
        </p:nvSpPr>
        <p:spPr>
          <a:xfrm>
            <a:off x="1744915" y="5188313"/>
            <a:ext cx="122845" cy="96555"/>
          </a:xfrm>
          <a:custGeom>
            <a:avLst/>
            <a:gdLst>
              <a:gd name="connsiteX0" fmla="*/ 101336 w 122845"/>
              <a:gd name="connsiteY0" fmla="*/ 96556 h 96555"/>
              <a:gd name="connsiteX1" fmla="*/ 0 w 122845"/>
              <a:gd name="connsiteY1" fmla="*/ 48315 h 96555"/>
              <a:gd name="connsiteX2" fmla="*/ 25371 w 122845"/>
              <a:gd name="connsiteY2" fmla="*/ 0 h 96555"/>
              <a:gd name="connsiteX3" fmla="*/ 122846 w 122845"/>
              <a:gd name="connsiteY3" fmla="*/ 46384 h 96555"/>
              <a:gd name="connsiteX4" fmla="*/ 101336 w 122845"/>
              <a:gd name="connsiteY4" fmla="*/ 96537 h 9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45" h="96555">
                <a:moveTo>
                  <a:pt x="101336" y="96556"/>
                </a:moveTo>
                <a:cubicBezTo>
                  <a:pt x="67122" y="81885"/>
                  <a:pt x="33019" y="65651"/>
                  <a:pt x="0" y="48315"/>
                </a:cubicBezTo>
                <a:lnTo>
                  <a:pt x="25371" y="0"/>
                </a:lnTo>
                <a:cubicBezTo>
                  <a:pt x="57139" y="16675"/>
                  <a:pt x="89919" y="32283"/>
                  <a:pt x="122846" y="46384"/>
                </a:cubicBezTo>
                <a:lnTo>
                  <a:pt x="101336" y="96537"/>
                </a:lnTo>
                <a:close/>
              </a:path>
            </a:pathLst>
          </a:custGeom>
          <a:solidFill>
            <a:srgbClr val="43B1E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5" name="Freeform: Shape 34">
            <a:extLst>
              <a:ext uri="{FF2B5EF4-FFF2-40B4-BE49-F238E27FC236}">
                <a16:creationId xmlns:a16="http://schemas.microsoft.com/office/drawing/2014/main" id="{DEE9C311-0348-3084-7D60-C440B39EA558}"/>
              </a:ext>
            </a:extLst>
          </p:cNvPr>
          <p:cNvSpPr/>
          <p:nvPr/>
        </p:nvSpPr>
        <p:spPr>
          <a:xfrm>
            <a:off x="3018634" y="5150772"/>
            <a:ext cx="122808" cy="100544"/>
          </a:xfrm>
          <a:custGeom>
            <a:avLst/>
            <a:gdLst>
              <a:gd name="connsiteX0" fmla="*/ 24176 w 122808"/>
              <a:gd name="connsiteY0" fmla="*/ 100527 h 100544"/>
              <a:gd name="connsiteX1" fmla="*/ 0 w 122808"/>
              <a:gd name="connsiteY1" fmla="*/ 51605 h 100544"/>
              <a:gd name="connsiteX2" fmla="*/ 94864 w 122808"/>
              <a:gd name="connsiteY2" fmla="*/ 0 h 100544"/>
              <a:gd name="connsiteX3" fmla="*/ 122809 w 122808"/>
              <a:gd name="connsiteY3" fmla="*/ 46881 h 100544"/>
              <a:gd name="connsiteX4" fmla="*/ 24176 w 122808"/>
              <a:gd name="connsiteY4" fmla="*/ 100545 h 100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44">
                <a:moveTo>
                  <a:pt x="24176" y="100527"/>
                </a:moveTo>
                <a:lnTo>
                  <a:pt x="0" y="51605"/>
                </a:lnTo>
                <a:cubicBezTo>
                  <a:pt x="32173" y="35721"/>
                  <a:pt x="64089" y="18348"/>
                  <a:pt x="94864" y="0"/>
                </a:cubicBezTo>
                <a:lnTo>
                  <a:pt x="122809" y="46881"/>
                </a:lnTo>
                <a:cubicBezTo>
                  <a:pt x="90801" y="65964"/>
                  <a:pt x="57617" y="84017"/>
                  <a:pt x="24176" y="100545"/>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6" name="Freeform: Shape 35">
            <a:extLst>
              <a:ext uri="{FF2B5EF4-FFF2-40B4-BE49-F238E27FC236}">
                <a16:creationId xmlns:a16="http://schemas.microsoft.com/office/drawing/2014/main" id="{D4A27409-41A5-9707-5C0C-7B7A637B8C30}"/>
              </a:ext>
            </a:extLst>
          </p:cNvPr>
          <p:cNvSpPr/>
          <p:nvPr/>
        </p:nvSpPr>
        <p:spPr>
          <a:xfrm>
            <a:off x="1554984" y="5073483"/>
            <a:ext cx="121742" cy="107126"/>
          </a:xfrm>
          <a:custGeom>
            <a:avLst/>
            <a:gdLst>
              <a:gd name="connsiteX0" fmla="*/ 92603 w 121742"/>
              <a:gd name="connsiteY0" fmla="*/ 107127 h 107126"/>
              <a:gd name="connsiteX1" fmla="*/ 92051 w 121742"/>
              <a:gd name="connsiteY1" fmla="*/ 106777 h 107126"/>
              <a:gd name="connsiteX2" fmla="*/ 0 w 121742"/>
              <a:gd name="connsiteY2" fmla="*/ 43829 h 107126"/>
              <a:gd name="connsiteX3" fmla="*/ 32522 w 121742"/>
              <a:gd name="connsiteY3" fmla="*/ 0 h 107126"/>
              <a:gd name="connsiteX4" fmla="*/ 120934 w 121742"/>
              <a:gd name="connsiteY4" fmla="*/ 60467 h 107126"/>
              <a:gd name="connsiteX5" fmla="*/ 121743 w 121742"/>
              <a:gd name="connsiteY5" fmla="*/ 60982 h 107126"/>
              <a:gd name="connsiteX6" fmla="*/ 92603 w 121742"/>
              <a:gd name="connsiteY6"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42" h="107126">
                <a:moveTo>
                  <a:pt x="92603" y="107127"/>
                </a:moveTo>
                <a:lnTo>
                  <a:pt x="92051" y="106777"/>
                </a:lnTo>
                <a:cubicBezTo>
                  <a:pt x="60504" y="86922"/>
                  <a:pt x="29599" y="65798"/>
                  <a:pt x="0" y="43829"/>
                </a:cubicBezTo>
                <a:lnTo>
                  <a:pt x="32522" y="0"/>
                </a:lnTo>
                <a:cubicBezTo>
                  <a:pt x="60982" y="21124"/>
                  <a:pt x="90728" y="41475"/>
                  <a:pt x="120934" y="60467"/>
                </a:cubicBezTo>
                <a:lnTo>
                  <a:pt x="121743" y="60982"/>
                </a:lnTo>
                <a:lnTo>
                  <a:pt x="92603" y="107127"/>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7" name="Freeform: Shape 36">
            <a:extLst>
              <a:ext uri="{FF2B5EF4-FFF2-40B4-BE49-F238E27FC236}">
                <a16:creationId xmlns:a16="http://schemas.microsoft.com/office/drawing/2014/main" id="{D4A43AAC-06C6-FE93-58B7-950CE21AF4D1}"/>
              </a:ext>
            </a:extLst>
          </p:cNvPr>
          <p:cNvSpPr/>
          <p:nvPr/>
        </p:nvSpPr>
        <p:spPr>
          <a:xfrm>
            <a:off x="3204005" y="5025959"/>
            <a:ext cx="120547" cy="110417"/>
          </a:xfrm>
          <a:custGeom>
            <a:avLst/>
            <a:gdLst>
              <a:gd name="connsiteX0" fmla="*/ 31566 w 120547"/>
              <a:gd name="connsiteY0" fmla="*/ 110417 h 110417"/>
              <a:gd name="connsiteX1" fmla="*/ 0 w 120547"/>
              <a:gd name="connsiteY1" fmla="*/ 65890 h 110417"/>
              <a:gd name="connsiteX2" fmla="*/ 85562 w 120547"/>
              <a:gd name="connsiteY2" fmla="*/ 0 h 110417"/>
              <a:gd name="connsiteX3" fmla="*/ 120548 w 120547"/>
              <a:gd name="connsiteY3" fmla="*/ 41898 h 110417"/>
              <a:gd name="connsiteX4" fmla="*/ 31566 w 120547"/>
              <a:gd name="connsiteY4" fmla="*/ 110417 h 110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47" h="110417">
                <a:moveTo>
                  <a:pt x="31566" y="110417"/>
                </a:moveTo>
                <a:lnTo>
                  <a:pt x="0" y="65890"/>
                </a:lnTo>
                <a:cubicBezTo>
                  <a:pt x="29268" y="45152"/>
                  <a:pt x="58059" y="22981"/>
                  <a:pt x="85562" y="0"/>
                </a:cubicBezTo>
                <a:lnTo>
                  <a:pt x="120548" y="41898"/>
                </a:lnTo>
                <a:cubicBezTo>
                  <a:pt x="91941" y="65780"/>
                  <a:pt x="62011" y="88834"/>
                  <a:pt x="31566" y="110417"/>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39" name="Freeform: Shape 38">
            <a:extLst>
              <a:ext uri="{FF2B5EF4-FFF2-40B4-BE49-F238E27FC236}">
                <a16:creationId xmlns:a16="http://schemas.microsoft.com/office/drawing/2014/main" id="{15B6FCAA-68FE-4E7E-DC43-1C717AF9FD16}"/>
              </a:ext>
            </a:extLst>
          </p:cNvPr>
          <p:cNvSpPr/>
          <p:nvPr/>
        </p:nvSpPr>
        <p:spPr>
          <a:xfrm>
            <a:off x="1241932" y="4766094"/>
            <a:ext cx="110417" cy="120528"/>
          </a:xfrm>
          <a:custGeom>
            <a:avLst/>
            <a:gdLst>
              <a:gd name="connsiteX0" fmla="*/ 68538 w 110417"/>
              <a:gd name="connsiteY0" fmla="*/ 120529 h 120528"/>
              <a:gd name="connsiteX1" fmla="*/ 0 w 110417"/>
              <a:gd name="connsiteY1" fmla="*/ 31566 h 120528"/>
              <a:gd name="connsiteX2" fmla="*/ 44509 w 110417"/>
              <a:gd name="connsiteY2" fmla="*/ 0 h 120528"/>
              <a:gd name="connsiteX3" fmla="*/ 110418 w 110417"/>
              <a:gd name="connsiteY3" fmla="*/ 85543 h 120528"/>
              <a:gd name="connsiteX4" fmla="*/ 68538 w 110417"/>
              <a:gd name="connsiteY4" fmla="*/ 120529 h 120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7" h="120528">
                <a:moveTo>
                  <a:pt x="68538" y="120529"/>
                </a:moveTo>
                <a:cubicBezTo>
                  <a:pt x="44638" y="91923"/>
                  <a:pt x="21583" y="61993"/>
                  <a:pt x="0" y="31566"/>
                </a:cubicBezTo>
                <a:lnTo>
                  <a:pt x="44509" y="0"/>
                </a:lnTo>
                <a:cubicBezTo>
                  <a:pt x="65265" y="29268"/>
                  <a:pt x="87437" y="58040"/>
                  <a:pt x="110418" y="85543"/>
                </a:cubicBezTo>
                <a:lnTo>
                  <a:pt x="68538" y="120529"/>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0" name="Freeform: Shape 39">
            <a:extLst>
              <a:ext uri="{FF2B5EF4-FFF2-40B4-BE49-F238E27FC236}">
                <a16:creationId xmlns:a16="http://schemas.microsoft.com/office/drawing/2014/main" id="{F1A750CB-FD32-1A0D-0ADF-92A6776363C2}"/>
              </a:ext>
            </a:extLst>
          </p:cNvPr>
          <p:cNvSpPr/>
          <p:nvPr/>
        </p:nvSpPr>
        <p:spPr>
          <a:xfrm>
            <a:off x="3511487" y="4702208"/>
            <a:ext cx="107200" cy="121172"/>
          </a:xfrm>
          <a:custGeom>
            <a:avLst/>
            <a:gdLst>
              <a:gd name="connsiteX0" fmla="*/ 43811 w 107200"/>
              <a:gd name="connsiteY0" fmla="*/ 121172 h 121172"/>
              <a:gd name="connsiteX1" fmla="*/ 0 w 107200"/>
              <a:gd name="connsiteY1" fmla="*/ 88650 h 121172"/>
              <a:gd name="connsiteX2" fmla="*/ 60651 w 107200"/>
              <a:gd name="connsiteY2" fmla="*/ 0 h 121172"/>
              <a:gd name="connsiteX3" fmla="*/ 107200 w 107200"/>
              <a:gd name="connsiteY3" fmla="*/ 28478 h 121172"/>
              <a:gd name="connsiteX4" fmla="*/ 106667 w 107200"/>
              <a:gd name="connsiteY4" fmla="*/ 29323 h 121172"/>
              <a:gd name="connsiteX5" fmla="*/ 43811 w 107200"/>
              <a:gd name="connsiteY5" fmla="*/ 121172 h 12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00" h="121172">
                <a:moveTo>
                  <a:pt x="43811" y="121172"/>
                </a:moveTo>
                <a:lnTo>
                  <a:pt x="0" y="88650"/>
                </a:lnTo>
                <a:cubicBezTo>
                  <a:pt x="21179" y="60117"/>
                  <a:pt x="41586" y="30298"/>
                  <a:pt x="60651" y="0"/>
                </a:cubicBezTo>
                <a:lnTo>
                  <a:pt x="107200" y="28478"/>
                </a:lnTo>
                <a:lnTo>
                  <a:pt x="106667" y="29323"/>
                </a:lnTo>
                <a:cubicBezTo>
                  <a:pt x="87033" y="60540"/>
                  <a:pt x="65835" y="91537"/>
                  <a:pt x="43811" y="12117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1" name="Freeform: Shape 40">
            <a:extLst>
              <a:ext uri="{FF2B5EF4-FFF2-40B4-BE49-F238E27FC236}">
                <a16:creationId xmlns:a16="http://schemas.microsoft.com/office/drawing/2014/main" id="{2101CBD9-176D-5901-858F-E548E5AEC3B0}"/>
              </a:ext>
            </a:extLst>
          </p:cNvPr>
          <p:cNvSpPr/>
          <p:nvPr/>
        </p:nvSpPr>
        <p:spPr>
          <a:xfrm>
            <a:off x="993630" y="4170012"/>
            <a:ext cx="73905" cy="118267"/>
          </a:xfrm>
          <a:custGeom>
            <a:avLst/>
            <a:gdLst>
              <a:gd name="connsiteX0" fmla="*/ 20701 w 73905"/>
              <a:gd name="connsiteY0" fmla="*/ 118268 h 118267"/>
              <a:gd name="connsiteX1" fmla="*/ 0 w 73905"/>
              <a:gd name="connsiteY1" fmla="*/ 7960 h 118267"/>
              <a:gd name="connsiteX2" fmla="*/ 53995 w 73905"/>
              <a:gd name="connsiteY2" fmla="*/ 0 h 118267"/>
              <a:gd name="connsiteX3" fmla="*/ 73906 w 73905"/>
              <a:gd name="connsiteY3" fmla="*/ 106116 h 118267"/>
              <a:gd name="connsiteX4" fmla="*/ 20701 w 73905"/>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05" h="118267">
                <a:moveTo>
                  <a:pt x="20701" y="118268"/>
                </a:moveTo>
                <a:cubicBezTo>
                  <a:pt x="12410" y="81922"/>
                  <a:pt x="5442" y="44803"/>
                  <a:pt x="0" y="7960"/>
                </a:cubicBezTo>
                <a:lnTo>
                  <a:pt x="53995" y="0"/>
                </a:lnTo>
                <a:cubicBezTo>
                  <a:pt x="59217" y="35445"/>
                  <a:pt x="65927" y="71148"/>
                  <a:pt x="73906" y="106116"/>
                </a:cubicBezTo>
                <a:lnTo>
                  <a:pt x="20701"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2" name="Freeform: Shape 41">
            <a:extLst>
              <a:ext uri="{FF2B5EF4-FFF2-40B4-BE49-F238E27FC236}">
                <a16:creationId xmlns:a16="http://schemas.microsoft.com/office/drawing/2014/main" id="{92AEE38C-4645-9FE0-C245-D123F3E6F947}"/>
              </a:ext>
            </a:extLst>
          </p:cNvPr>
          <p:cNvSpPr/>
          <p:nvPr/>
        </p:nvSpPr>
        <p:spPr>
          <a:xfrm>
            <a:off x="978242" y="3954195"/>
            <a:ext cx="57782" cy="112182"/>
          </a:xfrm>
          <a:custGeom>
            <a:avLst/>
            <a:gdLst>
              <a:gd name="connsiteX0" fmla="*/ 3346 w 57782"/>
              <a:gd name="connsiteY0" fmla="*/ 112183 h 112182"/>
              <a:gd name="connsiteX1" fmla="*/ 0 w 57782"/>
              <a:gd name="connsiteY1" fmla="*/ 14450 h 112182"/>
              <a:gd name="connsiteX2" fmla="*/ 74 w 57782"/>
              <a:gd name="connsiteY2" fmla="*/ 0 h 112182"/>
              <a:gd name="connsiteX3" fmla="*/ 54639 w 57782"/>
              <a:gd name="connsiteY3" fmla="*/ 552 h 112182"/>
              <a:gd name="connsiteX4" fmla="*/ 54565 w 57782"/>
              <a:gd name="connsiteY4" fmla="*/ 14450 h 112182"/>
              <a:gd name="connsiteX5" fmla="*/ 57783 w 57782"/>
              <a:gd name="connsiteY5" fmla="*/ 108469 h 112182"/>
              <a:gd name="connsiteX6" fmla="*/ 3328 w 57782"/>
              <a:gd name="connsiteY6" fmla="*/ 112183 h 11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82" h="112182">
                <a:moveTo>
                  <a:pt x="3346" y="112183"/>
                </a:moveTo>
                <a:cubicBezTo>
                  <a:pt x="1121" y="79771"/>
                  <a:pt x="0" y="46881"/>
                  <a:pt x="0" y="14450"/>
                </a:cubicBezTo>
                <a:cubicBezTo>
                  <a:pt x="0" y="9633"/>
                  <a:pt x="18" y="4817"/>
                  <a:pt x="74" y="0"/>
                </a:cubicBezTo>
                <a:lnTo>
                  <a:pt x="54639" y="552"/>
                </a:lnTo>
                <a:cubicBezTo>
                  <a:pt x="54602" y="5184"/>
                  <a:pt x="54565" y="9817"/>
                  <a:pt x="54565" y="14450"/>
                </a:cubicBezTo>
                <a:cubicBezTo>
                  <a:pt x="54565" y="45649"/>
                  <a:pt x="55650" y="77289"/>
                  <a:pt x="57783" y="108469"/>
                </a:cubicBezTo>
                <a:lnTo>
                  <a:pt x="3328" y="112183"/>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3" name="Freeform: Shape 42">
            <a:extLst>
              <a:ext uri="{FF2B5EF4-FFF2-40B4-BE49-F238E27FC236}">
                <a16:creationId xmlns:a16="http://schemas.microsoft.com/office/drawing/2014/main" id="{A2BF91E0-3E84-4A3C-0F9E-251C6A8157EF}"/>
              </a:ext>
            </a:extLst>
          </p:cNvPr>
          <p:cNvSpPr/>
          <p:nvPr/>
        </p:nvSpPr>
        <p:spPr>
          <a:xfrm>
            <a:off x="3780287" y="3874186"/>
            <a:ext cx="57727" cy="112200"/>
          </a:xfrm>
          <a:custGeom>
            <a:avLst/>
            <a:gdLst>
              <a:gd name="connsiteX0" fmla="*/ 57654 w 57727"/>
              <a:gd name="connsiteY0" fmla="*/ 112201 h 112200"/>
              <a:gd name="connsiteX1" fmla="*/ 3088 w 57727"/>
              <a:gd name="connsiteY1" fmla="*/ 111613 h 112200"/>
              <a:gd name="connsiteX2" fmla="*/ 3162 w 57727"/>
              <a:gd name="connsiteY2" fmla="*/ 97107 h 112200"/>
              <a:gd name="connsiteX3" fmla="*/ 0 w 57727"/>
              <a:gd name="connsiteY3" fmla="*/ 3695 h 112200"/>
              <a:gd name="connsiteX4" fmla="*/ 54437 w 57727"/>
              <a:gd name="connsiteY4" fmla="*/ 0 h 112200"/>
              <a:gd name="connsiteX5" fmla="*/ 57728 w 57727"/>
              <a:gd name="connsiteY5" fmla="*/ 97126 h 112200"/>
              <a:gd name="connsiteX6" fmla="*/ 57654 w 57727"/>
              <a:gd name="connsiteY6" fmla="*/ 112201 h 11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7" h="112200">
                <a:moveTo>
                  <a:pt x="57654" y="112201"/>
                </a:moveTo>
                <a:lnTo>
                  <a:pt x="3088" y="111613"/>
                </a:lnTo>
                <a:cubicBezTo>
                  <a:pt x="3144" y="106777"/>
                  <a:pt x="3162" y="101942"/>
                  <a:pt x="3162" y="97107"/>
                </a:cubicBezTo>
                <a:cubicBezTo>
                  <a:pt x="3162" y="66074"/>
                  <a:pt x="2096" y="34655"/>
                  <a:pt x="0" y="3695"/>
                </a:cubicBezTo>
                <a:lnTo>
                  <a:pt x="54437" y="0"/>
                </a:lnTo>
                <a:cubicBezTo>
                  <a:pt x="56624" y="32191"/>
                  <a:pt x="57728" y="64861"/>
                  <a:pt x="57728" y="97126"/>
                </a:cubicBezTo>
                <a:cubicBezTo>
                  <a:pt x="57728" y="102145"/>
                  <a:pt x="57709" y="107182"/>
                  <a:pt x="57654" y="112201"/>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4" name="Freeform: Shape 43">
            <a:extLst>
              <a:ext uri="{FF2B5EF4-FFF2-40B4-BE49-F238E27FC236}">
                <a16:creationId xmlns:a16="http://schemas.microsoft.com/office/drawing/2014/main" id="{5239F002-F789-E502-6856-C043FB313F79}"/>
              </a:ext>
            </a:extLst>
          </p:cNvPr>
          <p:cNvSpPr/>
          <p:nvPr/>
        </p:nvSpPr>
        <p:spPr>
          <a:xfrm>
            <a:off x="3748886" y="3652266"/>
            <a:ext cx="73850" cy="118267"/>
          </a:xfrm>
          <a:custGeom>
            <a:avLst/>
            <a:gdLst>
              <a:gd name="connsiteX0" fmla="*/ 19874 w 73850"/>
              <a:gd name="connsiteY0" fmla="*/ 118268 h 118267"/>
              <a:gd name="connsiteX1" fmla="*/ 0 w 73850"/>
              <a:gd name="connsiteY1" fmla="*/ 12134 h 118267"/>
              <a:gd name="connsiteX2" fmla="*/ 53205 w 73850"/>
              <a:gd name="connsiteY2" fmla="*/ 0 h 118267"/>
              <a:gd name="connsiteX3" fmla="*/ 73851 w 73850"/>
              <a:gd name="connsiteY3" fmla="*/ 110326 h 118267"/>
              <a:gd name="connsiteX4" fmla="*/ 19855 w 73850"/>
              <a:gd name="connsiteY4" fmla="*/ 118268 h 11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0" h="118267">
                <a:moveTo>
                  <a:pt x="19874" y="118268"/>
                </a:moveTo>
                <a:cubicBezTo>
                  <a:pt x="14653" y="82786"/>
                  <a:pt x="7961" y="47083"/>
                  <a:pt x="0" y="12134"/>
                </a:cubicBezTo>
                <a:lnTo>
                  <a:pt x="53205" y="0"/>
                </a:lnTo>
                <a:cubicBezTo>
                  <a:pt x="61478" y="36328"/>
                  <a:pt x="68427" y="73446"/>
                  <a:pt x="73851" y="110326"/>
                </a:cubicBezTo>
                <a:lnTo>
                  <a:pt x="19855" y="11826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5" name="Freeform: Shape 44">
            <a:extLst>
              <a:ext uri="{FF2B5EF4-FFF2-40B4-BE49-F238E27FC236}">
                <a16:creationId xmlns:a16="http://schemas.microsoft.com/office/drawing/2014/main" id="{DF805FFF-4133-EB04-1A56-BAE6A302F4A8}"/>
              </a:ext>
            </a:extLst>
          </p:cNvPr>
          <p:cNvSpPr/>
          <p:nvPr/>
        </p:nvSpPr>
        <p:spPr>
          <a:xfrm>
            <a:off x="1021317" y="3513205"/>
            <a:ext cx="83410" cy="121025"/>
          </a:xfrm>
          <a:custGeom>
            <a:avLst/>
            <a:gdLst>
              <a:gd name="connsiteX0" fmla="*/ 52929 w 83410"/>
              <a:gd name="connsiteY0" fmla="*/ 121007 h 121025"/>
              <a:gd name="connsiteX1" fmla="*/ 0 w 83410"/>
              <a:gd name="connsiteY1" fmla="*/ 107678 h 121025"/>
              <a:gd name="connsiteX2" fmla="*/ 31713 w 83410"/>
              <a:gd name="connsiteY2" fmla="*/ 0 h 121025"/>
              <a:gd name="connsiteX3" fmla="*/ 83411 w 83410"/>
              <a:gd name="connsiteY3" fmla="*/ 17484 h 121025"/>
              <a:gd name="connsiteX4" fmla="*/ 52929 w 83410"/>
              <a:gd name="connsiteY4" fmla="*/ 121026 h 12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121025">
                <a:moveTo>
                  <a:pt x="52929" y="121007"/>
                </a:moveTo>
                <a:lnTo>
                  <a:pt x="0" y="107678"/>
                </a:lnTo>
                <a:cubicBezTo>
                  <a:pt x="9100" y="71534"/>
                  <a:pt x="19782" y="35317"/>
                  <a:pt x="31713" y="0"/>
                </a:cubicBezTo>
                <a:lnTo>
                  <a:pt x="83411" y="17484"/>
                </a:lnTo>
                <a:cubicBezTo>
                  <a:pt x="71939" y="51440"/>
                  <a:pt x="61680" y="86279"/>
                  <a:pt x="52929" y="121026"/>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6" name="Freeform: Shape 45">
            <a:extLst>
              <a:ext uri="{FF2B5EF4-FFF2-40B4-BE49-F238E27FC236}">
                <a16:creationId xmlns:a16="http://schemas.microsoft.com/office/drawing/2014/main" id="{5C97F843-6D8D-2ED6-5D11-6D9E19AE9160}"/>
              </a:ext>
            </a:extLst>
          </p:cNvPr>
          <p:cNvSpPr/>
          <p:nvPr/>
        </p:nvSpPr>
        <p:spPr>
          <a:xfrm>
            <a:off x="3684669" y="3438123"/>
            <a:ext cx="88227" cy="122018"/>
          </a:xfrm>
          <a:custGeom>
            <a:avLst/>
            <a:gdLst>
              <a:gd name="connsiteX0" fmla="*/ 36126 w 88227"/>
              <a:gd name="connsiteY0" fmla="*/ 122018 h 122018"/>
              <a:gd name="connsiteX1" fmla="*/ 0 w 88227"/>
              <a:gd name="connsiteY1" fmla="*/ 20260 h 122018"/>
              <a:gd name="connsiteX2" fmla="*/ 50668 w 88227"/>
              <a:gd name="connsiteY2" fmla="*/ 0 h 122018"/>
              <a:gd name="connsiteX3" fmla="*/ 88227 w 88227"/>
              <a:gd name="connsiteY3" fmla="*/ 105785 h 122018"/>
              <a:gd name="connsiteX4" fmla="*/ 36126 w 88227"/>
              <a:gd name="connsiteY4" fmla="*/ 122018 h 122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 h="122018">
                <a:moveTo>
                  <a:pt x="36126" y="122018"/>
                </a:moveTo>
                <a:cubicBezTo>
                  <a:pt x="25463" y="87786"/>
                  <a:pt x="13292" y="53554"/>
                  <a:pt x="0" y="20260"/>
                </a:cubicBezTo>
                <a:lnTo>
                  <a:pt x="50668" y="0"/>
                </a:lnTo>
                <a:cubicBezTo>
                  <a:pt x="64511" y="34600"/>
                  <a:pt x="77142" y="70192"/>
                  <a:pt x="88227" y="105785"/>
                </a:cubicBezTo>
                <a:lnTo>
                  <a:pt x="36126" y="122018"/>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7" name="Freeform: Shape 46">
            <a:extLst>
              <a:ext uri="{FF2B5EF4-FFF2-40B4-BE49-F238E27FC236}">
                <a16:creationId xmlns:a16="http://schemas.microsoft.com/office/drawing/2014/main" id="{4CA65399-C971-4B97-9635-A07F865F1C1E}"/>
              </a:ext>
            </a:extLst>
          </p:cNvPr>
          <p:cNvSpPr/>
          <p:nvPr/>
        </p:nvSpPr>
        <p:spPr>
          <a:xfrm>
            <a:off x="3464331" y="3053812"/>
            <a:ext cx="110399" cy="120547"/>
          </a:xfrm>
          <a:custGeom>
            <a:avLst/>
            <a:gdLst>
              <a:gd name="connsiteX0" fmla="*/ 65853 w 110399"/>
              <a:gd name="connsiteY0" fmla="*/ 120547 h 120547"/>
              <a:gd name="connsiteX1" fmla="*/ 0 w 110399"/>
              <a:gd name="connsiteY1" fmla="*/ 34967 h 120547"/>
              <a:gd name="connsiteX2" fmla="*/ 41898 w 110399"/>
              <a:gd name="connsiteY2" fmla="*/ 0 h 120547"/>
              <a:gd name="connsiteX3" fmla="*/ 110399 w 110399"/>
              <a:gd name="connsiteY3" fmla="*/ 89000 h 120547"/>
              <a:gd name="connsiteX4" fmla="*/ 65872 w 110399"/>
              <a:gd name="connsiteY4" fmla="*/ 120547 h 12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399" h="120547">
                <a:moveTo>
                  <a:pt x="65853" y="120547"/>
                </a:moveTo>
                <a:cubicBezTo>
                  <a:pt x="45134" y="91298"/>
                  <a:pt x="22981" y="62507"/>
                  <a:pt x="0" y="34967"/>
                </a:cubicBezTo>
                <a:lnTo>
                  <a:pt x="41898" y="0"/>
                </a:lnTo>
                <a:cubicBezTo>
                  <a:pt x="65798" y="28625"/>
                  <a:pt x="88834" y="58573"/>
                  <a:pt x="110399" y="89000"/>
                </a:cubicBezTo>
                <a:lnTo>
                  <a:pt x="65872" y="120547"/>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8" name="Freeform: Shape 47">
            <a:extLst>
              <a:ext uri="{FF2B5EF4-FFF2-40B4-BE49-F238E27FC236}">
                <a16:creationId xmlns:a16="http://schemas.microsoft.com/office/drawing/2014/main" id="{A733A8C1-D56B-00F4-7970-DBB4D77221AE}"/>
              </a:ext>
            </a:extLst>
          </p:cNvPr>
          <p:cNvSpPr/>
          <p:nvPr/>
        </p:nvSpPr>
        <p:spPr>
          <a:xfrm>
            <a:off x="3313338" y="2893407"/>
            <a:ext cx="117550" cy="115271"/>
          </a:xfrm>
          <a:custGeom>
            <a:avLst/>
            <a:gdLst>
              <a:gd name="connsiteX0" fmla="*/ 78557 w 117550"/>
              <a:gd name="connsiteY0" fmla="*/ 115271 h 115271"/>
              <a:gd name="connsiteX1" fmla="*/ 0 w 117550"/>
              <a:gd name="connsiteY1" fmla="*/ 41126 h 115271"/>
              <a:gd name="connsiteX2" fmla="*/ 35868 w 117550"/>
              <a:gd name="connsiteY2" fmla="*/ 0 h 115271"/>
              <a:gd name="connsiteX3" fmla="*/ 117551 w 117550"/>
              <a:gd name="connsiteY3" fmla="*/ 77105 h 115271"/>
              <a:gd name="connsiteX4" fmla="*/ 78557 w 117550"/>
              <a:gd name="connsiteY4" fmla="*/ 115271 h 11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50" h="115271">
                <a:moveTo>
                  <a:pt x="78557" y="115271"/>
                </a:moveTo>
                <a:cubicBezTo>
                  <a:pt x="53481" y="89661"/>
                  <a:pt x="27062" y="64714"/>
                  <a:pt x="0" y="41126"/>
                </a:cubicBezTo>
                <a:lnTo>
                  <a:pt x="35868" y="0"/>
                </a:lnTo>
                <a:cubicBezTo>
                  <a:pt x="63997" y="24525"/>
                  <a:pt x="91482" y="50466"/>
                  <a:pt x="117551" y="77105"/>
                </a:cubicBezTo>
                <a:lnTo>
                  <a:pt x="78557" y="115271"/>
                </a:ln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49" name="Freeform: Shape 48">
            <a:extLst>
              <a:ext uri="{FF2B5EF4-FFF2-40B4-BE49-F238E27FC236}">
                <a16:creationId xmlns:a16="http://schemas.microsoft.com/office/drawing/2014/main" id="{4A60DFA1-6CDC-5ED9-0B19-6201574BF816}"/>
              </a:ext>
            </a:extLst>
          </p:cNvPr>
          <p:cNvSpPr/>
          <p:nvPr/>
        </p:nvSpPr>
        <p:spPr>
          <a:xfrm>
            <a:off x="1492201" y="2803231"/>
            <a:ext cx="120565" cy="110399"/>
          </a:xfrm>
          <a:custGeom>
            <a:avLst/>
            <a:gdLst>
              <a:gd name="connsiteX0" fmla="*/ 34967 w 120565"/>
              <a:gd name="connsiteY0" fmla="*/ 110381 h 110399"/>
              <a:gd name="connsiteX1" fmla="*/ 0 w 120565"/>
              <a:gd name="connsiteY1" fmla="*/ 68482 h 110399"/>
              <a:gd name="connsiteX2" fmla="*/ 89018 w 120565"/>
              <a:gd name="connsiteY2" fmla="*/ 0 h 110399"/>
              <a:gd name="connsiteX3" fmla="*/ 120566 w 120565"/>
              <a:gd name="connsiteY3" fmla="*/ 44546 h 110399"/>
              <a:gd name="connsiteX4" fmla="*/ 34967 w 120565"/>
              <a:gd name="connsiteY4" fmla="*/ 110399 h 11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5" h="110399">
                <a:moveTo>
                  <a:pt x="34967" y="110381"/>
                </a:moveTo>
                <a:lnTo>
                  <a:pt x="0" y="68482"/>
                </a:lnTo>
                <a:cubicBezTo>
                  <a:pt x="28625" y="44601"/>
                  <a:pt x="58573" y="21565"/>
                  <a:pt x="89018" y="0"/>
                </a:cubicBezTo>
                <a:lnTo>
                  <a:pt x="120566" y="44546"/>
                </a:lnTo>
                <a:cubicBezTo>
                  <a:pt x="91298" y="65284"/>
                  <a:pt x="62489" y="87419"/>
                  <a:pt x="34967" y="110399"/>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0" name="Freeform: Shape 49">
            <a:extLst>
              <a:ext uri="{FF2B5EF4-FFF2-40B4-BE49-F238E27FC236}">
                <a16:creationId xmlns:a16="http://schemas.microsoft.com/office/drawing/2014/main" id="{C228AC5A-7BC4-0D80-E65D-D58B7E69EF14}"/>
              </a:ext>
            </a:extLst>
          </p:cNvPr>
          <p:cNvSpPr/>
          <p:nvPr/>
        </p:nvSpPr>
        <p:spPr>
          <a:xfrm>
            <a:off x="3139659" y="2759402"/>
            <a:ext cx="122110" cy="107420"/>
          </a:xfrm>
          <a:custGeom>
            <a:avLst/>
            <a:gdLst>
              <a:gd name="connsiteX0" fmla="*/ 89588 w 122110"/>
              <a:gd name="connsiteY0" fmla="*/ 107421 h 107420"/>
              <a:gd name="connsiteX1" fmla="*/ 1048 w 122110"/>
              <a:gd name="connsiteY1" fmla="*/ 46825 h 107420"/>
              <a:gd name="connsiteX2" fmla="*/ 0 w 122110"/>
              <a:gd name="connsiteY2" fmla="*/ 46164 h 107420"/>
              <a:gd name="connsiteX3" fmla="*/ 15443 w 122110"/>
              <a:gd name="connsiteY3" fmla="*/ 22613 h 107420"/>
              <a:gd name="connsiteX4" fmla="*/ 29066 w 122110"/>
              <a:gd name="connsiteY4" fmla="*/ 0 h 107420"/>
              <a:gd name="connsiteX5" fmla="*/ 29765 w 122110"/>
              <a:gd name="connsiteY5" fmla="*/ 423 h 107420"/>
              <a:gd name="connsiteX6" fmla="*/ 122110 w 122110"/>
              <a:gd name="connsiteY6" fmla="*/ 63611 h 107420"/>
              <a:gd name="connsiteX7" fmla="*/ 89570 w 122110"/>
              <a:gd name="connsiteY7" fmla="*/ 107421 h 1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10" h="107420">
                <a:moveTo>
                  <a:pt x="89588" y="107421"/>
                </a:moveTo>
                <a:cubicBezTo>
                  <a:pt x="61074" y="86242"/>
                  <a:pt x="31291" y="65872"/>
                  <a:pt x="1048" y="46825"/>
                </a:cubicBezTo>
                <a:lnTo>
                  <a:pt x="0" y="46164"/>
                </a:lnTo>
                <a:lnTo>
                  <a:pt x="15443" y="22613"/>
                </a:lnTo>
                <a:lnTo>
                  <a:pt x="29066" y="0"/>
                </a:lnTo>
                <a:lnTo>
                  <a:pt x="29765" y="423"/>
                </a:lnTo>
                <a:cubicBezTo>
                  <a:pt x="61313" y="20260"/>
                  <a:pt x="92382" y="41531"/>
                  <a:pt x="122110" y="63611"/>
                </a:cubicBezTo>
                <a:lnTo>
                  <a:pt x="89570" y="107421"/>
                </a:ln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1" name="Freeform: Shape 50">
            <a:extLst>
              <a:ext uri="{FF2B5EF4-FFF2-40B4-BE49-F238E27FC236}">
                <a16:creationId xmlns:a16="http://schemas.microsoft.com/office/drawing/2014/main" id="{DDDF4CBB-C218-FA03-1264-28380E541387}"/>
              </a:ext>
            </a:extLst>
          </p:cNvPr>
          <p:cNvSpPr/>
          <p:nvPr/>
        </p:nvSpPr>
        <p:spPr>
          <a:xfrm>
            <a:off x="1675366" y="2688401"/>
            <a:ext cx="122808" cy="100508"/>
          </a:xfrm>
          <a:custGeom>
            <a:avLst/>
            <a:gdLst>
              <a:gd name="connsiteX0" fmla="*/ 27926 w 122808"/>
              <a:gd name="connsiteY0" fmla="*/ 100490 h 100508"/>
              <a:gd name="connsiteX1" fmla="*/ 0 w 122808"/>
              <a:gd name="connsiteY1" fmla="*/ 53609 h 100508"/>
              <a:gd name="connsiteX2" fmla="*/ 98651 w 122808"/>
              <a:gd name="connsiteY2" fmla="*/ 0 h 100508"/>
              <a:gd name="connsiteX3" fmla="*/ 122809 w 122808"/>
              <a:gd name="connsiteY3" fmla="*/ 48940 h 100508"/>
              <a:gd name="connsiteX4" fmla="*/ 27926 w 122808"/>
              <a:gd name="connsiteY4" fmla="*/ 100508 h 100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8" h="100508">
                <a:moveTo>
                  <a:pt x="27926" y="100490"/>
                </a:moveTo>
                <a:lnTo>
                  <a:pt x="0" y="53609"/>
                </a:lnTo>
                <a:cubicBezTo>
                  <a:pt x="32026" y="34545"/>
                  <a:pt x="65210" y="16509"/>
                  <a:pt x="98651" y="0"/>
                </a:cubicBezTo>
                <a:lnTo>
                  <a:pt x="122809" y="48940"/>
                </a:lnTo>
                <a:cubicBezTo>
                  <a:pt x="90636" y="64824"/>
                  <a:pt x="58720" y="82161"/>
                  <a:pt x="27926" y="100508"/>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2" name="Freeform: Shape 51">
            <a:extLst>
              <a:ext uri="{FF2B5EF4-FFF2-40B4-BE49-F238E27FC236}">
                <a16:creationId xmlns:a16="http://schemas.microsoft.com/office/drawing/2014/main" id="{858D6513-3C7C-7FBF-5395-CC1CFB348FDE}"/>
              </a:ext>
            </a:extLst>
          </p:cNvPr>
          <p:cNvSpPr/>
          <p:nvPr/>
        </p:nvSpPr>
        <p:spPr>
          <a:xfrm>
            <a:off x="1876567" y="2605156"/>
            <a:ext cx="122018" cy="88209"/>
          </a:xfrm>
          <a:custGeom>
            <a:avLst/>
            <a:gdLst>
              <a:gd name="connsiteX0" fmla="*/ 20241 w 122018"/>
              <a:gd name="connsiteY0" fmla="*/ 88209 h 88209"/>
              <a:gd name="connsiteX1" fmla="*/ 0 w 122018"/>
              <a:gd name="connsiteY1" fmla="*/ 37541 h 88209"/>
              <a:gd name="connsiteX2" fmla="*/ 105785 w 122018"/>
              <a:gd name="connsiteY2" fmla="*/ 0 h 88209"/>
              <a:gd name="connsiteX3" fmla="*/ 122018 w 122018"/>
              <a:gd name="connsiteY3" fmla="*/ 52102 h 88209"/>
              <a:gd name="connsiteX4" fmla="*/ 20241 w 122018"/>
              <a:gd name="connsiteY4" fmla="*/ 88209 h 88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8" h="88209">
                <a:moveTo>
                  <a:pt x="20241" y="88209"/>
                </a:moveTo>
                <a:lnTo>
                  <a:pt x="0" y="37541"/>
                </a:lnTo>
                <a:cubicBezTo>
                  <a:pt x="34618" y="23716"/>
                  <a:pt x="70211" y="11086"/>
                  <a:pt x="105785" y="0"/>
                </a:cubicBezTo>
                <a:lnTo>
                  <a:pt x="122018" y="52102"/>
                </a:lnTo>
                <a:cubicBezTo>
                  <a:pt x="87786" y="62765"/>
                  <a:pt x="53554" y="74917"/>
                  <a:pt x="20241" y="88209"/>
                </a:cubicBezTo>
                <a:close/>
              </a:path>
            </a:pathLst>
          </a:custGeom>
          <a:solidFill>
            <a:srgbClr val="69C9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3" name="Freeform: Shape 52">
            <a:extLst>
              <a:ext uri="{FF2B5EF4-FFF2-40B4-BE49-F238E27FC236}">
                <a16:creationId xmlns:a16="http://schemas.microsoft.com/office/drawing/2014/main" id="{16702966-5C56-5ACA-0DED-A3203487E13F}"/>
              </a:ext>
            </a:extLst>
          </p:cNvPr>
          <p:cNvSpPr/>
          <p:nvPr/>
        </p:nvSpPr>
        <p:spPr>
          <a:xfrm>
            <a:off x="2090747" y="2555352"/>
            <a:ext cx="118249" cy="73832"/>
          </a:xfrm>
          <a:custGeom>
            <a:avLst/>
            <a:gdLst>
              <a:gd name="connsiteX0" fmla="*/ 12115 w 118249"/>
              <a:gd name="connsiteY0" fmla="*/ 73832 h 73832"/>
              <a:gd name="connsiteX1" fmla="*/ 0 w 118249"/>
              <a:gd name="connsiteY1" fmla="*/ 20627 h 73832"/>
              <a:gd name="connsiteX2" fmla="*/ 110326 w 118249"/>
              <a:gd name="connsiteY2" fmla="*/ 0 h 73832"/>
              <a:gd name="connsiteX3" fmla="*/ 118249 w 118249"/>
              <a:gd name="connsiteY3" fmla="*/ 53995 h 73832"/>
              <a:gd name="connsiteX4" fmla="*/ 12115 w 118249"/>
              <a:gd name="connsiteY4" fmla="*/ 73832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249" h="73832">
                <a:moveTo>
                  <a:pt x="12115" y="73832"/>
                </a:moveTo>
                <a:lnTo>
                  <a:pt x="0" y="20627"/>
                </a:lnTo>
                <a:cubicBezTo>
                  <a:pt x="36346" y="12354"/>
                  <a:pt x="73465" y="5405"/>
                  <a:pt x="110326" y="0"/>
                </a:cubicBezTo>
                <a:lnTo>
                  <a:pt x="118249" y="53995"/>
                </a:lnTo>
                <a:cubicBezTo>
                  <a:pt x="82786" y="59198"/>
                  <a:pt x="47083" y="65872"/>
                  <a:pt x="12115" y="73832"/>
                </a:cubicBezTo>
                <a:close/>
              </a:path>
            </a:pathLst>
          </a:custGeom>
          <a:solidFill>
            <a:srgbClr val="066CB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nvGrpSpPr>
          <p:cNvPr id="54" name="Graphic 5">
            <a:extLst>
              <a:ext uri="{FF2B5EF4-FFF2-40B4-BE49-F238E27FC236}">
                <a16:creationId xmlns:a16="http://schemas.microsoft.com/office/drawing/2014/main" id="{FB4061F0-7535-AAE2-D1C7-B34E9A247675}"/>
              </a:ext>
            </a:extLst>
          </p:cNvPr>
          <p:cNvGrpSpPr/>
          <p:nvPr/>
        </p:nvGrpSpPr>
        <p:grpSpPr>
          <a:xfrm>
            <a:off x="1168283" y="2598887"/>
            <a:ext cx="411887" cy="411887"/>
            <a:chOff x="1596624" y="2610404"/>
            <a:chExt cx="411887" cy="411887"/>
          </a:xfrm>
          <a:solidFill>
            <a:srgbClr val="0092CC"/>
          </a:solidFill>
        </p:grpSpPr>
        <p:sp>
          <p:nvSpPr>
            <p:cNvPr id="55" name="Freeform: Shape 54">
              <a:extLst>
                <a:ext uri="{FF2B5EF4-FFF2-40B4-BE49-F238E27FC236}">
                  <a16:creationId xmlns:a16="http://schemas.microsoft.com/office/drawing/2014/main" id="{0897DFE6-1493-1F5B-DBE3-719E00481C96}"/>
                </a:ext>
              </a:extLst>
            </p:cNvPr>
            <p:cNvSpPr/>
            <p:nvPr/>
          </p:nvSpPr>
          <p:spPr>
            <a:xfrm>
              <a:off x="1665658" y="2679456"/>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Freeform: Shape 55">
              <a:extLst>
                <a:ext uri="{FF2B5EF4-FFF2-40B4-BE49-F238E27FC236}">
                  <a16:creationId xmlns:a16="http://schemas.microsoft.com/office/drawing/2014/main" id="{8721A33D-07A5-7AAF-0507-6B38E0F59958}"/>
                </a:ext>
              </a:extLst>
            </p:cNvPr>
            <p:cNvSpPr/>
            <p:nvPr/>
          </p:nvSpPr>
          <p:spPr>
            <a:xfrm>
              <a:off x="1596624" y="2610404"/>
              <a:ext cx="411887" cy="411887"/>
            </a:xfrm>
            <a:custGeom>
              <a:avLst/>
              <a:gdLst>
                <a:gd name="connsiteX0" fmla="*/ 411888 w 411887"/>
                <a:gd name="connsiteY0" fmla="*/ 232620 h 411887"/>
                <a:gd name="connsiteX1" fmla="*/ 411888 w 411887"/>
                <a:gd name="connsiteY1" fmla="*/ 179268 h 411887"/>
                <a:gd name="connsiteX2" fmla="*/ 364382 w 411887"/>
                <a:gd name="connsiteY2" fmla="*/ 162372 h 411887"/>
                <a:gd name="connsiteX3" fmla="*/ 348773 w 411887"/>
                <a:gd name="connsiteY3" fmla="*/ 124739 h 411887"/>
                <a:gd name="connsiteX4" fmla="*/ 370430 w 411887"/>
                <a:gd name="connsiteY4" fmla="*/ 79182 h 411887"/>
                <a:gd name="connsiteX5" fmla="*/ 332705 w 411887"/>
                <a:gd name="connsiteY5" fmla="*/ 41457 h 411887"/>
                <a:gd name="connsiteX6" fmla="*/ 287148 w 411887"/>
                <a:gd name="connsiteY6" fmla="*/ 63114 h 411887"/>
                <a:gd name="connsiteX7" fmla="*/ 249515 w 411887"/>
                <a:gd name="connsiteY7" fmla="*/ 47506 h 411887"/>
                <a:gd name="connsiteX8" fmla="*/ 232620 w 411887"/>
                <a:gd name="connsiteY8" fmla="*/ 0 h 411887"/>
                <a:gd name="connsiteX9" fmla="*/ 179268 w 411887"/>
                <a:gd name="connsiteY9" fmla="*/ 0 h 411887"/>
                <a:gd name="connsiteX10" fmla="*/ 162372 w 411887"/>
                <a:gd name="connsiteY10" fmla="*/ 47506 h 411887"/>
                <a:gd name="connsiteX11" fmla="*/ 124739 w 411887"/>
                <a:gd name="connsiteY11" fmla="*/ 63114 h 411887"/>
                <a:gd name="connsiteX12" fmla="*/ 79182 w 411887"/>
                <a:gd name="connsiteY12" fmla="*/ 41457 h 411887"/>
                <a:gd name="connsiteX13" fmla="*/ 41457 w 411887"/>
                <a:gd name="connsiteY13" fmla="*/ 79182 h 411887"/>
                <a:gd name="connsiteX14" fmla="*/ 63114 w 411887"/>
                <a:gd name="connsiteY14" fmla="*/ 124739 h 411887"/>
                <a:gd name="connsiteX15" fmla="*/ 47506 w 411887"/>
                <a:gd name="connsiteY15" fmla="*/ 162372 h 411887"/>
                <a:gd name="connsiteX16" fmla="*/ 0 w 411887"/>
                <a:gd name="connsiteY16" fmla="*/ 179268 h 411887"/>
                <a:gd name="connsiteX17" fmla="*/ 0 w 411887"/>
                <a:gd name="connsiteY17" fmla="*/ 232620 h 411887"/>
                <a:gd name="connsiteX18" fmla="*/ 47506 w 411887"/>
                <a:gd name="connsiteY18" fmla="*/ 249515 h 411887"/>
                <a:gd name="connsiteX19" fmla="*/ 63114 w 411887"/>
                <a:gd name="connsiteY19" fmla="*/ 287148 h 411887"/>
                <a:gd name="connsiteX20" fmla="*/ 41457 w 411887"/>
                <a:gd name="connsiteY20" fmla="*/ 332705 h 411887"/>
                <a:gd name="connsiteX21" fmla="*/ 79182 w 411887"/>
                <a:gd name="connsiteY21" fmla="*/ 370430 h 411887"/>
                <a:gd name="connsiteX22" fmla="*/ 124739 w 411887"/>
                <a:gd name="connsiteY22" fmla="*/ 348773 h 411887"/>
                <a:gd name="connsiteX23" fmla="*/ 162372 w 411887"/>
                <a:gd name="connsiteY23" fmla="*/ 364382 h 411887"/>
                <a:gd name="connsiteX24" fmla="*/ 179268 w 411887"/>
                <a:gd name="connsiteY24" fmla="*/ 411887 h 411887"/>
                <a:gd name="connsiteX25" fmla="*/ 232620 w 411887"/>
                <a:gd name="connsiteY25" fmla="*/ 411887 h 411887"/>
                <a:gd name="connsiteX26" fmla="*/ 249515 w 411887"/>
                <a:gd name="connsiteY26" fmla="*/ 364382 h 411887"/>
                <a:gd name="connsiteX27" fmla="*/ 287148 w 411887"/>
                <a:gd name="connsiteY27" fmla="*/ 348773 h 411887"/>
                <a:gd name="connsiteX28" fmla="*/ 332705 w 411887"/>
                <a:gd name="connsiteY28" fmla="*/ 370430 h 411887"/>
                <a:gd name="connsiteX29" fmla="*/ 370430 w 411887"/>
                <a:gd name="connsiteY29" fmla="*/ 332705 h 411887"/>
                <a:gd name="connsiteX30" fmla="*/ 348773 w 411887"/>
                <a:gd name="connsiteY30" fmla="*/ 287148 h 411887"/>
                <a:gd name="connsiteX31" fmla="*/ 364382 w 411887"/>
                <a:gd name="connsiteY31" fmla="*/ 249515 h 411887"/>
                <a:gd name="connsiteX32" fmla="*/ 411888 w 411887"/>
                <a:gd name="connsiteY32" fmla="*/ 232620 h 411887"/>
                <a:gd name="connsiteX33" fmla="*/ 307188 w 411887"/>
                <a:gd name="connsiteY33" fmla="*/ 307206 h 411887"/>
                <a:gd name="connsiteX34" fmla="*/ 205925 w 411887"/>
                <a:gd name="connsiteY34" fmla="*/ 349141 h 411887"/>
                <a:gd name="connsiteX35" fmla="*/ 104663 w 411887"/>
                <a:gd name="connsiteY35" fmla="*/ 307206 h 411887"/>
                <a:gd name="connsiteX36" fmla="*/ 62710 w 411887"/>
                <a:gd name="connsiteY36" fmla="*/ 205944 h 411887"/>
                <a:gd name="connsiteX37" fmla="*/ 104663 w 411887"/>
                <a:gd name="connsiteY37" fmla="*/ 104682 h 411887"/>
                <a:gd name="connsiteX38" fmla="*/ 205925 w 411887"/>
                <a:gd name="connsiteY38" fmla="*/ 62728 h 411887"/>
                <a:gd name="connsiteX39" fmla="*/ 307188 w 411887"/>
                <a:gd name="connsiteY39" fmla="*/ 104682 h 411887"/>
                <a:gd name="connsiteX40" fmla="*/ 349141 w 411887"/>
                <a:gd name="connsiteY40" fmla="*/ 205944 h 411887"/>
                <a:gd name="connsiteX41" fmla="*/ 307188 w 411887"/>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887" h="411887">
                  <a:moveTo>
                    <a:pt x="411888" y="232620"/>
                  </a:moveTo>
                  <a:lnTo>
                    <a:pt x="411888" y="179268"/>
                  </a:lnTo>
                  <a:lnTo>
                    <a:pt x="364382" y="162372"/>
                  </a:lnTo>
                  <a:cubicBezTo>
                    <a:pt x="360723" y="149080"/>
                    <a:pt x="355465" y="136450"/>
                    <a:pt x="348773" y="124739"/>
                  </a:cubicBezTo>
                  <a:lnTo>
                    <a:pt x="370430" y="79182"/>
                  </a:lnTo>
                  <a:lnTo>
                    <a:pt x="332705" y="41457"/>
                  </a:lnTo>
                  <a:lnTo>
                    <a:pt x="287148" y="63114"/>
                  </a:lnTo>
                  <a:cubicBezTo>
                    <a:pt x="275437" y="56441"/>
                    <a:pt x="262807" y="51164"/>
                    <a:pt x="249515" y="47506"/>
                  </a:cubicBezTo>
                  <a:lnTo>
                    <a:pt x="232620" y="0"/>
                  </a:lnTo>
                  <a:lnTo>
                    <a:pt x="179268" y="0"/>
                  </a:lnTo>
                  <a:lnTo>
                    <a:pt x="162372" y="47506"/>
                  </a:lnTo>
                  <a:cubicBezTo>
                    <a:pt x="149080" y="51146"/>
                    <a:pt x="136450" y="56422"/>
                    <a:pt x="124739" y="63114"/>
                  </a:cubicBezTo>
                  <a:lnTo>
                    <a:pt x="79182" y="41457"/>
                  </a:lnTo>
                  <a:lnTo>
                    <a:pt x="41457" y="79182"/>
                  </a:lnTo>
                  <a:lnTo>
                    <a:pt x="63114" y="124739"/>
                  </a:lnTo>
                  <a:cubicBezTo>
                    <a:pt x="56441" y="136469"/>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0" y="360723"/>
                    <a:pt x="162372" y="364382"/>
                  </a:cubicBezTo>
                  <a:lnTo>
                    <a:pt x="179268" y="411887"/>
                  </a:lnTo>
                  <a:lnTo>
                    <a:pt x="232620" y="411887"/>
                  </a:lnTo>
                  <a:lnTo>
                    <a:pt x="249515" y="364382"/>
                  </a:lnTo>
                  <a:cubicBezTo>
                    <a:pt x="262807" y="360742"/>
                    <a:pt x="275437" y="355465"/>
                    <a:pt x="287148" y="348773"/>
                  </a:cubicBezTo>
                  <a:lnTo>
                    <a:pt x="332705" y="370430"/>
                  </a:lnTo>
                  <a:lnTo>
                    <a:pt x="370430" y="332705"/>
                  </a:lnTo>
                  <a:lnTo>
                    <a:pt x="348773" y="287148"/>
                  </a:lnTo>
                  <a:cubicBezTo>
                    <a:pt x="355447" y="275437"/>
                    <a:pt x="360723" y="262807"/>
                    <a:pt x="364382" y="249515"/>
                  </a:cubicBezTo>
                  <a:lnTo>
                    <a:pt x="411888" y="232620"/>
                  </a:lnTo>
                  <a:close/>
                  <a:moveTo>
                    <a:pt x="307188" y="307206"/>
                  </a:moveTo>
                  <a:cubicBezTo>
                    <a:pt x="280144" y="334249"/>
                    <a:pt x="244184" y="349141"/>
                    <a:pt x="205925" y="349141"/>
                  </a:cubicBezTo>
                  <a:cubicBezTo>
                    <a:pt x="167667" y="349141"/>
                    <a:pt x="131707" y="334249"/>
                    <a:pt x="104663" y="307206"/>
                  </a:cubicBezTo>
                  <a:cubicBezTo>
                    <a:pt x="77620" y="280162"/>
                    <a:pt x="62710" y="244184"/>
                    <a:pt x="62710" y="205944"/>
                  </a:cubicBezTo>
                  <a:cubicBezTo>
                    <a:pt x="62710" y="167704"/>
                    <a:pt x="77601" y="131725"/>
                    <a:pt x="104663" y="104682"/>
                  </a:cubicBezTo>
                  <a:cubicBezTo>
                    <a:pt x="131707" y="77638"/>
                    <a:pt x="167686" y="62728"/>
                    <a:pt x="205925" y="62728"/>
                  </a:cubicBezTo>
                  <a:cubicBezTo>
                    <a:pt x="244165" y="62728"/>
                    <a:pt x="280144" y="77620"/>
                    <a:pt x="307188" y="104682"/>
                  </a:cubicBezTo>
                  <a:cubicBezTo>
                    <a:pt x="334231" y="131725"/>
                    <a:pt x="349141" y="167685"/>
                    <a:pt x="349141" y="205944"/>
                  </a:cubicBezTo>
                  <a:cubicBezTo>
                    <a:pt x="349141" y="244202"/>
                    <a:pt x="334250" y="280162"/>
                    <a:pt x="307188"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grpSp>
        <p:nvGrpSpPr>
          <p:cNvPr id="57" name="Graphic 5">
            <a:extLst>
              <a:ext uri="{FF2B5EF4-FFF2-40B4-BE49-F238E27FC236}">
                <a16:creationId xmlns:a16="http://schemas.microsoft.com/office/drawing/2014/main" id="{83FD85F4-AF9F-E345-467D-0BDB5BC2DF4C}"/>
              </a:ext>
            </a:extLst>
          </p:cNvPr>
          <p:cNvGrpSpPr/>
          <p:nvPr/>
        </p:nvGrpSpPr>
        <p:grpSpPr>
          <a:xfrm>
            <a:off x="3278968" y="4776426"/>
            <a:ext cx="411906" cy="411887"/>
            <a:chOff x="3707309" y="4787943"/>
            <a:chExt cx="411906" cy="411887"/>
          </a:xfrm>
          <a:solidFill>
            <a:srgbClr val="0092CC"/>
          </a:solidFill>
        </p:grpSpPr>
        <p:sp>
          <p:nvSpPr>
            <p:cNvPr id="58" name="Freeform: Shape 57">
              <a:extLst>
                <a:ext uri="{FF2B5EF4-FFF2-40B4-BE49-F238E27FC236}">
                  <a16:creationId xmlns:a16="http://schemas.microsoft.com/office/drawing/2014/main" id="{37FA5EC9-5EA3-9584-C24D-2AF9D0C87B5B}"/>
                </a:ext>
              </a:extLst>
            </p:cNvPr>
            <p:cNvSpPr/>
            <p:nvPr/>
          </p:nvSpPr>
          <p:spPr>
            <a:xfrm>
              <a:off x="3776380" y="4856995"/>
              <a:ext cx="273782" cy="273782"/>
            </a:xfrm>
            <a:custGeom>
              <a:avLst/>
              <a:gdLst>
                <a:gd name="connsiteX0" fmla="*/ 136891 w 273782"/>
                <a:gd name="connsiteY0" fmla="*/ 0 h 273782"/>
                <a:gd name="connsiteX1" fmla="*/ 0 w 273782"/>
                <a:gd name="connsiteY1" fmla="*/ 136891 h 273782"/>
                <a:gd name="connsiteX2" fmla="*/ 136891 w 273782"/>
                <a:gd name="connsiteY2" fmla="*/ 273783 h 273782"/>
                <a:gd name="connsiteX3" fmla="*/ 273783 w 273782"/>
                <a:gd name="connsiteY3" fmla="*/ 136891 h 273782"/>
                <a:gd name="connsiteX4" fmla="*/ 136891 w 273782"/>
                <a:gd name="connsiteY4" fmla="*/ 0 h 273782"/>
                <a:gd name="connsiteX5" fmla="*/ 136891 w 273782"/>
                <a:gd name="connsiteY5" fmla="*/ 246206 h 273782"/>
                <a:gd name="connsiteX6" fmla="*/ 27577 w 273782"/>
                <a:gd name="connsiteY6" fmla="*/ 136891 h 273782"/>
                <a:gd name="connsiteX7" fmla="*/ 136891 w 273782"/>
                <a:gd name="connsiteY7" fmla="*/ 27577 h 273782"/>
                <a:gd name="connsiteX8" fmla="*/ 246206 w 273782"/>
                <a:gd name="connsiteY8" fmla="*/ 136891 h 273782"/>
                <a:gd name="connsiteX9" fmla="*/ 136891 w 273782"/>
                <a:gd name="connsiteY9" fmla="*/ 246206 h 27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782" h="273782">
                  <a:moveTo>
                    <a:pt x="136891" y="0"/>
                  </a:moveTo>
                  <a:cubicBezTo>
                    <a:pt x="61404" y="0"/>
                    <a:pt x="0" y="61404"/>
                    <a:pt x="0" y="136891"/>
                  </a:cubicBezTo>
                  <a:cubicBezTo>
                    <a:pt x="0" y="212378"/>
                    <a:pt x="61404" y="273783"/>
                    <a:pt x="136891" y="273783"/>
                  </a:cubicBezTo>
                  <a:cubicBezTo>
                    <a:pt x="212378" y="273783"/>
                    <a:pt x="273783" y="212378"/>
                    <a:pt x="273783" y="136891"/>
                  </a:cubicBezTo>
                  <a:cubicBezTo>
                    <a:pt x="273783" y="61404"/>
                    <a:pt x="212378" y="0"/>
                    <a:pt x="136891" y="0"/>
                  </a:cubicBezTo>
                  <a:close/>
                  <a:moveTo>
                    <a:pt x="136891" y="246206"/>
                  </a:moveTo>
                  <a:cubicBezTo>
                    <a:pt x="76517" y="246206"/>
                    <a:pt x="27577" y="197266"/>
                    <a:pt x="27577" y="136891"/>
                  </a:cubicBezTo>
                  <a:cubicBezTo>
                    <a:pt x="27577" y="76516"/>
                    <a:pt x="76517" y="27577"/>
                    <a:pt x="136891" y="27577"/>
                  </a:cubicBezTo>
                  <a:cubicBezTo>
                    <a:pt x="197266" y="27577"/>
                    <a:pt x="246206" y="76516"/>
                    <a:pt x="246206" y="136891"/>
                  </a:cubicBezTo>
                  <a:cubicBezTo>
                    <a:pt x="246206" y="197266"/>
                    <a:pt x="197266" y="246206"/>
                    <a:pt x="136891" y="246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9" name="Freeform: Shape 58">
              <a:extLst>
                <a:ext uri="{FF2B5EF4-FFF2-40B4-BE49-F238E27FC236}">
                  <a16:creationId xmlns:a16="http://schemas.microsoft.com/office/drawing/2014/main" id="{5074F2C5-3A49-64B9-801B-EBF2FCEEC49C}"/>
                </a:ext>
              </a:extLst>
            </p:cNvPr>
            <p:cNvSpPr/>
            <p:nvPr/>
          </p:nvSpPr>
          <p:spPr>
            <a:xfrm>
              <a:off x="3707309" y="4787943"/>
              <a:ext cx="411906" cy="411887"/>
            </a:xfrm>
            <a:custGeom>
              <a:avLst/>
              <a:gdLst>
                <a:gd name="connsiteX0" fmla="*/ 411906 w 411906"/>
                <a:gd name="connsiteY0" fmla="*/ 232620 h 411887"/>
                <a:gd name="connsiteX1" fmla="*/ 411906 w 411906"/>
                <a:gd name="connsiteY1" fmla="*/ 179268 h 411887"/>
                <a:gd name="connsiteX2" fmla="*/ 364382 w 411906"/>
                <a:gd name="connsiteY2" fmla="*/ 162372 h 411887"/>
                <a:gd name="connsiteX3" fmla="*/ 348774 w 411906"/>
                <a:gd name="connsiteY3" fmla="*/ 124739 h 411887"/>
                <a:gd name="connsiteX4" fmla="*/ 370430 w 411906"/>
                <a:gd name="connsiteY4" fmla="*/ 79182 h 411887"/>
                <a:gd name="connsiteX5" fmla="*/ 332705 w 411906"/>
                <a:gd name="connsiteY5" fmla="*/ 41457 h 411887"/>
                <a:gd name="connsiteX6" fmla="*/ 287148 w 411906"/>
                <a:gd name="connsiteY6" fmla="*/ 63114 h 411887"/>
                <a:gd name="connsiteX7" fmla="*/ 249515 w 411906"/>
                <a:gd name="connsiteY7" fmla="*/ 47506 h 411887"/>
                <a:gd name="connsiteX8" fmla="*/ 232620 w 411906"/>
                <a:gd name="connsiteY8" fmla="*/ 0 h 411887"/>
                <a:gd name="connsiteX9" fmla="*/ 179268 w 411906"/>
                <a:gd name="connsiteY9" fmla="*/ 0 h 411887"/>
                <a:gd name="connsiteX10" fmla="*/ 162373 w 411906"/>
                <a:gd name="connsiteY10" fmla="*/ 47506 h 411887"/>
                <a:gd name="connsiteX11" fmla="*/ 124739 w 411906"/>
                <a:gd name="connsiteY11" fmla="*/ 63114 h 411887"/>
                <a:gd name="connsiteX12" fmla="*/ 79182 w 411906"/>
                <a:gd name="connsiteY12" fmla="*/ 41457 h 411887"/>
                <a:gd name="connsiteX13" fmla="*/ 41457 w 411906"/>
                <a:gd name="connsiteY13" fmla="*/ 79182 h 411887"/>
                <a:gd name="connsiteX14" fmla="*/ 63114 w 411906"/>
                <a:gd name="connsiteY14" fmla="*/ 124739 h 411887"/>
                <a:gd name="connsiteX15" fmla="*/ 47506 w 411906"/>
                <a:gd name="connsiteY15" fmla="*/ 162372 h 411887"/>
                <a:gd name="connsiteX16" fmla="*/ 0 w 411906"/>
                <a:gd name="connsiteY16" fmla="*/ 179268 h 411887"/>
                <a:gd name="connsiteX17" fmla="*/ 0 w 411906"/>
                <a:gd name="connsiteY17" fmla="*/ 232620 h 411887"/>
                <a:gd name="connsiteX18" fmla="*/ 47506 w 411906"/>
                <a:gd name="connsiteY18" fmla="*/ 249515 h 411887"/>
                <a:gd name="connsiteX19" fmla="*/ 63114 w 411906"/>
                <a:gd name="connsiteY19" fmla="*/ 287148 h 411887"/>
                <a:gd name="connsiteX20" fmla="*/ 41457 w 411906"/>
                <a:gd name="connsiteY20" fmla="*/ 332705 h 411887"/>
                <a:gd name="connsiteX21" fmla="*/ 79182 w 411906"/>
                <a:gd name="connsiteY21" fmla="*/ 370430 h 411887"/>
                <a:gd name="connsiteX22" fmla="*/ 124739 w 411906"/>
                <a:gd name="connsiteY22" fmla="*/ 348773 h 411887"/>
                <a:gd name="connsiteX23" fmla="*/ 162373 w 411906"/>
                <a:gd name="connsiteY23" fmla="*/ 364382 h 411887"/>
                <a:gd name="connsiteX24" fmla="*/ 179268 w 411906"/>
                <a:gd name="connsiteY24" fmla="*/ 411887 h 411887"/>
                <a:gd name="connsiteX25" fmla="*/ 232620 w 411906"/>
                <a:gd name="connsiteY25" fmla="*/ 411887 h 411887"/>
                <a:gd name="connsiteX26" fmla="*/ 249515 w 411906"/>
                <a:gd name="connsiteY26" fmla="*/ 364382 h 411887"/>
                <a:gd name="connsiteX27" fmla="*/ 287148 w 411906"/>
                <a:gd name="connsiteY27" fmla="*/ 348773 h 411887"/>
                <a:gd name="connsiteX28" fmla="*/ 332705 w 411906"/>
                <a:gd name="connsiteY28" fmla="*/ 370430 h 411887"/>
                <a:gd name="connsiteX29" fmla="*/ 370430 w 411906"/>
                <a:gd name="connsiteY29" fmla="*/ 332705 h 411887"/>
                <a:gd name="connsiteX30" fmla="*/ 348774 w 411906"/>
                <a:gd name="connsiteY30" fmla="*/ 287148 h 411887"/>
                <a:gd name="connsiteX31" fmla="*/ 364382 w 411906"/>
                <a:gd name="connsiteY31" fmla="*/ 249515 h 411887"/>
                <a:gd name="connsiteX32" fmla="*/ 411906 w 411906"/>
                <a:gd name="connsiteY32" fmla="*/ 232620 h 411887"/>
                <a:gd name="connsiteX33" fmla="*/ 307224 w 411906"/>
                <a:gd name="connsiteY33" fmla="*/ 307206 h 411887"/>
                <a:gd name="connsiteX34" fmla="*/ 205962 w 411906"/>
                <a:gd name="connsiteY34" fmla="*/ 349159 h 411887"/>
                <a:gd name="connsiteX35" fmla="*/ 104700 w 411906"/>
                <a:gd name="connsiteY35" fmla="*/ 307206 h 411887"/>
                <a:gd name="connsiteX36" fmla="*/ 62765 w 411906"/>
                <a:gd name="connsiteY36" fmla="*/ 205944 h 411887"/>
                <a:gd name="connsiteX37" fmla="*/ 104700 w 411906"/>
                <a:gd name="connsiteY37" fmla="*/ 104682 h 411887"/>
                <a:gd name="connsiteX38" fmla="*/ 205962 w 411906"/>
                <a:gd name="connsiteY38" fmla="*/ 62746 h 411887"/>
                <a:gd name="connsiteX39" fmla="*/ 307224 w 411906"/>
                <a:gd name="connsiteY39" fmla="*/ 104682 h 411887"/>
                <a:gd name="connsiteX40" fmla="*/ 349178 w 411906"/>
                <a:gd name="connsiteY40" fmla="*/ 205944 h 411887"/>
                <a:gd name="connsiteX41" fmla="*/ 307224 w 411906"/>
                <a:gd name="connsiteY41" fmla="*/ 307206 h 41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1906" h="411887">
                  <a:moveTo>
                    <a:pt x="411906" y="232620"/>
                  </a:moveTo>
                  <a:lnTo>
                    <a:pt x="411906" y="179268"/>
                  </a:lnTo>
                  <a:lnTo>
                    <a:pt x="364382" y="162372"/>
                  </a:lnTo>
                  <a:cubicBezTo>
                    <a:pt x="360724" y="149080"/>
                    <a:pt x="355465" y="136450"/>
                    <a:pt x="348774" y="124739"/>
                  </a:cubicBezTo>
                  <a:lnTo>
                    <a:pt x="370430" y="79182"/>
                  </a:lnTo>
                  <a:lnTo>
                    <a:pt x="332705" y="41457"/>
                  </a:lnTo>
                  <a:lnTo>
                    <a:pt x="287148" y="63114"/>
                  </a:lnTo>
                  <a:cubicBezTo>
                    <a:pt x="275419" y="56440"/>
                    <a:pt x="262807" y="51164"/>
                    <a:pt x="249515" y="47506"/>
                  </a:cubicBezTo>
                  <a:lnTo>
                    <a:pt x="232620" y="0"/>
                  </a:lnTo>
                  <a:lnTo>
                    <a:pt x="179268" y="0"/>
                  </a:lnTo>
                  <a:lnTo>
                    <a:pt x="162373" y="47506"/>
                  </a:lnTo>
                  <a:cubicBezTo>
                    <a:pt x="149081" y="51164"/>
                    <a:pt x="136450" y="56440"/>
                    <a:pt x="124739" y="63114"/>
                  </a:cubicBezTo>
                  <a:lnTo>
                    <a:pt x="79182" y="41457"/>
                  </a:lnTo>
                  <a:lnTo>
                    <a:pt x="41457" y="79182"/>
                  </a:lnTo>
                  <a:lnTo>
                    <a:pt x="63114" y="124739"/>
                  </a:lnTo>
                  <a:cubicBezTo>
                    <a:pt x="56441" y="136450"/>
                    <a:pt x="51164" y="149080"/>
                    <a:pt x="47506" y="162372"/>
                  </a:cubicBezTo>
                  <a:lnTo>
                    <a:pt x="0" y="179268"/>
                  </a:lnTo>
                  <a:lnTo>
                    <a:pt x="0" y="232620"/>
                  </a:lnTo>
                  <a:lnTo>
                    <a:pt x="47506" y="249515"/>
                  </a:lnTo>
                  <a:cubicBezTo>
                    <a:pt x="51146" y="262807"/>
                    <a:pt x="56422" y="275437"/>
                    <a:pt x="63114" y="287148"/>
                  </a:cubicBezTo>
                  <a:lnTo>
                    <a:pt x="41457" y="332705"/>
                  </a:lnTo>
                  <a:lnTo>
                    <a:pt x="79182" y="370430"/>
                  </a:lnTo>
                  <a:lnTo>
                    <a:pt x="124739" y="348773"/>
                  </a:lnTo>
                  <a:cubicBezTo>
                    <a:pt x="136469" y="355447"/>
                    <a:pt x="149081" y="360723"/>
                    <a:pt x="162373" y="364382"/>
                  </a:cubicBezTo>
                  <a:lnTo>
                    <a:pt x="179268" y="411887"/>
                  </a:lnTo>
                  <a:lnTo>
                    <a:pt x="232620" y="411887"/>
                  </a:lnTo>
                  <a:lnTo>
                    <a:pt x="249515" y="364382"/>
                  </a:lnTo>
                  <a:cubicBezTo>
                    <a:pt x="262807" y="360742"/>
                    <a:pt x="275438" y="355465"/>
                    <a:pt x="287148" y="348773"/>
                  </a:cubicBezTo>
                  <a:lnTo>
                    <a:pt x="332705" y="370430"/>
                  </a:lnTo>
                  <a:lnTo>
                    <a:pt x="370430" y="332705"/>
                  </a:lnTo>
                  <a:lnTo>
                    <a:pt x="348774" y="287148"/>
                  </a:lnTo>
                  <a:cubicBezTo>
                    <a:pt x="355447" y="275419"/>
                    <a:pt x="360724" y="262807"/>
                    <a:pt x="364382" y="249515"/>
                  </a:cubicBezTo>
                  <a:lnTo>
                    <a:pt x="411906" y="232620"/>
                  </a:lnTo>
                  <a:close/>
                  <a:moveTo>
                    <a:pt x="307224" y="307206"/>
                  </a:moveTo>
                  <a:cubicBezTo>
                    <a:pt x="280181" y="334249"/>
                    <a:pt x="244221" y="349159"/>
                    <a:pt x="205962" y="349159"/>
                  </a:cubicBezTo>
                  <a:cubicBezTo>
                    <a:pt x="167704" y="349159"/>
                    <a:pt x="131744" y="334268"/>
                    <a:pt x="104700" y="307206"/>
                  </a:cubicBezTo>
                  <a:cubicBezTo>
                    <a:pt x="77656" y="280162"/>
                    <a:pt x="62765" y="244202"/>
                    <a:pt x="62765" y="205944"/>
                  </a:cubicBezTo>
                  <a:cubicBezTo>
                    <a:pt x="62765" y="167685"/>
                    <a:pt x="77656" y="131725"/>
                    <a:pt x="104700" y="104682"/>
                  </a:cubicBezTo>
                  <a:cubicBezTo>
                    <a:pt x="131744" y="77638"/>
                    <a:pt x="167722" y="62746"/>
                    <a:pt x="205962" y="62746"/>
                  </a:cubicBezTo>
                  <a:cubicBezTo>
                    <a:pt x="244202" y="62746"/>
                    <a:pt x="280181" y="77638"/>
                    <a:pt x="307224" y="104682"/>
                  </a:cubicBezTo>
                  <a:cubicBezTo>
                    <a:pt x="334268" y="131725"/>
                    <a:pt x="349178" y="167685"/>
                    <a:pt x="349178" y="205944"/>
                  </a:cubicBezTo>
                  <a:cubicBezTo>
                    <a:pt x="349178" y="244202"/>
                    <a:pt x="334287" y="280162"/>
                    <a:pt x="307224" y="307206"/>
                  </a:cubicBezTo>
                  <a:close/>
                </a:path>
              </a:pathLst>
            </a:custGeom>
            <a:solidFill>
              <a:srgbClr val="0092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296" name="Title 1">
            <a:extLst>
              <a:ext uri="{FF2B5EF4-FFF2-40B4-BE49-F238E27FC236}">
                <a16:creationId xmlns:a16="http://schemas.microsoft.com/office/drawing/2014/main" id="{AD3F17CF-CD30-DB82-AA8A-AB157F9922CC}"/>
              </a:ext>
            </a:extLst>
          </p:cNvPr>
          <p:cNvSpPr txBox="1">
            <a:spLocks/>
          </p:cNvSpPr>
          <p:nvPr/>
        </p:nvSpPr>
        <p:spPr>
          <a:xfrm>
            <a:off x="4772969" y="4214809"/>
            <a:ext cx="1920240" cy="276999"/>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itchFamily="34" charset="0"/>
              </a:rPr>
              <a:t>Fragmentation</a:t>
            </a:r>
          </a:p>
        </p:txBody>
      </p:sp>
      <p:sp>
        <p:nvSpPr>
          <p:cNvPr id="297" name="Title 1">
            <a:extLst>
              <a:ext uri="{FF2B5EF4-FFF2-40B4-BE49-F238E27FC236}">
                <a16:creationId xmlns:a16="http://schemas.microsoft.com/office/drawing/2014/main" id="{DC531736-D6B5-E350-A734-1BE4649D2865}"/>
              </a:ext>
            </a:extLst>
          </p:cNvPr>
          <p:cNvSpPr txBox="1">
            <a:spLocks/>
          </p:cNvSpPr>
          <p:nvPr/>
        </p:nvSpPr>
        <p:spPr>
          <a:xfrm>
            <a:off x="6771709" y="4220430"/>
            <a:ext cx="1762691"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w="3175">
                  <a:noFill/>
                </a:ln>
                <a:solidFill>
                  <a:srgbClr val="000000"/>
                </a:solidFill>
                <a:effectLst/>
                <a:uLnTx/>
                <a:uFillTx/>
                <a:latin typeface="Segoe UI" panose="020B0502040204020203" pitchFamily="34" charset="0"/>
                <a:ea typeface="+mn-ea"/>
                <a:cs typeface="Segoe UI" pitchFamily="34" charset="0"/>
              </a:rPr>
              <a:t>Labor-intensive tasks</a:t>
            </a:r>
          </a:p>
        </p:txBody>
      </p:sp>
      <p:sp>
        <p:nvSpPr>
          <p:cNvPr id="298" name="Title 1">
            <a:extLst>
              <a:ext uri="{FF2B5EF4-FFF2-40B4-BE49-F238E27FC236}">
                <a16:creationId xmlns:a16="http://schemas.microsoft.com/office/drawing/2014/main" id="{85707677-8171-5507-D274-36CC9CFE3349}"/>
              </a:ext>
            </a:extLst>
          </p:cNvPr>
          <p:cNvSpPr txBox="1">
            <a:spLocks/>
          </p:cNvSpPr>
          <p:nvPr/>
        </p:nvSpPr>
        <p:spPr>
          <a:xfrm>
            <a:off x="8612900" y="4233876"/>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w="3175">
                  <a:noFill/>
                </a:ln>
                <a:solidFill>
                  <a:srgbClr val="000000"/>
                </a:solidFill>
                <a:effectLst/>
                <a:uLnTx/>
                <a:uFillTx/>
                <a:latin typeface="Segoe UI" panose="020B0502040204020203" pitchFamily="34" charset="0"/>
                <a:ea typeface="+mn-ea"/>
                <a:cs typeface="Segoe UI" pitchFamily="34" charset="0"/>
              </a:rPr>
              <a:t>Centralized Governance</a:t>
            </a:r>
          </a:p>
        </p:txBody>
      </p:sp>
      <p:grpSp>
        <p:nvGrpSpPr>
          <p:cNvPr id="6" name="Group 5">
            <a:extLst>
              <a:ext uri="{FF2B5EF4-FFF2-40B4-BE49-F238E27FC236}">
                <a16:creationId xmlns:a16="http://schemas.microsoft.com/office/drawing/2014/main" id="{6622A6E8-B93F-D8D0-E23B-B8D456456D45}"/>
              </a:ext>
            </a:extLst>
          </p:cNvPr>
          <p:cNvGrpSpPr/>
          <p:nvPr/>
        </p:nvGrpSpPr>
        <p:grpSpPr>
          <a:xfrm>
            <a:off x="5279982" y="2962394"/>
            <a:ext cx="906214" cy="910802"/>
            <a:chOff x="5279982" y="2962394"/>
            <a:chExt cx="906214" cy="910802"/>
          </a:xfrm>
        </p:grpSpPr>
        <p:sp>
          <p:nvSpPr>
            <p:cNvPr id="288" name="Oval 287">
              <a:extLst>
                <a:ext uri="{FF2B5EF4-FFF2-40B4-BE49-F238E27FC236}">
                  <a16:creationId xmlns:a16="http://schemas.microsoft.com/office/drawing/2014/main" id="{C5C338F5-403F-E5AB-7BA3-0579292C1194}"/>
                </a:ext>
                <a:ext uri="{C183D7F6-B498-43B3-948B-1728B52AA6E4}">
                  <adec:decorative xmlns:adec="http://schemas.microsoft.com/office/drawing/2017/decorative" val="1"/>
                </a:ext>
              </a:extLst>
            </p:cNvPr>
            <p:cNvSpPr/>
            <p:nvPr/>
          </p:nvSpPr>
          <p:spPr bwMode="auto">
            <a:xfrm>
              <a:off x="5279982" y="2962394"/>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9" name="Warning_E7BA">
              <a:extLst>
                <a:ext uri="{FF2B5EF4-FFF2-40B4-BE49-F238E27FC236}">
                  <a16:creationId xmlns:a16="http://schemas.microsoft.com/office/drawing/2014/main" id="{4B2E3AB3-73D1-C8FB-5B34-A46D05624E08}"/>
                </a:ext>
                <a:ext uri="{C183D7F6-B498-43B3-948B-1728B52AA6E4}">
                  <adec:decorative xmlns:adec="http://schemas.microsoft.com/office/drawing/2017/decorative" val="1"/>
                </a:ext>
              </a:extLst>
            </p:cNvPr>
            <p:cNvSpPr>
              <a:spLocks noChangeAspect="1" noEditPoints="1"/>
            </p:cNvSpPr>
            <p:nvPr/>
          </p:nvSpPr>
          <p:spPr bwMode="auto">
            <a:xfrm>
              <a:off x="552381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2791F0B7-2E11-0847-0376-C36B450AF298}"/>
              </a:ext>
            </a:extLst>
          </p:cNvPr>
          <p:cNvGrpSpPr/>
          <p:nvPr/>
        </p:nvGrpSpPr>
        <p:grpSpPr>
          <a:xfrm>
            <a:off x="7152555" y="2962397"/>
            <a:ext cx="906214" cy="910802"/>
            <a:chOff x="7278722" y="2962397"/>
            <a:chExt cx="906214" cy="910802"/>
          </a:xfrm>
        </p:grpSpPr>
        <p:sp>
          <p:nvSpPr>
            <p:cNvPr id="291" name="Oval 290">
              <a:extLst>
                <a:ext uri="{FF2B5EF4-FFF2-40B4-BE49-F238E27FC236}">
                  <a16:creationId xmlns:a16="http://schemas.microsoft.com/office/drawing/2014/main" id="{9442E5EA-6AE9-83BB-5B23-E023E3EC0A05}"/>
                </a:ext>
                <a:ext uri="{C183D7F6-B498-43B3-948B-1728B52AA6E4}">
                  <adec:decorative xmlns:adec="http://schemas.microsoft.com/office/drawing/2017/decorative" val="1"/>
                </a:ext>
              </a:extLst>
            </p:cNvPr>
            <p:cNvSpPr/>
            <p:nvPr/>
          </p:nvSpPr>
          <p:spPr bwMode="auto">
            <a:xfrm>
              <a:off x="7278722"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10" name="Warning_E7BA">
              <a:extLst>
                <a:ext uri="{FF2B5EF4-FFF2-40B4-BE49-F238E27FC236}">
                  <a16:creationId xmlns:a16="http://schemas.microsoft.com/office/drawing/2014/main" id="{47173DB7-08E6-B5BB-4CBE-564F5BC19E6F}"/>
                </a:ext>
                <a:ext uri="{C183D7F6-B498-43B3-948B-1728B52AA6E4}">
                  <adec:decorative xmlns:adec="http://schemas.microsoft.com/office/drawing/2017/decorative" val="1"/>
                </a:ext>
              </a:extLst>
            </p:cNvPr>
            <p:cNvSpPr>
              <a:spLocks noChangeAspect="1" noEditPoints="1"/>
            </p:cNvSpPr>
            <p:nvPr/>
          </p:nvSpPr>
          <p:spPr bwMode="auto">
            <a:xfrm>
              <a:off x="7522556"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83B5421C-4019-C432-9BE3-3FA498E14AE6}"/>
              </a:ext>
            </a:extLst>
          </p:cNvPr>
          <p:cNvGrpSpPr/>
          <p:nvPr/>
        </p:nvGrpSpPr>
        <p:grpSpPr>
          <a:xfrm>
            <a:off x="9025128" y="2962397"/>
            <a:ext cx="906214" cy="910802"/>
            <a:chOff x="9243597" y="2962397"/>
            <a:chExt cx="906214" cy="910802"/>
          </a:xfrm>
        </p:grpSpPr>
        <p:sp>
          <p:nvSpPr>
            <p:cNvPr id="294" name="Oval 293">
              <a:extLst>
                <a:ext uri="{FF2B5EF4-FFF2-40B4-BE49-F238E27FC236}">
                  <a16:creationId xmlns:a16="http://schemas.microsoft.com/office/drawing/2014/main" id="{56D65231-FF76-6BFB-F1F7-A64D4FB44FD7}"/>
                </a:ext>
                <a:ext uri="{C183D7F6-B498-43B3-948B-1728B52AA6E4}">
                  <adec:decorative xmlns:adec="http://schemas.microsoft.com/office/drawing/2017/decorative" val="1"/>
                </a:ext>
              </a:extLst>
            </p:cNvPr>
            <p:cNvSpPr/>
            <p:nvPr/>
          </p:nvSpPr>
          <p:spPr bwMode="auto">
            <a:xfrm>
              <a:off x="9243597" y="2962397"/>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11" name="Warning_E7BA">
              <a:extLst>
                <a:ext uri="{FF2B5EF4-FFF2-40B4-BE49-F238E27FC236}">
                  <a16:creationId xmlns:a16="http://schemas.microsoft.com/office/drawing/2014/main" id="{05A2B6A4-0A22-513C-0343-CAE058B2CFD1}"/>
                </a:ext>
                <a:ext uri="{C183D7F6-B498-43B3-948B-1728B52AA6E4}">
                  <adec:decorative xmlns:adec="http://schemas.microsoft.com/office/drawing/2017/decorative" val="1"/>
                </a:ext>
              </a:extLst>
            </p:cNvPr>
            <p:cNvSpPr>
              <a:spLocks noChangeAspect="1" noEditPoints="1"/>
            </p:cNvSpPr>
            <p:nvPr/>
          </p:nvSpPr>
          <p:spPr bwMode="auto">
            <a:xfrm>
              <a:off x="9487431" y="3189366"/>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 name="building_9" title="Icon of a building with columns in a row and a triangular top and a flag atop it">
            <a:extLst>
              <a:ext uri="{FF2B5EF4-FFF2-40B4-BE49-F238E27FC236}">
                <a16:creationId xmlns:a16="http://schemas.microsoft.com/office/drawing/2014/main" id="{04C3B2E0-F9B9-6475-D302-5FFF70A408DC}"/>
              </a:ext>
            </a:extLst>
          </p:cNvPr>
          <p:cNvSpPr>
            <a:spLocks noChangeAspect="1" noEditPoints="1"/>
          </p:cNvSpPr>
          <p:nvPr/>
        </p:nvSpPr>
        <p:spPr bwMode="auto">
          <a:xfrm>
            <a:off x="1805980" y="3253292"/>
            <a:ext cx="1233552" cy="1257583"/>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25400" cap="flat">
            <a:solidFill>
              <a:srgbClr val="C3E5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E6FF"/>
              </a:solidFill>
              <a:effectLst/>
              <a:uLnTx/>
              <a:uFillTx/>
              <a:latin typeface="Segoe UI"/>
              <a:ea typeface="+mn-ea"/>
              <a:cs typeface="+mn-cs"/>
            </a:endParaRPr>
          </a:p>
        </p:txBody>
      </p:sp>
      <p:sp>
        <p:nvSpPr>
          <p:cNvPr id="4" name="Title 1">
            <a:extLst>
              <a:ext uri="{FF2B5EF4-FFF2-40B4-BE49-F238E27FC236}">
                <a16:creationId xmlns:a16="http://schemas.microsoft.com/office/drawing/2014/main" id="{91F49838-3E30-80C3-46D1-4B1E05AC6D2A}"/>
              </a:ext>
            </a:extLst>
          </p:cNvPr>
          <p:cNvSpPr txBox="1">
            <a:spLocks/>
          </p:cNvSpPr>
          <p:nvPr/>
        </p:nvSpPr>
        <p:spPr>
          <a:xfrm>
            <a:off x="10390688" y="4199754"/>
            <a:ext cx="1920240" cy="553998"/>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w="3175">
                  <a:noFill/>
                </a:ln>
                <a:solidFill>
                  <a:srgbClr val="000000"/>
                </a:solidFill>
                <a:effectLst/>
                <a:uLnTx/>
                <a:uFillTx/>
                <a:latin typeface="Segoe UI" panose="020B0502040204020203" pitchFamily="34" charset="0"/>
                <a:ea typeface="+mn-ea"/>
                <a:cs typeface="Segoe UI" pitchFamily="34" charset="0"/>
              </a:rPr>
              <a:t>Technical interfaces</a:t>
            </a:r>
          </a:p>
        </p:txBody>
      </p:sp>
      <p:grpSp>
        <p:nvGrpSpPr>
          <p:cNvPr id="13" name="Group 12">
            <a:extLst>
              <a:ext uri="{FF2B5EF4-FFF2-40B4-BE49-F238E27FC236}">
                <a16:creationId xmlns:a16="http://schemas.microsoft.com/office/drawing/2014/main" id="{120ABF16-0C65-6D81-9CDD-25FD473EEDC6}"/>
              </a:ext>
            </a:extLst>
          </p:cNvPr>
          <p:cNvGrpSpPr/>
          <p:nvPr/>
        </p:nvGrpSpPr>
        <p:grpSpPr>
          <a:xfrm>
            <a:off x="10897701" y="2941721"/>
            <a:ext cx="906214" cy="910802"/>
            <a:chOff x="10897701" y="2941721"/>
            <a:chExt cx="906214" cy="910802"/>
          </a:xfrm>
        </p:grpSpPr>
        <p:sp>
          <p:nvSpPr>
            <p:cNvPr id="3" name="Oval 2">
              <a:extLst>
                <a:ext uri="{FF2B5EF4-FFF2-40B4-BE49-F238E27FC236}">
                  <a16:creationId xmlns:a16="http://schemas.microsoft.com/office/drawing/2014/main" id="{53C8D123-07FA-9C32-0355-4EE34D1D8FD7}"/>
                </a:ext>
                <a:ext uri="{C183D7F6-B498-43B3-948B-1728B52AA6E4}">
                  <adec:decorative xmlns:adec="http://schemas.microsoft.com/office/drawing/2017/decorative" val="1"/>
                </a:ext>
              </a:extLst>
            </p:cNvPr>
            <p:cNvSpPr/>
            <p:nvPr/>
          </p:nvSpPr>
          <p:spPr bwMode="auto">
            <a:xfrm>
              <a:off x="10897701" y="2941721"/>
              <a:ext cx="906214" cy="910802"/>
            </a:xfrm>
            <a:prstGeom prst="ellipse">
              <a:avLst/>
            </a:prstGeom>
            <a:solidFill>
              <a:schemeClr val="tx2">
                <a:lumMod val="50000"/>
              </a:schemeClr>
            </a:solidFill>
            <a:ln w="15875">
              <a:solidFill>
                <a:schemeClr val="accent1"/>
              </a:solidFill>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Sans Display Semibold"/>
                <a:ea typeface="+mn-ea"/>
                <a:cs typeface="+mn-cs"/>
              </a:endParaRPr>
            </a:p>
          </p:txBody>
        </p:sp>
        <p:sp>
          <p:nvSpPr>
            <p:cNvPr id="5" name="Warning_E7BA">
              <a:extLst>
                <a:ext uri="{FF2B5EF4-FFF2-40B4-BE49-F238E27FC236}">
                  <a16:creationId xmlns:a16="http://schemas.microsoft.com/office/drawing/2014/main" id="{7C1B0832-2502-9D69-DBAD-285DF718F249}"/>
                </a:ext>
                <a:ext uri="{C183D7F6-B498-43B3-948B-1728B52AA6E4}">
                  <adec:decorative xmlns:adec="http://schemas.microsoft.com/office/drawing/2017/decorative" val="1"/>
                </a:ext>
              </a:extLst>
            </p:cNvPr>
            <p:cNvSpPr>
              <a:spLocks noChangeAspect="1" noEditPoints="1"/>
            </p:cNvSpPr>
            <p:nvPr/>
          </p:nvSpPr>
          <p:spPr bwMode="auto">
            <a:xfrm>
              <a:off x="11141535" y="3168690"/>
              <a:ext cx="418546" cy="418758"/>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29052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947DF7-6351-4011-57B7-B529BB52A4D0}"/>
              </a:ext>
            </a:extLst>
          </p:cNvPr>
          <p:cNvSpPr>
            <a:spLocks noGrp="1"/>
          </p:cNvSpPr>
          <p:nvPr>
            <p:ph type="sldNum" sz="quarter" idx="4294967295"/>
          </p:nvPr>
        </p:nvSpPr>
        <p:spPr>
          <a:xfrm>
            <a:off x="0" y="6311900"/>
            <a:ext cx="4000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85B47624-F52B-A28F-B7F9-C13D7A73858F}"/>
              </a:ext>
            </a:extLst>
          </p:cNvPr>
          <p:cNvPicPr>
            <a:picLocks noChangeAspect="1"/>
          </p:cNvPicPr>
          <p:nvPr/>
        </p:nvPicPr>
        <p:blipFill>
          <a:blip r:embed="rId3"/>
          <a:stretch>
            <a:fillRect/>
          </a:stretch>
        </p:blipFill>
        <p:spPr>
          <a:xfrm>
            <a:off x="480038" y="866178"/>
            <a:ext cx="6624989" cy="4801313"/>
          </a:xfrm>
          <a:prstGeom prst="rect">
            <a:avLst/>
          </a:prstGeom>
        </p:spPr>
      </p:pic>
      <p:sp>
        <p:nvSpPr>
          <p:cNvPr id="5" name="Title 13">
            <a:extLst>
              <a:ext uri="{FF2B5EF4-FFF2-40B4-BE49-F238E27FC236}">
                <a16:creationId xmlns:a16="http://schemas.microsoft.com/office/drawing/2014/main" id="{1BD38D1B-5275-7110-A035-0A8E5F883BA5}"/>
              </a:ext>
            </a:extLst>
          </p:cNvPr>
          <p:cNvSpPr txBox="1">
            <a:spLocks/>
          </p:cNvSpPr>
          <p:nvPr/>
        </p:nvSpPr>
        <p:spPr>
          <a:xfrm>
            <a:off x="563879" y="258465"/>
            <a:ext cx="11064240" cy="724535"/>
          </a:xfrm>
          <a:prstGeom prst="rect">
            <a:avLst/>
          </a:prstGeom>
        </p:spPr>
        <p:txBody>
          <a:bodyPr/>
          <a:lstStyle>
            <a:lvl1pPr algn="l" defTabSz="914400" rtl="0" eaLnBrk="1" latinLnBrk="0" hangingPunct="1">
              <a:lnSpc>
                <a:spcPct val="90000"/>
              </a:lnSpc>
              <a:spcBef>
                <a:spcPct val="0"/>
              </a:spcBef>
              <a:buNone/>
              <a:defRPr sz="3200" b="0" i="0" kern="1200">
                <a:solidFill>
                  <a:schemeClr val="tx2"/>
                </a:solidFill>
                <a:latin typeface="+mj-lt"/>
                <a:ea typeface="+mj-ea"/>
                <a:cs typeface="Segoe Sans Display" pitchFamily="2"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a:ln>
                  <a:noFill/>
                </a:ln>
                <a:solidFill>
                  <a:srgbClr val="1F2328"/>
                </a:solidFill>
                <a:effectLst/>
                <a:uLnTx/>
                <a:uFillTx/>
                <a:latin typeface="-apple-system"/>
                <a:ea typeface="+mj-ea"/>
                <a:cs typeface="Segoe Sans Display" pitchFamily="2" charset="0"/>
              </a:rPr>
              <a:t>Microsoft view of data governance</a:t>
            </a:r>
            <a:endParaRPr kumimoji="0" lang="en-US" sz="3200" b="0" i="0" u="none" strike="noStrike" kern="1200" cap="none" spc="0" normalizeH="0" baseline="0" noProof="0">
              <a:ln>
                <a:noFill/>
              </a:ln>
              <a:solidFill>
                <a:srgbClr val="071731"/>
              </a:solidFill>
              <a:effectLst/>
              <a:uLnTx/>
              <a:uFillTx/>
              <a:latin typeface="Segoe UI Semibold"/>
              <a:ea typeface="+mj-ea"/>
              <a:cs typeface="Segoe Sans Display" pitchFamily="2" charset="0"/>
            </a:endParaRPr>
          </a:p>
        </p:txBody>
      </p:sp>
      <p:sp>
        <p:nvSpPr>
          <p:cNvPr id="6" name="TextBox 5">
            <a:extLst>
              <a:ext uri="{FF2B5EF4-FFF2-40B4-BE49-F238E27FC236}">
                <a16:creationId xmlns:a16="http://schemas.microsoft.com/office/drawing/2014/main" id="{491A66F3-D297-F9DD-9CBA-B0474B1396AE}"/>
              </a:ext>
            </a:extLst>
          </p:cNvPr>
          <p:cNvSpPr txBox="1"/>
          <p:nvPr/>
        </p:nvSpPr>
        <p:spPr>
          <a:xfrm>
            <a:off x="7362394" y="983000"/>
            <a:ext cx="4642792"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he solution includes several key compon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A clear vision and strategy</a:t>
            </a:r>
            <a:r>
              <a:rPr kumimoji="0" lang="en-US" sz="1600" b="0" i="0" u="none" strike="noStrike" kern="1200" cap="none" spc="0" normalizeH="0" baseline="0" noProof="0">
                <a:ln>
                  <a:noFill/>
                </a:ln>
                <a:solidFill>
                  <a:srgbClr val="000000"/>
                </a:solidFill>
                <a:effectLst/>
                <a:uLnTx/>
                <a:uFillTx/>
                <a:latin typeface="Segoe UI"/>
                <a:ea typeface="+mn-ea"/>
                <a:cs typeface="+mn-cs"/>
              </a:rPr>
              <a:t> for data govern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The data itself</a:t>
            </a:r>
            <a:r>
              <a:rPr kumimoji="0" lang="en-US" sz="1600" b="0" i="0" u="none" strike="noStrike" kern="1200" cap="none" spc="0" normalizeH="0" baseline="0" noProof="0">
                <a:ln>
                  <a:noFill/>
                </a:ln>
                <a:solidFill>
                  <a:srgbClr val="000000"/>
                </a:solidFill>
                <a:effectLst/>
                <a:uLnTx/>
                <a:uFillTx/>
                <a:latin typeface="Segoe UI"/>
                <a:ea typeface="+mn-ea"/>
                <a:cs typeface="+mn-cs"/>
              </a:rPr>
              <a:t>, such as customer records, supplier details, and order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The data lifecycle</a:t>
            </a:r>
            <a:r>
              <a:rPr kumimoji="0" lang="en-US" sz="1600" b="0" i="0" u="none" strike="noStrike" kern="1200" cap="none" spc="0" normalizeH="0" baseline="0" noProof="0">
                <a:ln>
                  <a:noFill/>
                </a:ln>
                <a:solidFill>
                  <a:srgbClr val="000000"/>
                </a:solidFill>
                <a:effectLst/>
                <a:uLnTx/>
                <a:uFillTx/>
                <a:latin typeface="Segoe UI"/>
                <a:ea typeface="+mn-ea"/>
                <a:cs typeface="+mn-cs"/>
              </a:rPr>
              <a:t>, covering everything from creation to dele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Defined roles and responsibilities</a:t>
            </a:r>
            <a:r>
              <a:rPr kumimoji="0" lang="en-US" sz="1600" b="0" i="0" u="none" strike="noStrike" kern="1200" cap="none" spc="0" normalizeH="0" baseline="0" noProof="0">
                <a:ln>
                  <a:noFill/>
                </a:ln>
                <a:solidFill>
                  <a:srgbClr val="000000"/>
                </a:solidFill>
                <a:effectLst/>
                <a:uLnTx/>
                <a:uFillTx/>
                <a:latin typeface="Segoe UI"/>
                <a:ea typeface="+mn-ea"/>
                <a:cs typeface="+mn-cs"/>
              </a:rPr>
              <a:t>, ensuring the right people manage data effe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Governance processes and activities</a:t>
            </a:r>
            <a:r>
              <a:rPr kumimoji="0" lang="en-US" sz="1600" b="0" i="0" u="none" strike="noStrike" kern="1200" cap="none" spc="0" normalizeH="0" baseline="0" noProof="0">
                <a:ln>
                  <a:noFill/>
                </a:ln>
                <a:solidFill>
                  <a:srgbClr val="000000"/>
                </a:solidFill>
                <a:effectLst/>
                <a:uLnTx/>
                <a:uFillTx/>
                <a:latin typeface="Segoe UI"/>
                <a:ea typeface="+mn-ea"/>
                <a:cs typeface="+mn-cs"/>
              </a:rPr>
              <a:t>, applied throughout the data lifecyc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Policies and rules</a:t>
            </a:r>
            <a:r>
              <a:rPr kumimoji="0" lang="en-US" sz="1600" b="0" i="0" u="none" strike="noStrike" kern="1200" cap="none" spc="0" normalizeH="0" baseline="0" noProof="0">
                <a:ln>
                  <a:noFill/>
                </a:ln>
                <a:solidFill>
                  <a:srgbClr val="000000"/>
                </a:solidFill>
                <a:effectLst/>
                <a:uLnTx/>
                <a:uFillTx/>
                <a:latin typeface="Segoe UI"/>
                <a:ea typeface="+mn-ea"/>
                <a:cs typeface="+mn-cs"/>
              </a:rPr>
              <a:t> to regulate data handling at different st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Technology and tools</a:t>
            </a:r>
            <a:r>
              <a:rPr kumimoji="0" lang="en-US" sz="1600" b="0" i="0" u="none" strike="noStrike" kern="1200" cap="none" spc="0" normalizeH="0" baseline="0" noProof="0">
                <a:ln>
                  <a:noFill/>
                </a:ln>
                <a:solidFill>
                  <a:srgbClr val="000000"/>
                </a:solidFill>
                <a:effectLst/>
                <a:uLnTx/>
                <a:uFillTx/>
                <a:latin typeface="Segoe UI"/>
                <a:ea typeface="+mn-ea"/>
                <a:cs typeface="+mn-cs"/>
              </a:rPr>
              <a:t> to support and enforce data governance.</a:t>
            </a:r>
          </a:p>
        </p:txBody>
      </p:sp>
    </p:spTree>
    <p:extLst>
      <p:ext uri="{BB962C8B-B14F-4D97-AF65-F5344CB8AC3E}">
        <p14:creationId xmlns:p14="http://schemas.microsoft.com/office/powerpoint/2010/main" val="4107583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Microsoft CSU Master 2023">
  <a:themeElements>
    <a:clrScheme name="Inspire">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Envision">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Custom Color 1">
      <a:srgbClr val="C5B4E3"/>
    </a:custClr>
    <a:custClr name="Custom Color 2">
      <a:srgbClr val="49C5B1"/>
    </a:custClr>
    <a:custClr name="Custom Color 3">
      <a:srgbClr val="E1D3C7"/>
    </a:custClr>
    <a:custClr name="Custom Color 4">
      <a:srgbClr val="8DC8E8"/>
    </a:custClr>
    <a:custClr name="Custom Color 5">
      <a:srgbClr val="2A446F"/>
    </a:custClr>
    <a:custClr name="Custom Color 6">
      <a:srgbClr val="225B62"/>
    </a:custClr>
    <a:custClr name="Custom Color 7">
      <a:srgbClr val="C03BC4"/>
    </a:custClr>
    <a:custClr name="Custom Color 8">
      <a:srgbClr val="0078D4"/>
    </a:custClr>
    <a:custClr name="BLANK">
      <a:srgbClr val="FFFFFF"/>
    </a:custClr>
    <a:custClr name="BLANK">
      <a:srgbClr val="FFFFFF"/>
    </a:custClr>
    <a:custClr name="Custom Color 11">
      <a:srgbClr val="FFB3BB"/>
    </a:custClr>
    <a:custClr name="Custom Color 12">
      <a:srgbClr val="8DE971"/>
    </a:custClr>
    <a:custClr name="Custom Color 13">
      <a:srgbClr val="FFE399"/>
    </a:custClr>
    <a:custClr name="Custom Color 14">
      <a:srgbClr val="D59ED7"/>
    </a:custClr>
    <a:custClr name="Custom Color 15">
      <a:srgbClr val="C03BC4"/>
    </a:custClr>
    <a:custClr name="Custom Color 16">
      <a:srgbClr val="0078D4"/>
    </a:custClr>
    <a:custClr name="Custom Color 17">
      <a:srgbClr val="F4364C"/>
    </a:custClr>
    <a:custClr name="Inspire 23">
      <a:srgbClr val="C03BC4"/>
    </a:custClr>
  </a:custClrLst>
  <a:extLst>
    <a:ext uri="{05A4C25C-085E-4340-85A3-A5531E510DB2}">
      <thm15:themeFamily xmlns:thm15="http://schemas.microsoft.com/office/thememl/2012/main" name="Microsoft CSU - Template Deck v2.pptx" id="{81FECAA0-BA83-419A-B2E9-130F45310EBE}" vid="{43168C76-0EEF-4403-AEC8-1E805A8BA367}"/>
    </a:ext>
  </a:extLst>
</a:theme>
</file>

<file path=ppt/theme/theme3.xml><?xml version="1.0" encoding="utf-8"?>
<a:theme xmlns:a="http://schemas.openxmlformats.org/drawingml/2006/main" name="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4.xml><?xml version="1.0" encoding="utf-8"?>
<a:theme xmlns:a="http://schemas.openxmlformats.org/drawingml/2006/main" name="MSFT Purview 2024">
  <a:themeElements>
    <a:clrScheme name="MSFT Purview">
      <a:dk1>
        <a:srgbClr val="1C1C1C"/>
      </a:dk1>
      <a:lt1>
        <a:srgbClr val="FFFFFF"/>
      </a:lt1>
      <a:dk2>
        <a:srgbClr val="23395C"/>
      </a:dk2>
      <a:lt2>
        <a:srgbClr val="005A9E"/>
      </a:lt2>
      <a:accent1>
        <a:srgbClr val="0078D4"/>
      </a:accent1>
      <a:accent2>
        <a:srgbClr val="23395D"/>
      </a:accent2>
      <a:accent3>
        <a:srgbClr val="419FD7"/>
      </a:accent3>
      <a:accent4>
        <a:srgbClr val="49C4B0"/>
      </a:accent4>
      <a:accent5>
        <a:srgbClr val="797979"/>
      </a:accent5>
      <a:accent6>
        <a:srgbClr val="FEF9F5"/>
      </a:accent6>
      <a:hlink>
        <a:srgbClr val="0078D3"/>
      </a:hlink>
      <a:folHlink>
        <a:srgbClr val="A2D2EC"/>
      </a:folHlink>
    </a:clrScheme>
    <a:fontScheme name="Office">
      <a:majorFont>
        <a:latin typeface="Segoe Sans Display"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egoe Sans Text"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4 Fabric Community Conference_Template_vFinal" id="{A75D8605-0D02-488C-ADE8-9CE63A9CFDBF}" vid="{B7F7F1C0-2803-481E-BA06-7C02597A1D3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4284</Words>
  <Application>Microsoft Office PowerPoint</Application>
  <PresentationFormat>Widescreen</PresentationFormat>
  <Paragraphs>344</Paragraphs>
  <Slides>14</Slides>
  <Notes>14</Notes>
  <HiddenSlides>2</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40" baseType="lpstr">
      <vt:lpstr>-apple-system</vt:lpstr>
      <vt:lpstr>Aptos</vt:lpstr>
      <vt:lpstr>Aptos Display</vt:lpstr>
      <vt:lpstr>Arial</vt:lpstr>
      <vt:lpstr>Calibri</vt:lpstr>
      <vt:lpstr>Courier New</vt:lpstr>
      <vt:lpstr>Inter</vt:lpstr>
      <vt:lpstr>Segoe Sans Display</vt:lpstr>
      <vt:lpstr>Segoe Sans Display Semibold</vt:lpstr>
      <vt:lpstr>Segoe Sans Small</vt:lpstr>
      <vt:lpstr>Segoe Sans Small Semilight</vt:lpstr>
      <vt:lpstr>Segoe Sans Text</vt:lpstr>
      <vt:lpstr>Segoe Sans Text Semilight</vt:lpstr>
      <vt:lpstr>Segoe UI</vt:lpstr>
      <vt:lpstr>Segoe UI Light</vt:lpstr>
      <vt:lpstr>Segoe UI Semibold</vt:lpstr>
      <vt:lpstr>Segoe UI Semilight</vt:lpstr>
      <vt:lpstr>Segoe UI Web (West European)</vt:lpstr>
      <vt:lpstr>System Font Regular</vt:lpstr>
      <vt:lpstr>var(--fontFamilyBase)</vt:lpstr>
      <vt:lpstr>Wingdings</vt:lpstr>
      <vt:lpstr>1_Office Theme</vt:lpstr>
      <vt:lpstr>1_Microsoft CSU Master 2023</vt:lpstr>
      <vt:lpstr>Microsoft Security Template_Basic</vt:lpstr>
      <vt:lpstr>MSFT Purview 2024</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is data governance so hard for organizations?</vt:lpstr>
      <vt:lpstr>PowerPoint Presentation</vt:lpstr>
      <vt:lpstr>PowerPoint Presentation</vt:lpstr>
      <vt:lpstr>PowerPoint Presentation</vt:lpstr>
      <vt:lpstr>PowerPoint Presentation</vt:lpstr>
      <vt:lpstr>PowerPoint Presentation</vt:lpstr>
      <vt:lpstr>The new Purview Data Governance Experience stru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dinson Medina</dc:creator>
  <cp:lastModifiedBy>Edinson Medina</cp:lastModifiedBy>
  <cp:revision>1</cp:revision>
  <dcterms:created xsi:type="dcterms:W3CDTF">2025-05-15T08:11:15Z</dcterms:created>
  <dcterms:modified xsi:type="dcterms:W3CDTF">2025-05-15T08:12:19Z</dcterms:modified>
</cp:coreProperties>
</file>